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tiff" ContentType="image/tiff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8"/>
  </p:notesMasterIdLst>
  <p:sldIdLst>
    <p:sldId id="256" r:id="rId3"/>
    <p:sldId id="289" r:id="rId4"/>
    <p:sldId id="330" r:id="rId5"/>
    <p:sldId id="331" r:id="rId6"/>
    <p:sldId id="355" r:id="rId7"/>
    <p:sldId id="344" r:id="rId8"/>
    <p:sldId id="307" r:id="rId9"/>
    <p:sldId id="369" r:id="rId10"/>
    <p:sldId id="296" r:id="rId11"/>
    <p:sldId id="297" r:id="rId12"/>
    <p:sldId id="299" r:id="rId13"/>
    <p:sldId id="300" r:id="rId14"/>
    <p:sldId id="301" r:id="rId15"/>
    <p:sldId id="367" r:id="rId16"/>
    <p:sldId id="261" r:id="rId1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黄韦华" initials="HWH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D73"/>
    <a:srgbClr val="0078ED"/>
    <a:srgbClr val="1B89B8"/>
    <a:srgbClr val="3C3C3B"/>
    <a:srgbClr val="C70000"/>
    <a:srgbClr val="254C61"/>
    <a:srgbClr val="A20000"/>
    <a:srgbClr val="A40000"/>
    <a:srgbClr val="9E0000"/>
    <a:srgbClr val="C745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1860" autoAdjust="0"/>
    <p:restoredTop sz="96150" autoAdjust="0"/>
  </p:normalViewPr>
  <p:slideViewPr>
    <p:cSldViewPr snapToGrid="0">
      <p:cViewPr varScale="1">
        <p:scale>
          <a:sx n="127" d="100"/>
          <a:sy n="127" d="100"/>
        </p:scale>
        <p:origin x="132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2" Type="http://schemas.openxmlformats.org/officeDocument/2006/relationships/commentAuthors" Target="commentAuthors.xml"/><Relationship Id="rId21" Type="http://schemas.openxmlformats.org/officeDocument/2006/relationships/tableStyles" Target="tableStyles.xml"/><Relationship Id="rId20" Type="http://schemas.openxmlformats.org/officeDocument/2006/relationships/viewProps" Target="viewProps.xml"/><Relationship Id="rId2" Type="http://schemas.openxmlformats.org/officeDocument/2006/relationships/theme" Target="theme/theme1.xml"/><Relationship Id="rId19" Type="http://schemas.openxmlformats.org/officeDocument/2006/relationships/presProps" Target="presProps.xml"/><Relationship Id="rId18" Type="http://schemas.openxmlformats.org/officeDocument/2006/relationships/notesMaster" Target="notesMasters/notesMaster1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bg>
      <p:bgPr>
        <a:gradFill flip="none" rotWithShape="1">
          <a:gsLst>
            <a:gs pos="0">
              <a:schemeClr val="bg1"/>
            </a:gs>
            <a:gs pos="50000">
              <a:schemeClr val="bg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2" name="图片 4" descr="图片1"/>
          <p:cNvPicPr>
            <a:picLocks noChangeAspect="1"/>
          </p:cNvPicPr>
          <p:nvPr userDrawn="1"/>
        </p:nvPicPr>
        <p:blipFill>
          <a:blip r:embed="rId2"/>
          <a:srcRect l="40422"/>
          <a:stretch>
            <a:fillRect/>
          </a:stretch>
        </p:blipFill>
        <p:spPr>
          <a:xfrm>
            <a:off x="0" y="4011930"/>
            <a:ext cx="5799455" cy="19812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953" name="任意多边形: 形状 952"/>
          <p:cNvSpPr/>
          <p:nvPr userDrawn="1"/>
        </p:nvSpPr>
        <p:spPr>
          <a:xfrm flipH="1">
            <a:off x="3432210" y="4078514"/>
            <a:ext cx="8759790" cy="2779486"/>
          </a:xfrm>
          <a:custGeom>
            <a:avLst/>
            <a:gdLst>
              <a:gd name="connsiteX0" fmla="*/ 3889196 w 8759790"/>
              <a:gd name="connsiteY0" fmla="*/ 0 h 2779486"/>
              <a:gd name="connsiteX1" fmla="*/ 0 w 8759790"/>
              <a:gd name="connsiteY1" fmla="*/ 2219435 h 2779486"/>
              <a:gd name="connsiteX2" fmla="*/ 0 w 8759790"/>
              <a:gd name="connsiteY2" fmla="*/ 2779486 h 2779486"/>
              <a:gd name="connsiteX3" fmla="*/ 8759790 w 8759790"/>
              <a:gd name="connsiteY3" fmla="*/ 2779486 h 2779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59790" h="2779486">
                <a:moveTo>
                  <a:pt x="3889196" y="0"/>
                </a:moveTo>
                <a:lnTo>
                  <a:pt x="0" y="2219435"/>
                </a:lnTo>
                <a:lnTo>
                  <a:pt x="0" y="2779486"/>
                </a:lnTo>
                <a:lnTo>
                  <a:pt x="8759790" y="27794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0693" name="组合 10692"/>
          <p:cNvGrpSpPr/>
          <p:nvPr userDrawn="1"/>
        </p:nvGrpSpPr>
        <p:grpSpPr>
          <a:xfrm flipH="1">
            <a:off x="6523854" y="533912"/>
            <a:ext cx="4995045" cy="5603363"/>
            <a:chOff x="3605176" y="86690"/>
            <a:chExt cx="5472386" cy="6138837"/>
          </a:xfrm>
        </p:grpSpPr>
        <p:sp>
          <p:nvSpPr>
            <p:cNvPr id="7" name="任意多边形: 形状 6"/>
            <p:cNvSpPr/>
            <p:nvPr/>
          </p:nvSpPr>
          <p:spPr>
            <a:xfrm>
              <a:off x="4154869" y="1774497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6 h 627326"/>
                <a:gd name="connsiteX3" fmla="*/ 0 w 14936"/>
                <a:gd name="connsiteY3" fmla="*/ 639276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6"/>
                  </a:lnTo>
                  <a:lnTo>
                    <a:pt x="0" y="63927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/>
            <p:cNvSpPr/>
            <p:nvPr/>
          </p:nvSpPr>
          <p:spPr>
            <a:xfrm>
              <a:off x="4709008" y="1454859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/>
            <p:cNvSpPr/>
            <p:nvPr/>
          </p:nvSpPr>
          <p:spPr>
            <a:xfrm>
              <a:off x="5263146" y="1135221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/>
            <p:cNvSpPr/>
            <p:nvPr/>
          </p:nvSpPr>
          <p:spPr>
            <a:xfrm>
              <a:off x="5817284" y="815584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/>
            <p:cNvSpPr/>
            <p:nvPr/>
          </p:nvSpPr>
          <p:spPr>
            <a:xfrm>
              <a:off x="3605201" y="2407387"/>
              <a:ext cx="552645" cy="328600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/>
            <p:cNvSpPr/>
            <p:nvPr/>
          </p:nvSpPr>
          <p:spPr>
            <a:xfrm>
              <a:off x="4159374" y="2087585"/>
              <a:ext cx="552645" cy="328600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/>
            <p:cNvSpPr/>
            <p:nvPr/>
          </p:nvSpPr>
          <p:spPr>
            <a:xfrm>
              <a:off x="4154869" y="2413772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6 h 627326"/>
                <a:gd name="connsiteX3" fmla="*/ 0 w 14936"/>
                <a:gd name="connsiteY3" fmla="*/ 639276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6"/>
                  </a:lnTo>
                  <a:lnTo>
                    <a:pt x="0" y="63927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/>
            <p:cNvSpPr/>
            <p:nvPr/>
          </p:nvSpPr>
          <p:spPr>
            <a:xfrm>
              <a:off x="4712257" y="1768529"/>
              <a:ext cx="552645" cy="328600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/>
            <p:cNvSpPr/>
            <p:nvPr/>
          </p:nvSpPr>
          <p:spPr>
            <a:xfrm>
              <a:off x="4709008" y="2094134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/>
            <p:cNvSpPr/>
            <p:nvPr/>
          </p:nvSpPr>
          <p:spPr>
            <a:xfrm>
              <a:off x="5266433" y="1448725"/>
              <a:ext cx="552645" cy="328600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6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6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/>
            <p:cNvSpPr/>
            <p:nvPr/>
          </p:nvSpPr>
          <p:spPr>
            <a:xfrm>
              <a:off x="5263146" y="1774497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6 h 627326"/>
                <a:gd name="connsiteX3" fmla="*/ 0 w 14936"/>
                <a:gd name="connsiteY3" fmla="*/ 639276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6"/>
                  </a:lnTo>
                  <a:lnTo>
                    <a:pt x="0" y="63927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/>
            <p:cNvSpPr/>
            <p:nvPr/>
          </p:nvSpPr>
          <p:spPr>
            <a:xfrm>
              <a:off x="5820607" y="1128919"/>
              <a:ext cx="552645" cy="328600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/>
            <p:cNvSpPr/>
            <p:nvPr/>
          </p:nvSpPr>
          <p:spPr>
            <a:xfrm>
              <a:off x="5817284" y="1454859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/>
            <p:cNvSpPr/>
            <p:nvPr/>
          </p:nvSpPr>
          <p:spPr>
            <a:xfrm>
              <a:off x="6374780" y="809115"/>
              <a:ext cx="552645" cy="328600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/>
            <p:cNvSpPr/>
            <p:nvPr/>
          </p:nvSpPr>
          <p:spPr>
            <a:xfrm>
              <a:off x="6369929" y="1135221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/>
            <p:cNvSpPr/>
            <p:nvPr/>
          </p:nvSpPr>
          <p:spPr>
            <a:xfrm>
              <a:off x="6369929" y="518350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/>
            <p:cNvSpPr/>
            <p:nvPr/>
          </p:nvSpPr>
          <p:spPr>
            <a:xfrm>
              <a:off x="3605176" y="3046354"/>
              <a:ext cx="552645" cy="328600"/>
            </a:xfrm>
            <a:custGeom>
              <a:avLst/>
              <a:gdLst>
                <a:gd name="connsiteX0" fmla="*/ 0 w 552644"/>
                <a:gd name="connsiteY0" fmla="*/ 319830 h 328599"/>
                <a:gd name="connsiteX1" fmla="*/ 553485 w 552644"/>
                <a:gd name="connsiteY1" fmla="*/ 0 h 328599"/>
                <a:gd name="connsiteX2" fmla="*/ 560957 w 552644"/>
                <a:gd name="connsiteY2" fmla="*/ 12932 h 328599"/>
                <a:gd name="connsiteX3" fmla="*/ 7473 w 552644"/>
                <a:gd name="connsiteY3" fmla="*/ 332761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30"/>
                  </a:moveTo>
                  <a:lnTo>
                    <a:pt x="553485" y="0"/>
                  </a:lnTo>
                  <a:lnTo>
                    <a:pt x="560957" y="12932"/>
                  </a:lnTo>
                  <a:lnTo>
                    <a:pt x="7473" y="332761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/>
            <p:cNvSpPr/>
            <p:nvPr/>
          </p:nvSpPr>
          <p:spPr>
            <a:xfrm>
              <a:off x="4159249" y="2726914"/>
              <a:ext cx="552645" cy="328600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/>
            <p:cNvSpPr/>
            <p:nvPr/>
          </p:nvSpPr>
          <p:spPr>
            <a:xfrm>
              <a:off x="4154869" y="3053048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6 h 627326"/>
                <a:gd name="connsiteX3" fmla="*/ 0 w 14936"/>
                <a:gd name="connsiteY3" fmla="*/ 639276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6"/>
                  </a:lnTo>
                  <a:lnTo>
                    <a:pt x="0" y="63927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/>
            <p:cNvSpPr/>
            <p:nvPr/>
          </p:nvSpPr>
          <p:spPr>
            <a:xfrm>
              <a:off x="4712132" y="2407858"/>
              <a:ext cx="552645" cy="328600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/>
            <p:cNvSpPr/>
            <p:nvPr/>
          </p:nvSpPr>
          <p:spPr>
            <a:xfrm>
              <a:off x="4709008" y="2733410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/>
            <p:cNvSpPr/>
            <p:nvPr/>
          </p:nvSpPr>
          <p:spPr>
            <a:xfrm>
              <a:off x="5266305" y="2088054"/>
              <a:ext cx="552645" cy="328600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/>
            <p:cNvSpPr/>
            <p:nvPr/>
          </p:nvSpPr>
          <p:spPr>
            <a:xfrm>
              <a:off x="5263146" y="2413772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6 h 627326"/>
                <a:gd name="connsiteX3" fmla="*/ 0 w 14936"/>
                <a:gd name="connsiteY3" fmla="*/ 639276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6"/>
                  </a:lnTo>
                  <a:lnTo>
                    <a:pt x="0" y="63927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96" name="任意多边形: 形状 4095"/>
            <p:cNvSpPr/>
            <p:nvPr/>
          </p:nvSpPr>
          <p:spPr>
            <a:xfrm>
              <a:off x="5820479" y="1768251"/>
              <a:ext cx="552645" cy="328600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97" name="任意多边形: 形状 4096"/>
            <p:cNvSpPr/>
            <p:nvPr/>
          </p:nvSpPr>
          <p:spPr>
            <a:xfrm>
              <a:off x="5817284" y="2094134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98" name="任意多边形: 形状 4097"/>
            <p:cNvSpPr/>
            <p:nvPr/>
          </p:nvSpPr>
          <p:spPr>
            <a:xfrm>
              <a:off x="6374655" y="1448449"/>
              <a:ext cx="552645" cy="328600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99" name="任意多边形: 形状 4098"/>
            <p:cNvSpPr/>
            <p:nvPr/>
          </p:nvSpPr>
          <p:spPr>
            <a:xfrm>
              <a:off x="6369929" y="1774497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6 h 627326"/>
                <a:gd name="connsiteX3" fmla="*/ 0 w 14936"/>
                <a:gd name="connsiteY3" fmla="*/ 639276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6"/>
                  </a:lnTo>
                  <a:lnTo>
                    <a:pt x="0" y="63927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00" name="任意多边形: 形状 4099"/>
            <p:cNvSpPr/>
            <p:nvPr/>
          </p:nvSpPr>
          <p:spPr>
            <a:xfrm>
              <a:off x="3606025" y="3686977"/>
              <a:ext cx="552645" cy="328600"/>
            </a:xfrm>
            <a:custGeom>
              <a:avLst/>
              <a:gdLst>
                <a:gd name="connsiteX0" fmla="*/ 0 w 552644"/>
                <a:gd name="connsiteY0" fmla="*/ 319893 h 328599"/>
                <a:gd name="connsiteX1" fmla="*/ 553485 w 552644"/>
                <a:gd name="connsiteY1" fmla="*/ 0 h 328599"/>
                <a:gd name="connsiteX2" fmla="*/ 560959 w 552644"/>
                <a:gd name="connsiteY2" fmla="*/ 12932 h 328599"/>
                <a:gd name="connsiteX3" fmla="*/ 7474 w 552644"/>
                <a:gd name="connsiteY3" fmla="*/ 332825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93"/>
                  </a:moveTo>
                  <a:lnTo>
                    <a:pt x="553485" y="0"/>
                  </a:lnTo>
                  <a:lnTo>
                    <a:pt x="560959" y="12932"/>
                  </a:lnTo>
                  <a:lnTo>
                    <a:pt x="7474" y="33282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1" name="任意多边形: 形状 4110"/>
            <p:cNvSpPr/>
            <p:nvPr/>
          </p:nvSpPr>
          <p:spPr>
            <a:xfrm>
              <a:off x="4159184" y="3365853"/>
              <a:ext cx="552645" cy="328600"/>
            </a:xfrm>
            <a:custGeom>
              <a:avLst/>
              <a:gdLst>
                <a:gd name="connsiteX0" fmla="*/ 0 w 552644"/>
                <a:gd name="connsiteY0" fmla="*/ 319829 h 328599"/>
                <a:gd name="connsiteX1" fmla="*/ 553485 w 552644"/>
                <a:gd name="connsiteY1" fmla="*/ 0 h 328599"/>
                <a:gd name="connsiteX2" fmla="*/ 560957 w 552644"/>
                <a:gd name="connsiteY2" fmla="*/ 12932 h 328599"/>
                <a:gd name="connsiteX3" fmla="*/ 7473 w 552644"/>
                <a:gd name="connsiteY3" fmla="*/ 332761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29"/>
                  </a:moveTo>
                  <a:lnTo>
                    <a:pt x="553485" y="0"/>
                  </a:lnTo>
                  <a:lnTo>
                    <a:pt x="560957" y="12932"/>
                  </a:lnTo>
                  <a:lnTo>
                    <a:pt x="7473" y="332761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2" name="任意多边形: 形状 4111"/>
            <p:cNvSpPr/>
            <p:nvPr/>
          </p:nvSpPr>
          <p:spPr>
            <a:xfrm>
              <a:off x="4154869" y="3692323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3" name="任意多边形: 形状 4112"/>
            <p:cNvSpPr/>
            <p:nvPr/>
          </p:nvSpPr>
          <p:spPr>
            <a:xfrm>
              <a:off x="4712233" y="3046782"/>
              <a:ext cx="552645" cy="328600"/>
            </a:xfrm>
            <a:custGeom>
              <a:avLst/>
              <a:gdLst>
                <a:gd name="connsiteX0" fmla="*/ 0 w 552644"/>
                <a:gd name="connsiteY0" fmla="*/ 319893 h 328599"/>
                <a:gd name="connsiteX1" fmla="*/ 553485 w 552644"/>
                <a:gd name="connsiteY1" fmla="*/ 0 h 328599"/>
                <a:gd name="connsiteX2" fmla="*/ 560959 w 552644"/>
                <a:gd name="connsiteY2" fmla="*/ 12932 h 328599"/>
                <a:gd name="connsiteX3" fmla="*/ 7474 w 552644"/>
                <a:gd name="connsiteY3" fmla="*/ 332825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93"/>
                  </a:moveTo>
                  <a:lnTo>
                    <a:pt x="553485" y="0"/>
                  </a:lnTo>
                  <a:lnTo>
                    <a:pt x="560959" y="12932"/>
                  </a:lnTo>
                  <a:lnTo>
                    <a:pt x="7474" y="33282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4" name="任意多边形: 形状 4113"/>
            <p:cNvSpPr/>
            <p:nvPr/>
          </p:nvSpPr>
          <p:spPr>
            <a:xfrm>
              <a:off x="4709008" y="3372685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5" name="任意多边形: 形状 4114"/>
            <p:cNvSpPr/>
            <p:nvPr/>
          </p:nvSpPr>
          <p:spPr>
            <a:xfrm>
              <a:off x="5266177" y="2727383"/>
              <a:ext cx="552645" cy="328600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6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6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6" name="任意多边形: 形状 4115"/>
            <p:cNvSpPr/>
            <p:nvPr/>
          </p:nvSpPr>
          <p:spPr>
            <a:xfrm>
              <a:off x="5263146" y="3053048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6 h 627326"/>
                <a:gd name="connsiteX3" fmla="*/ 0 w 14936"/>
                <a:gd name="connsiteY3" fmla="*/ 639276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6"/>
                  </a:lnTo>
                  <a:lnTo>
                    <a:pt x="0" y="63927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7" name="任意多边形: 形状 4116"/>
            <p:cNvSpPr/>
            <p:nvPr/>
          </p:nvSpPr>
          <p:spPr>
            <a:xfrm>
              <a:off x="5820352" y="2407579"/>
              <a:ext cx="552645" cy="328600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8" name="任意多边形: 形状 4117"/>
            <p:cNvSpPr/>
            <p:nvPr/>
          </p:nvSpPr>
          <p:spPr>
            <a:xfrm>
              <a:off x="5817284" y="2733410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9" name="任意多边形: 形状 4118"/>
            <p:cNvSpPr/>
            <p:nvPr/>
          </p:nvSpPr>
          <p:spPr>
            <a:xfrm>
              <a:off x="6374545" y="2087588"/>
              <a:ext cx="552645" cy="328600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0" name="任意多边形: 形状 4119"/>
            <p:cNvSpPr/>
            <p:nvPr/>
          </p:nvSpPr>
          <p:spPr>
            <a:xfrm>
              <a:off x="6369929" y="2413772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6 h 627326"/>
                <a:gd name="connsiteX3" fmla="*/ 0 w 14936"/>
                <a:gd name="connsiteY3" fmla="*/ 639276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6"/>
                  </a:lnTo>
                  <a:lnTo>
                    <a:pt x="0" y="63927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1" name="任意多边形: 形状 4120"/>
            <p:cNvSpPr/>
            <p:nvPr/>
          </p:nvSpPr>
          <p:spPr>
            <a:xfrm>
              <a:off x="3605684" y="4326210"/>
              <a:ext cx="552645" cy="328600"/>
            </a:xfrm>
            <a:custGeom>
              <a:avLst/>
              <a:gdLst>
                <a:gd name="connsiteX0" fmla="*/ 0 w 552644"/>
                <a:gd name="connsiteY0" fmla="*/ 319830 h 328599"/>
                <a:gd name="connsiteX1" fmla="*/ 553485 w 552644"/>
                <a:gd name="connsiteY1" fmla="*/ 0 h 328599"/>
                <a:gd name="connsiteX2" fmla="*/ 560957 w 552644"/>
                <a:gd name="connsiteY2" fmla="*/ 12932 h 328599"/>
                <a:gd name="connsiteX3" fmla="*/ 7473 w 552644"/>
                <a:gd name="connsiteY3" fmla="*/ 332761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30"/>
                  </a:moveTo>
                  <a:lnTo>
                    <a:pt x="553485" y="0"/>
                  </a:lnTo>
                  <a:lnTo>
                    <a:pt x="560957" y="12932"/>
                  </a:lnTo>
                  <a:lnTo>
                    <a:pt x="7473" y="332761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2" name="任意多边形: 形状 4121"/>
            <p:cNvSpPr/>
            <p:nvPr/>
          </p:nvSpPr>
          <p:spPr>
            <a:xfrm>
              <a:off x="4160066" y="4006449"/>
              <a:ext cx="552645" cy="328600"/>
            </a:xfrm>
            <a:custGeom>
              <a:avLst/>
              <a:gdLst>
                <a:gd name="connsiteX0" fmla="*/ 0 w 552644"/>
                <a:gd name="connsiteY0" fmla="*/ 319894 h 328599"/>
                <a:gd name="connsiteX1" fmla="*/ 553485 w 552644"/>
                <a:gd name="connsiteY1" fmla="*/ 0 h 328599"/>
                <a:gd name="connsiteX2" fmla="*/ 560959 w 552644"/>
                <a:gd name="connsiteY2" fmla="*/ 12932 h 328599"/>
                <a:gd name="connsiteX3" fmla="*/ 7474 w 552644"/>
                <a:gd name="connsiteY3" fmla="*/ 332825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94"/>
                  </a:moveTo>
                  <a:lnTo>
                    <a:pt x="553485" y="0"/>
                  </a:lnTo>
                  <a:lnTo>
                    <a:pt x="560959" y="12932"/>
                  </a:lnTo>
                  <a:lnTo>
                    <a:pt x="7474" y="33282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3" name="任意多边形: 形状 4122"/>
            <p:cNvSpPr/>
            <p:nvPr/>
          </p:nvSpPr>
          <p:spPr>
            <a:xfrm>
              <a:off x="4154869" y="4333092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4" name="任意多边形: 形状 4123"/>
            <p:cNvSpPr/>
            <p:nvPr/>
          </p:nvSpPr>
          <p:spPr>
            <a:xfrm>
              <a:off x="4712900" y="3687371"/>
              <a:ext cx="552645" cy="328600"/>
            </a:xfrm>
            <a:custGeom>
              <a:avLst/>
              <a:gdLst>
                <a:gd name="connsiteX0" fmla="*/ 0 w 552644"/>
                <a:gd name="connsiteY0" fmla="*/ 319893 h 328599"/>
                <a:gd name="connsiteX1" fmla="*/ 553485 w 552644"/>
                <a:gd name="connsiteY1" fmla="*/ 0 h 328599"/>
                <a:gd name="connsiteX2" fmla="*/ 560959 w 552644"/>
                <a:gd name="connsiteY2" fmla="*/ 12932 h 328599"/>
                <a:gd name="connsiteX3" fmla="*/ 7474 w 552644"/>
                <a:gd name="connsiteY3" fmla="*/ 332825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93"/>
                  </a:moveTo>
                  <a:lnTo>
                    <a:pt x="553485" y="0"/>
                  </a:lnTo>
                  <a:lnTo>
                    <a:pt x="560959" y="12932"/>
                  </a:lnTo>
                  <a:lnTo>
                    <a:pt x="7474" y="33282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5" name="任意多边形: 形状 4124"/>
            <p:cNvSpPr/>
            <p:nvPr/>
          </p:nvSpPr>
          <p:spPr>
            <a:xfrm>
              <a:off x="4709008" y="4013454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6" name="任意多边形: 形状 4125"/>
            <p:cNvSpPr/>
            <p:nvPr/>
          </p:nvSpPr>
          <p:spPr>
            <a:xfrm>
              <a:off x="5266032" y="3366308"/>
              <a:ext cx="552645" cy="328600"/>
            </a:xfrm>
            <a:custGeom>
              <a:avLst/>
              <a:gdLst>
                <a:gd name="connsiteX0" fmla="*/ 0 w 552644"/>
                <a:gd name="connsiteY0" fmla="*/ 319829 h 328599"/>
                <a:gd name="connsiteX1" fmla="*/ 553485 w 552644"/>
                <a:gd name="connsiteY1" fmla="*/ 0 h 328599"/>
                <a:gd name="connsiteX2" fmla="*/ 560957 w 552644"/>
                <a:gd name="connsiteY2" fmla="*/ 12932 h 328599"/>
                <a:gd name="connsiteX3" fmla="*/ 7473 w 552644"/>
                <a:gd name="connsiteY3" fmla="*/ 332761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29"/>
                  </a:moveTo>
                  <a:lnTo>
                    <a:pt x="553485" y="0"/>
                  </a:lnTo>
                  <a:lnTo>
                    <a:pt x="560957" y="12932"/>
                  </a:lnTo>
                  <a:lnTo>
                    <a:pt x="7473" y="332761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7" name="任意多边形: 形状 4126"/>
            <p:cNvSpPr/>
            <p:nvPr/>
          </p:nvSpPr>
          <p:spPr>
            <a:xfrm>
              <a:off x="5263146" y="3692323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2" name="任意多边形: 形状 9791"/>
            <p:cNvSpPr/>
            <p:nvPr/>
          </p:nvSpPr>
          <p:spPr>
            <a:xfrm>
              <a:off x="5820401" y="3046428"/>
              <a:ext cx="552645" cy="328600"/>
            </a:xfrm>
            <a:custGeom>
              <a:avLst/>
              <a:gdLst>
                <a:gd name="connsiteX0" fmla="*/ 0 w 552644"/>
                <a:gd name="connsiteY0" fmla="*/ 319894 h 328599"/>
                <a:gd name="connsiteX1" fmla="*/ 553485 w 552644"/>
                <a:gd name="connsiteY1" fmla="*/ 0 h 328599"/>
                <a:gd name="connsiteX2" fmla="*/ 560959 w 552644"/>
                <a:gd name="connsiteY2" fmla="*/ 12932 h 328599"/>
                <a:gd name="connsiteX3" fmla="*/ 7474 w 552644"/>
                <a:gd name="connsiteY3" fmla="*/ 332825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94"/>
                  </a:moveTo>
                  <a:lnTo>
                    <a:pt x="553485" y="0"/>
                  </a:lnTo>
                  <a:lnTo>
                    <a:pt x="560959" y="12932"/>
                  </a:lnTo>
                  <a:lnTo>
                    <a:pt x="7474" y="33282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3" name="任意多边形: 形状 9792"/>
            <p:cNvSpPr/>
            <p:nvPr/>
          </p:nvSpPr>
          <p:spPr>
            <a:xfrm>
              <a:off x="5817284" y="3372685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4" name="任意多边形: 形状 9793"/>
            <p:cNvSpPr/>
            <p:nvPr/>
          </p:nvSpPr>
          <p:spPr>
            <a:xfrm>
              <a:off x="6374400" y="2727107"/>
              <a:ext cx="552645" cy="328600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5" name="任意多边形: 形状 9794"/>
            <p:cNvSpPr/>
            <p:nvPr/>
          </p:nvSpPr>
          <p:spPr>
            <a:xfrm>
              <a:off x="6369929" y="3053048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6 h 627326"/>
                <a:gd name="connsiteX3" fmla="*/ 0 w 14936"/>
                <a:gd name="connsiteY3" fmla="*/ 639276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6"/>
                  </a:lnTo>
                  <a:lnTo>
                    <a:pt x="0" y="63927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6" name="任意多边形: 形状 9795"/>
            <p:cNvSpPr/>
            <p:nvPr/>
          </p:nvSpPr>
          <p:spPr>
            <a:xfrm>
              <a:off x="3605560" y="4965492"/>
              <a:ext cx="552645" cy="328600"/>
            </a:xfrm>
            <a:custGeom>
              <a:avLst/>
              <a:gdLst>
                <a:gd name="connsiteX0" fmla="*/ 0 w 552644"/>
                <a:gd name="connsiteY0" fmla="*/ 319829 h 328599"/>
                <a:gd name="connsiteX1" fmla="*/ 553485 w 552644"/>
                <a:gd name="connsiteY1" fmla="*/ 0 h 328599"/>
                <a:gd name="connsiteX2" fmla="*/ 560957 w 552644"/>
                <a:gd name="connsiteY2" fmla="*/ 12932 h 328599"/>
                <a:gd name="connsiteX3" fmla="*/ 7473 w 552644"/>
                <a:gd name="connsiteY3" fmla="*/ 332761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29"/>
                  </a:moveTo>
                  <a:lnTo>
                    <a:pt x="553485" y="0"/>
                  </a:lnTo>
                  <a:lnTo>
                    <a:pt x="560957" y="12932"/>
                  </a:lnTo>
                  <a:lnTo>
                    <a:pt x="7473" y="332761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7" name="任意多边形: 形状 9796"/>
            <p:cNvSpPr/>
            <p:nvPr/>
          </p:nvSpPr>
          <p:spPr>
            <a:xfrm>
              <a:off x="4159692" y="4645709"/>
              <a:ext cx="552645" cy="328600"/>
            </a:xfrm>
            <a:custGeom>
              <a:avLst/>
              <a:gdLst>
                <a:gd name="connsiteX0" fmla="*/ 0 w 552644"/>
                <a:gd name="connsiteY0" fmla="*/ 319829 h 328599"/>
                <a:gd name="connsiteX1" fmla="*/ 553485 w 552644"/>
                <a:gd name="connsiteY1" fmla="*/ 0 h 328599"/>
                <a:gd name="connsiteX2" fmla="*/ 560957 w 552644"/>
                <a:gd name="connsiteY2" fmla="*/ 12932 h 328599"/>
                <a:gd name="connsiteX3" fmla="*/ 7473 w 552644"/>
                <a:gd name="connsiteY3" fmla="*/ 332761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29"/>
                  </a:moveTo>
                  <a:lnTo>
                    <a:pt x="553485" y="0"/>
                  </a:lnTo>
                  <a:lnTo>
                    <a:pt x="560957" y="12932"/>
                  </a:lnTo>
                  <a:lnTo>
                    <a:pt x="7473" y="332761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8" name="任意多边形: 形状 9797"/>
            <p:cNvSpPr/>
            <p:nvPr/>
          </p:nvSpPr>
          <p:spPr>
            <a:xfrm>
              <a:off x="4154869" y="4972368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9" name="任意多边形: 形状 9798"/>
            <p:cNvSpPr/>
            <p:nvPr/>
          </p:nvSpPr>
          <p:spPr>
            <a:xfrm>
              <a:off x="4712814" y="4326669"/>
              <a:ext cx="552645" cy="328600"/>
            </a:xfrm>
            <a:custGeom>
              <a:avLst/>
              <a:gdLst>
                <a:gd name="connsiteX0" fmla="*/ 0 w 552644"/>
                <a:gd name="connsiteY0" fmla="*/ 319893 h 328599"/>
                <a:gd name="connsiteX1" fmla="*/ 553485 w 552644"/>
                <a:gd name="connsiteY1" fmla="*/ 0 h 328599"/>
                <a:gd name="connsiteX2" fmla="*/ 560959 w 552644"/>
                <a:gd name="connsiteY2" fmla="*/ 12932 h 328599"/>
                <a:gd name="connsiteX3" fmla="*/ 7474 w 552644"/>
                <a:gd name="connsiteY3" fmla="*/ 332825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93"/>
                  </a:moveTo>
                  <a:lnTo>
                    <a:pt x="553485" y="0"/>
                  </a:lnTo>
                  <a:lnTo>
                    <a:pt x="560959" y="12932"/>
                  </a:lnTo>
                  <a:lnTo>
                    <a:pt x="7474" y="33282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0" name="任意多边形: 形状 9799"/>
            <p:cNvSpPr/>
            <p:nvPr/>
          </p:nvSpPr>
          <p:spPr>
            <a:xfrm>
              <a:off x="4709008" y="4652730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3" name="任意多边形: 形状 9802"/>
            <p:cNvSpPr/>
            <p:nvPr/>
          </p:nvSpPr>
          <p:spPr>
            <a:xfrm>
              <a:off x="5266940" y="4006842"/>
              <a:ext cx="552645" cy="328600"/>
            </a:xfrm>
            <a:custGeom>
              <a:avLst/>
              <a:gdLst>
                <a:gd name="connsiteX0" fmla="*/ 0 w 552644"/>
                <a:gd name="connsiteY0" fmla="*/ 319894 h 328599"/>
                <a:gd name="connsiteX1" fmla="*/ 553485 w 552644"/>
                <a:gd name="connsiteY1" fmla="*/ 0 h 328599"/>
                <a:gd name="connsiteX2" fmla="*/ 560959 w 552644"/>
                <a:gd name="connsiteY2" fmla="*/ 12932 h 328599"/>
                <a:gd name="connsiteX3" fmla="*/ 7474 w 552644"/>
                <a:gd name="connsiteY3" fmla="*/ 332825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94"/>
                  </a:moveTo>
                  <a:lnTo>
                    <a:pt x="553485" y="0"/>
                  </a:lnTo>
                  <a:lnTo>
                    <a:pt x="560959" y="12932"/>
                  </a:lnTo>
                  <a:lnTo>
                    <a:pt x="7474" y="33282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4" name="任意多边形: 形状 9803"/>
            <p:cNvSpPr/>
            <p:nvPr/>
          </p:nvSpPr>
          <p:spPr>
            <a:xfrm>
              <a:off x="5263146" y="4333092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5" name="任意多边形: 形状 9804"/>
            <p:cNvSpPr/>
            <p:nvPr/>
          </p:nvSpPr>
          <p:spPr>
            <a:xfrm>
              <a:off x="5820791" y="3687095"/>
              <a:ext cx="552645" cy="328600"/>
            </a:xfrm>
            <a:custGeom>
              <a:avLst/>
              <a:gdLst>
                <a:gd name="connsiteX0" fmla="*/ 0 w 552644"/>
                <a:gd name="connsiteY0" fmla="*/ 319830 h 328599"/>
                <a:gd name="connsiteX1" fmla="*/ 553485 w 552644"/>
                <a:gd name="connsiteY1" fmla="*/ 0 h 328599"/>
                <a:gd name="connsiteX2" fmla="*/ 560957 w 552644"/>
                <a:gd name="connsiteY2" fmla="*/ 12932 h 328599"/>
                <a:gd name="connsiteX3" fmla="*/ 7473 w 552644"/>
                <a:gd name="connsiteY3" fmla="*/ 332761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30"/>
                  </a:moveTo>
                  <a:lnTo>
                    <a:pt x="553485" y="0"/>
                  </a:lnTo>
                  <a:lnTo>
                    <a:pt x="560957" y="12932"/>
                  </a:lnTo>
                  <a:lnTo>
                    <a:pt x="7473" y="332761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6" name="任意多边形: 形状 9805"/>
            <p:cNvSpPr/>
            <p:nvPr/>
          </p:nvSpPr>
          <p:spPr>
            <a:xfrm>
              <a:off x="5817284" y="4013454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7" name="任意多边形: 形状 9806"/>
            <p:cNvSpPr/>
            <p:nvPr/>
          </p:nvSpPr>
          <p:spPr>
            <a:xfrm>
              <a:off x="6374174" y="3366016"/>
              <a:ext cx="552645" cy="328600"/>
            </a:xfrm>
            <a:custGeom>
              <a:avLst/>
              <a:gdLst>
                <a:gd name="connsiteX0" fmla="*/ 0 w 552644"/>
                <a:gd name="connsiteY0" fmla="*/ 319829 h 328599"/>
                <a:gd name="connsiteX1" fmla="*/ 553485 w 552644"/>
                <a:gd name="connsiteY1" fmla="*/ 0 h 328599"/>
                <a:gd name="connsiteX2" fmla="*/ 560957 w 552644"/>
                <a:gd name="connsiteY2" fmla="*/ 12932 h 328599"/>
                <a:gd name="connsiteX3" fmla="*/ 7473 w 552644"/>
                <a:gd name="connsiteY3" fmla="*/ 332761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29"/>
                  </a:moveTo>
                  <a:lnTo>
                    <a:pt x="553485" y="0"/>
                  </a:lnTo>
                  <a:lnTo>
                    <a:pt x="560957" y="12932"/>
                  </a:lnTo>
                  <a:lnTo>
                    <a:pt x="7473" y="332761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8" name="任意多边形: 形状 9807"/>
            <p:cNvSpPr/>
            <p:nvPr/>
          </p:nvSpPr>
          <p:spPr>
            <a:xfrm>
              <a:off x="6369929" y="3693817"/>
              <a:ext cx="14936" cy="62732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9" name="任意多边形: 形状 9808"/>
            <p:cNvSpPr/>
            <p:nvPr/>
          </p:nvSpPr>
          <p:spPr>
            <a:xfrm>
              <a:off x="7399043" y="1738649"/>
              <a:ext cx="418218" cy="2867778"/>
            </a:xfrm>
            <a:custGeom>
              <a:avLst/>
              <a:gdLst>
                <a:gd name="connsiteX0" fmla="*/ 0 w 418217"/>
                <a:gd name="connsiteY0" fmla="*/ 2872259 h 2867777"/>
                <a:gd name="connsiteX1" fmla="*/ 425686 w 418217"/>
                <a:gd name="connsiteY1" fmla="*/ 2627303 h 2867777"/>
                <a:gd name="connsiteX2" fmla="*/ 424192 w 418217"/>
                <a:gd name="connsiteY2" fmla="*/ 0 h 2867777"/>
                <a:gd name="connsiteX3" fmla="*/ 0 w 418217"/>
                <a:gd name="connsiteY3" fmla="*/ 244956 h 2867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2867777">
                  <a:moveTo>
                    <a:pt x="0" y="2872259"/>
                  </a:moveTo>
                  <a:lnTo>
                    <a:pt x="425686" y="2627303"/>
                  </a:lnTo>
                  <a:lnTo>
                    <a:pt x="424192" y="0"/>
                  </a:lnTo>
                  <a:lnTo>
                    <a:pt x="0" y="24495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0" name="任意多边形: 形状 9809"/>
            <p:cNvSpPr/>
            <p:nvPr/>
          </p:nvSpPr>
          <p:spPr>
            <a:xfrm>
              <a:off x="6974851" y="1738649"/>
              <a:ext cx="418218" cy="2867778"/>
            </a:xfrm>
            <a:custGeom>
              <a:avLst/>
              <a:gdLst>
                <a:gd name="connsiteX0" fmla="*/ 424192 w 418217"/>
                <a:gd name="connsiteY0" fmla="*/ 2872259 h 2867777"/>
                <a:gd name="connsiteX1" fmla="*/ 0 w 418217"/>
                <a:gd name="connsiteY1" fmla="*/ 2627303 h 2867777"/>
                <a:gd name="connsiteX2" fmla="*/ 0 w 418217"/>
                <a:gd name="connsiteY2" fmla="*/ 0 h 2867777"/>
                <a:gd name="connsiteX3" fmla="*/ 424192 w 418217"/>
                <a:gd name="connsiteY3" fmla="*/ 244956 h 2867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2867777">
                  <a:moveTo>
                    <a:pt x="424192" y="2872259"/>
                  </a:moveTo>
                  <a:lnTo>
                    <a:pt x="0" y="2627303"/>
                  </a:lnTo>
                  <a:lnTo>
                    <a:pt x="0" y="0"/>
                  </a:lnTo>
                  <a:lnTo>
                    <a:pt x="424192" y="24495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1" name="任意多边形: 形状 9810"/>
            <p:cNvSpPr/>
            <p:nvPr/>
          </p:nvSpPr>
          <p:spPr>
            <a:xfrm>
              <a:off x="6974851" y="1493693"/>
              <a:ext cx="836435" cy="477963"/>
            </a:xfrm>
            <a:custGeom>
              <a:avLst/>
              <a:gdLst>
                <a:gd name="connsiteX0" fmla="*/ 0 w 836435"/>
                <a:gd name="connsiteY0" fmla="*/ 244956 h 477962"/>
                <a:gd name="connsiteX1" fmla="*/ 424192 w 836435"/>
                <a:gd name="connsiteY1" fmla="*/ 0 h 477962"/>
                <a:gd name="connsiteX2" fmla="*/ 848384 w 836435"/>
                <a:gd name="connsiteY2" fmla="*/ 244956 h 477962"/>
                <a:gd name="connsiteX3" fmla="*/ 424192 w 836435"/>
                <a:gd name="connsiteY3" fmla="*/ 489912 h 477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6435" h="477962">
                  <a:moveTo>
                    <a:pt x="0" y="244956"/>
                  </a:moveTo>
                  <a:lnTo>
                    <a:pt x="424192" y="0"/>
                  </a:lnTo>
                  <a:lnTo>
                    <a:pt x="848384" y="244956"/>
                  </a:lnTo>
                  <a:lnTo>
                    <a:pt x="424192" y="489912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2" name="任意多边形: 形状 9811"/>
            <p:cNvSpPr/>
            <p:nvPr/>
          </p:nvSpPr>
          <p:spPr>
            <a:xfrm>
              <a:off x="6773211" y="2373444"/>
              <a:ext cx="418218" cy="2598924"/>
            </a:xfrm>
            <a:custGeom>
              <a:avLst/>
              <a:gdLst>
                <a:gd name="connsiteX0" fmla="*/ 0 w 418217"/>
                <a:gd name="connsiteY0" fmla="*/ 2598924 h 2598923"/>
                <a:gd name="connsiteX1" fmla="*/ 425686 w 418217"/>
                <a:gd name="connsiteY1" fmla="*/ 2352474 h 2598923"/>
                <a:gd name="connsiteX2" fmla="*/ 425686 w 418217"/>
                <a:gd name="connsiteY2" fmla="*/ 0 h 2598923"/>
                <a:gd name="connsiteX3" fmla="*/ 0 w 418217"/>
                <a:gd name="connsiteY3" fmla="*/ 244956 h 259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2598923">
                  <a:moveTo>
                    <a:pt x="0" y="2598924"/>
                  </a:moveTo>
                  <a:lnTo>
                    <a:pt x="425686" y="2352474"/>
                  </a:lnTo>
                  <a:lnTo>
                    <a:pt x="425686" y="0"/>
                  </a:lnTo>
                  <a:lnTo>
                    <a:pt x="0" y="24495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3" name="任意多边形: 形状 9812"/>
            <p:cNvSpPr/>
            <p:nvPr/>
          </p:nvSpPr>
          <p:spPr>
            <a:xfrm>
              <a:off x="6349018" y="2373444"/>
              <a:ext cx="418218" cy="2598924"/>
            </a:xfrm>
            <a:custGeom>
              <a:avLst/>
              <a:gdLst>
                <a:gd name="connsiteX0" fmla="*/ 424192 w 418217"/>
                <a:gd name="connsiteY0" fmla="*/ 2598924 h 2598923"/>
                <a:gd name="connsiteX1" fmla="*/ 0 w 418217"/>
                <a:gd name="connsiteY1" fmla="*/ 2352474 h 2598923"/>
                <a:gd name="connsiteX2" fmla="*/ 0 w 418217"/>
                <a:gd name="connsiteY2" fmla="*/ 0 h 2598923"/>
                <a:gd name="connsiteX3" fmla="*/ 424192 w 418217"/>
                <a:gd name="connsiteY3" fmla="*/ 244956 h 259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2598923">
                  <a:moveTo>
                    <a:pt x="424192" y="2598924"/>
                  </a:moveTo>
                  <a:lnTo>
                    <a:pt x="0" y="2352474"/>
                  </a:lnTo>
                  <a:lnTo>
                    <a:pt x="0" y="0"/>
                  </a:lnTo>
                  <a:lnTo>
                    <a:pt x="424192" y="24495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4" name="任意多边形: 形状 9813"/>
            <p:cNvSpPr/>
            <p:nvPr/>
          </p:nvSpPr>
          <p:spPr>
            <a:xfrm>
              <a:off x="6349018" y="2128488"/>
              <a:ext cx="836435" cy="477963"/>
            </a:xfrm>
            <a:custGeom>
              <a:avLst/>
              <a:gdLst>
                <a:gd name="connsiteX0" fmla="*/ 0 w 836435"/>
                <a:gd name="connsiteY0" fmla="*/ 244956 h 477962"/>
                <a:gd name="connsiteX1" fmla="*/ 424192 w 836435"/>
                <a:gd name="connsiteY1" fmla="*/ 0 h 477962"/>
                <a:gd name="connsiteX2" fmla="*/ 849878 w 836435"/>
                <a:gd name="connsiteY2" fmla="*/ 244956 h 477962"/>
                <a:gd name="connsiteX3" fmla="*/ 424192 w 836435"/>
                <a:gd name="connsiteY3" fmla="*/ 489912 h 477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6435" h="477962">
                  <a:moveTo>
                    <a:pt x="0" y="244956"/>
                  </a:moveTo>
                  <a:lnTo>
                    <a:pt x="424192" y="0"/>
                  </a:lnTo>
                  <a:lnTo>
                    <a:pt x="849878" y="244956"/>
                  </a:lnTo>
                  <a:lnTo>
                    <a:pt x="424192" y="489912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5" name="任意多边形: 形状 9814"/>
            <p:cNvSpPr/>
            <p:nvPr/>
          </p:nvSpPr>
          <p:spPr>
            <a:xfrm>
              <a:off x="6147378" y="3126236"/>
              <a:ext cx="418218" cy="2195642"/>
            </a:xfrm>
            <a:custGeom>
              <a:avLst/>
              <a:gdLst>
                <a:gd name="connsiteX0" fmla="*/ 0 w 418217"/>
                <a:gd name="connsiteY0" fmla="*/ 2206098 h 2195642"/>
                <a:gd name="connsiteX1" fmla="*/ 425686 w 418217"/>
                <a:gd name="connsiteY1" fmla="*/ 1961142 h 2195642"/>
                <a:gd name="connsiteX2" fmla="*/ 425686 w 418217"/>
                <a:gd name="connsiteY2" fmla="*/ 0 h 2195642"/>
                <a:gd name="connsiteX3" fmla="*/ 0 w 418217"/>
                <a:gd name="connsiteY3" fmla="*/ 244956 h 219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2195642">
                  <a:moveTo>
                    <a:pt x="0" y="2206098"/>
                  </a:moveTo>
                  <a:lnTo>
                    <a:pt x="425686" y="1961142"/>
                  </a:lnTo>
                  <a:lnTo>
                    <a:pt x="425686" y="0"/>
                  </a:lnTo>
                  <a:lnTo>
                    <a:pt x="0" y="24495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6" name="任意多边形: 形状 9815"/>
            <p:cNvSpPr/>
            <p:nvPr/>
          </p:nvSpPr>
          <p:spPr>
            <a:xfrm>
              <a:off x="5723186" y="3126236"/>
              <a:ext cx="418218" cy="2195642"/>
            </a:xfrm>
            <a:custGeom>
              <a:avLst/>
              <a:gdLst>
                <a:gd name="connsiteX0" fmla="*/ 424192 w 418217"/>
                <a:gd name="connsiteY0" fmla="*/ 2206098 h 2195642"/>
                <a:gd name="connsiteX1" fmla="*/ 0 w 418217"/>
                <a:gd name="connsiteY1" fmla="*/ 1961142 h 2195642"/>
                <a:gd name="connsiteX2" fmla="*/ 0 w 418217"/>
                <a:gd name="connsiteY2" fmla="*/ 0 h 2195642"/>
                <a:gd name="connsiteX3" fmla="*/ 424192 w 418217"/>
                <a:gd name="connsiteY3" fmla="*/ 244956 h 219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2195642">
                  <a:moveTo>
                    <a:pt x="424192" y="2206098"/>
                  </a:moveTo>
                  <a:lnTo>
                    <a:pt x="0" y="1961142"/>
                  </a:lnTo>
                  <a:lnTo>
                    <a:pt x="0" y="0"/>
                  </a:lnTo>
                  <a:lnTo>
                    <a:pt x="424192" y="24495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7" name="任意多边形: 形状 9816"/>
            <p:cNvSpPr/>
            <p:nvPr/>
          </p:nvSpPr>
          <p:spPr>
            <a:xfrm>
              <a:off x="5723186" y="2881280"/>
              <a:ext cx="836435" cy="477963"/>
            </a:xfrm>
            <a:custGeom>
              <a:avLst/>
              <a:gdLst>
                <a:gd name="connsiteX0" fmla="*/ 0 w 836435"/>
                <a:gd name="connsiteY0" fmla="*/ 244956 h 477962"/>
                <a:gd name="connsiteX1" fmla="*/ 424192 w 836435"/>
                <a:gd name="connsiteY1" fmla="*/ 0 h 477962"/>
                <a:gd name="connsiteX2" fmla="*/ 849878 w 836435"/>
                <a:gd name="connsiteY2" fmla="*/ 244956 h 477962"/>
                <a:gd name="connsiteX3" fmla="*/ 424192 w 836435"/>
                <a:gd name="connsiteY3" fmla="*/ 489912 h 477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6435" h="477962">
                  <a:moveTo>
                    <a:pt x="0" y="244956"/>
                  </a:moveTo>
                  <a:lnTo>
                    <a:pt x="424192" y="0"/>
                  </a:lnTo>
                  <a:lnTo>
                    <a:pt x="849878" y="244956"/>
                  </a:lnTo>
                  <a:lnTo>
                    <a:pt x="424192" y="489912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8" name="任意多边形: 形状 9817"/>
            <p:cNvSpPr/>
            <p:nvPr/>
          </p:nvSpPr>
          <p:spPr>
            <a:xfrm>
              <a:off x="5523038" y="4086642"/>
              <a:ext cx="418218" cy="1598189"/>
            </a:xfrm>
            <a:custGeom>
              <a:avLst/>
              <a:gdLst>
                <a:gd name="connsiteX0" fmla="*/ 0 w 418217"/>
                <a:gd name="connsiteY0" fmla="*/ 1605657 h 1598188"/>
                <a:gd name="connsiteX1" fmla="*/ 424192 w 418217"/>
                <a:gd name="connsiteY1" fmla="*/ 1360701 h 1598188"/>
                <a:gd name="connsiteX2" fmla="*/ 424192 w 418217"/>
                <a:gd name="connsiteY2" fmla="*/ 0 h 1598188"/>
                <a:gd name="connsiteX3" fmla="*/ 0 w 418217"/>
                <a:gd name="connsiteY3" fmla="*/ 244956 h 1598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1598188">
                  <a:moveTo>
                    <a:pt x="0" y="1605657"/>
                  </a:moveTo>
                  <a:lnTo>
                    <a:pt x="424192" y="1360701"/>
                  </a:lnTo>
                  <a:lnTo>
                    <a:pt x="424192" y="0"/>
                  </a:lnTo>
                  <a:lnTo>
                    <a:pt x="0" y="24495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9" name="任意多边形: 形状 9818"/>
            <p:cNvSpPr/>
            <p:nvPr/>
          </p:nvSpPr>
          <p:spPr>
            <a:xfrm>
              <a:off x="5097353" y="4086642"/>
              <a:ext cx="418218" cy="1598189"/>
            </a:xfrm>
            <a:custGeom>
              <a:avLst/>
              <a:gdLst>
                <a:gd name="connsiteX0" fmla="*/ 425686 w 418217"/>
                <a:gd name="connsiteY0" fmla="*/ 1605657 h 1598188"/>
                <a:gd name="connsiteX1" fmla="*/ 0 w 418217"/>
                <a:gd name="connsiteY1" fmla="*/ 1360701 h 1598188"/>
                <a:gd name="connsiteX2" fmla="*/ 0 w 418217"/>
                <a:gd name="connsiteY2" fmla="*/ 0 h 1598188"/>
                <a:gd name="connsiteX3" fmla="*/ 425686 w 418217"/>
                <a:gd name="connsiteY3" fmla="*/ 244956 h 1598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1598188">
                  <a:moveTo>
                    <a:pt x="425686" y="1605657"/>
                  </a:moveTo>
                  <a:lnTo>
                    <a:pt x="0" y="1360701"/>
                  </a:lnTo>
                  <a:lnTo>
                    <a:pt x="0" y="0"/>
                  </a:lnTo>
                  <a:lnTo>
                    <a:pt x="425686" y="24495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0" name="任意多边形: 形状 9819"/>
            <p:cNvSpPr/>
            <p:nvPr/>
          </p:nvSpPr>
          <p:spPr>
            <a:xfrm>
              <a:off x="5097353" y="3841686"/>
              <a:ext cx="836435" cy="477963"/>
            </a:xfrm>
            <a:custGeom>
              <a:avLst/>
              <a:gdLst>
                <a:gd name="connsiteX0" fmla="*/ 0 w 836435"/>
                <a:gd name="connsiteY0" fmla="*/ 244956 h 477962"/>
                <a:gd name="connsiteX1" fmla="*/ 425686 w 836435"/>
                <a:gd name="connsiteY1" fmla="*/ 0 h 477962"/>
                <a:gd name="connsiteX2" fmla="*/ 849878 w 836435"/>
                <a:gd name="connsiteY2" fmla="*/ 244956 h 477962"/>
                <a:gd name="connsiteX3" fmla="*/ 425686 w 836435"/>
                <a:gd name="connsiteY3" fmla="*/ 489912 h 477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6435" h="477962">
                  <a:moveTo>
                    <a:pt x="0" y="244956"/>
                  </a:moveTo>
                  <a:lnTo>
                    <a:pt x="425686" y="0"/>
                  </a:lnTo>
                  <a:lnTo>
                    <a:pt x="849878" y="244956"/>
                  </a:lnTo>
                  <a:lnTo>
                    <a:pt x="425686" y="489912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1" name="任意多边形: 形状 9820"/>
            <p:cNvSpPr/>
            <p:nvPr/>
          </p:nvSpPr>
          <p:spPr>
            <a:xfrm>
              <a:off x="4897206" y="4537720"/>
              <a:ext cx="418218" cy="1508571"/>
            </a:xfrm>
            <a:custGeom>
              <a:avLst/>
              <a:gdLst>
                <a:gd name="connsiteX0" fmla="*/ 0 w 418217"/>
                <a:gd name="connsiteY0" fmla="*/ 1514545 h 1508570"/>
                <a:gd name="connsiteX1" fmla="*/ 424192 w 418217"/>
                <a:gd name="connsiteY1" fmla="*/ 1269589 h 1508570"/>
                <a:gd name="connsiteX2" fmla="*/ 424192 w 418217"/>
                <a:gd name="connsiteY2" fmla="*/ 0 h 1508570"/>
                <a:gd name="connsiteX3" fmla="*/ 0 w 418217"/>
                <a:gd name="connsiteY3" fmla="*/ 244956 h 150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1508570">
                  <a:moveTo>
                    <a:pt x="0" y="1514545"/>
                  </a:moveTo>
                  <a:lnTo>
                    <a:pt x="424192" y="1269589"/>
                  </a:lnTo>
                  <a:lnTo>
                    <a:pt x="424192" y="0"/>
                  </a:lnTo>
                  <a:lnTo>
                    <a:pt x="0" y="24495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2" name="任意多边形: 形状 9821"/>
            <p:cNvSpPr/>
            <p:nvPr/>
          </p:nvSpPr>
          <p:spPr>
            <a:xfrm>
              <a:off x="4471520" y="4537720"/>
              <a:ext cx="418218" cy="1508571"/>
            </a:xfrm>
            <a:custGeom>
              <a:avLst/>
              <a:gdLst>
                <a:gd name="connsiteX0" fmla="*/ 425686 w 418217"/>
                <a:gd name="connsiteY0" fmla="*/ 1514545 h 1508570"/>
                <a:gd name="connsiteX1" fmla="*/ 0 w 418217"/>
                <a:gd name="connsiteY1" fmla="*/ 1269589 h 1508570"/>
                <a:gd name="connsiteX2" fmla="*/ 0 w 418217"/>
                <a:gd name="connsiteY2" fmla="*/ 0 h 1508570"/>
                <a:gd name="connsiteX3" fmla="*/ 425686 w 418217"/>
                <a:gd name="connsiteY3" fmla="*/ 244956 h 150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1508570">
                  <a:moveTo>
                    <a:pt x="425686" y="1514545"/>
                  </a:moveTo>
                  <a:lnTo>
                    <a:pt x="0" y="1269589"/>
                  </a:lnTo>
                  <a:lnTo>
                    <a:pt x="0" y="0"/>
                  </a:lnTo>
                  <a:lnTo>
                    <a:pt x="425686" y="24495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3" name="任意多边形: 形状 9822"/>
            <p:cNvSpPr/>
            <p:nvPr/>
          </p:nvSpPr>
          <p:spPr>
            <a:xfrm>
              <a:off x="4471520" y="4292764"/>
              <a:ext cx="836435" cy="477963"/>
            </a:xfrm>
            <a:custGeom>
              <a:avLst/>
              <a:gdLst>
                <a:gd name="connsiteX0" fmla="*/ 0 w 836435"/>
                <a:gd name="connsiteY0" fmla="*/ 244956 h 477962"/>
                <a:gd name="connsiteX1" fmla="*/ 425686 w 836435"/>
                <a:gd name="connsiteY1" fmla="*/ 0 h 477962"/>
                <a:gd name="connsiteX2" fmla="*/ 849878 w 836435"/>
                <a:gd name="connsiteY2" fmla="*/ 244956 h 477962"/>
                <a:gd name="connsiteX3" fmla="*/ 425686 w 836435"/>
                <a:gd name="connsiteY3" fmla="*/ 489912 h 477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6435" h="477962">
                  <a:moveTo>
                    <a:pt x="0" y="244956"/>
                  </a:moveTo>
                  <a:lnTo>
                    <a:pt x="425686" y="0"/>
                  </a:lnTo>
                  <a:lnTo>
                    <a:pt x="849878" y="244956"/>
                  </a:lnTo>
                  <a:lnTo>
                    <a:pt x="425686" y="489912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4" name="任意多边形: 形状 9823"/>
            <p:cNvSpPr/>
            <p:nvPr/>
          </p:nvSpPr>
          <p:spPr>
            <a:xfrm>
              <a:off x="4145908" y="86690"/>
              <a:ext cx="3539913" cy="4077621"/>
            </a:xfrm>
            <a:custGeom>
              <a:avLst/>
              <a:gdLst>
                <a:gd name="connsiteX0" fmla="*/ 921572 w 3539913"/>
                <a:gd name="connsiteY0" fmla="*/ 3126177 h 4077621"/>
                <a:gd name="connsiteX1" fmla="*/ 1620593 w 3539913"/>
                <a:gd name="connsiteY1" fmla="*/ 1947699 h 4077621"/>
                <a:gd name="connsiteX2" fmla="*/ 2449560 w 3539913"/>
                <a:gd name="connsiteY2" fmla="*/ 1357714 h 4077621"/>
                <a:gd name="connsiteX3" fmla="*/ 2933498 w 3539913"/>
                <a:gd name="connsiteY3" fmla="*/ 658693 h 4077621"/>
                <a:gd name="connsiteX4" fmla="*/ 2800564 w 3539913"/>
                <a:gd name="connsiteY4" fmla="*/ 530240 h 4077621"/>
                <a:gd name="connsiteX5" fmla="*/ 3539914 w 3539913"/>
                <a:gd name="connsiteY5" fmla="*/ 0 h 4077621"/>
                <a:gd name="connsiteX6" fmla="*/ 3247161 w 3539913"/>
                <a:gd name="connsiteY6" fmla="*/ 960407 h 4077621"/>
                <a:gd name="connsiteX7" fmla="*/ 3112734 w 3539913"/>
                <a:gd name="connsiteY7" fmla="*/ 830461 h 4077621"/>
                <a:gd name="connsiteX8" fmla="*/ 2564570 w 3539913"/>
                <a:gd name="connsiteY8" fmla="*/ 1623580 h 4077621"/>
                <a:gd name="connsiteX9" fmla="*/ 1755020 w 3539913"/>
                <a:gd name="connsiteY9" fmla="*/ 2200123 h 4077621"/>
                <a:gd name="connsiteX10" fmla="*/ 1053012 w 3539913"/>
                <a:gd name="connsiteY10" fmla="*/ 3383082 h 4077621"/>
                <a:gd name="connsiteX11" fmla="*/ 26885 w 3539913"/>
                <a:gd name="connsiteY11" fmla="*/ 4082102 h 4077621"/>
                <a:gd name="connsiteX12" fmla="*/ 0 w 3539913"/>
                <a:gd name="connsiteY12" fmla="*/ 3754996 h 4077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39913" h="4077621">
                  <a:moveTo>
                    <a:pt x="921572" y="3126177"/>
                  </a:moveTo>
                  <a:lnTo>
                    <a:pt x="1620593" y="1947699"/>
                  </a:lnTo>
                  <a:lnTo>
                    <a:pt x="2449560" y="1357714"/>
                  </a:lnTo>
                  <a:lnTo>
                    <a:pt x="2933498" y="658693"/>
                  </a:lnTo>
                  <a:lnTo>
                    <a:pt x="2800564" y="530240"/>
                  </a:lnTo>
                  <a:lnTo>
                    <a:pt x="3539914" y="0"/>
                  </a:lnTo>
                  <a:lnTo>
                    <a:pt x="3247161" y="960407"/>
                  </a:lnTo>
                  <a:lnTo>
                    <a:pt x="3112734" y="830461"/>
                  </a:lnTo>
                  <a:lnTo>
                    <a:pt x="2564570" y="1623580"/>
                  </a:lnTo>
                  <a:lnTo>
                    <a:pt x="1755020" y="2200123"/>
                  </a:lnTo>
                  <a:lnTo>
                    <a:pt x="1053012" y="3383082"/>
                  </a:lnTo>
                  <a:lnTo>
                    <a:pt x="26885" y="4082102"/>
                  </a:lnTo>
                  <a:lnTo>
                    <a:pt x="0" y="3754996"/>
                  </a:lnTo>
                  <a:close/>
                </a:path>
              </a:pathLst>
            </a:custGeom>
            <a:solidFill>
              <a:srgbClr val="FFFF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5" name="任意多边形: 形状 9824"/>
            <p:cNvSpPr/>
            <p:nvPr/>
          </p:nvSpPr>
          <p:spPr>
            <a:xfrm>
              <a:off x="7258642" y="917151"/>
              <a:ext cx="597454" cy="388345"/>
            </a:xfrm>
            <a:custGeom>
              <a:avLst/>
              <a:gdLst>
                <a:gd name="connsiteX0" fmla="*/ 134427 w 597453"/>
                <a:gd name="connsiteY0" fmla="*/ 129946 h 388344"/>
                <a:gd name="connsiteX1" fmla="*/ 0 w 597453"/>
                <a:gd name="connsiteY1" fmla="*/ 0 h 388344"/>
                <a:gd name="connsiteX2" fmla="*/ 466014 w 597453"/>
                <a:gd name="connsiteY2" fmla="*/ 268854 h 388344"/>
                <a:gd name="connsiteX3" fmla="*/ 598947 w 597453"/>
                <a:gd name="connsiteY3" fmla="*/ 397307 h 38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3" h="388344">
                  <a:moveTo>
                    <a:pt x="134427" y="129946"/>
                  </a:moveTo>
                  <a:lnTo>
                    <a:pt x="0" y="0"/>
                  </a:lnTo>
                  <a:lnTo>
                    <a:pt x="466014" y="268854"/>
                  </a:lnTo>
                  <a:lnTo>
                    <a:pt x="598947" y="397307"/>
                  </a:lnTo>
                  <a:close/>
                </a:path>
              </a:pathLst>
            </a:custGeom>
            <a:solidFill>
              <a:srgbClr val="E60B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6" name="任意多边形: 形状 9825"/>
            <p:cNvSpPr/>
            <p:nvPr/>
          </p:nvSpPr>
          <p:spPr>
            <a:xfrm>
              <a:off x="4610428" y="355544"/>
              <a:ext cx="3524977" cy="4077621"/>
            </a:xfrm>
            <a:custGeom>
              <a:avLst/>
              <a:gdLst>
                <a:gd name="connsiteX0" fmla="*/ 921572 w 3524977"/>
                <a:gd name="connsiteY0" fmla="*/ 3124683 h 4077621"/>
                <a:gd name="connsiteX1" fmla="*/ 1620593 w 3524977"/>
                <a:gd name="connsiteY1" fmla="*/ 1947699 h 4077621"/>
                <a:gd name="connsiteX2" fmla="*/ 2449560 w 3524977"/>
                <a:gd name="connsiteY2" fmla="*/ 1357714 h 4077621"/>
                <a:gd name="connsiteX3" fmla="*/ 2934991 w 3524977"/>
                <a:gd name="connsiteY3" fmla="*/ 658693 h 4077621"/>
                <a:gd name="connsiteX4" fmla="*/ 2800564 w 3524977"/>
                <a:gd name="connsiteY4" fmla="*/ 528747 h 4077621"/>
                <a:gd name="connsiteX5" fmla="*/ 3539913 w 3524977"/>
                <a:gd name="connsiteY5" fmla="*/ 0 h 4077621"/>
                <a:gd name="connsiteX6" fmla="*/ 3247161 w 3524977"/>
                <a:gd name="connsiteY6" fmla="*/ 958913 h 4077621"/>
                <a:gd name="connsiteX7" fmla="*/ 3114227 w 3524977"/>
                <a:gd name="connsiteY7" fmla="*/ 830461 h 4077621"/>
                <a:gd name="connsiteX8" fmla="*/ 2564570 w 3524977"/>
                <a:gd name="connsiteY8" fmla="*/ 1623580 h 4077621"/>
                <a:gd name="connsiteX9" fmla="*/ 1755020 w 3524977"/>
                <a:gd name="connsiteY9" fmla="*/ 2200123 h 4077621"/>
                <a:gd name="connsiteX10" fmla="*/ 1053012 w 3524977"/>
                <a:gd name="connsiteY10" fmla="*/ 3381588 h 4077621"/>
                <a:gd name="connsiteX11" fmla="*/ 26885 w 3524977"/>
                <a:gd name="connsiteY11" fmla="*/ 4082102 h 4077621"/>
                <a:gd name="connsiteX12" fmla="*/ 0 w 3524977"/>
                <a:gd name="connsiteY12" fmla="*/ 3753503 h 4077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24977" h="4077621">
                  <a:moveTo>
                    <a:pt x="921572" y="3124683"/>
                  </a:moveTo>
                  <a:lnTo>
                    <a:pt x="1620593" y="1947699"/>
                  </a:lnTo>
                  <a:lnTo>
                    <a:pt x="2449560" y="1357714"/>
                  </a:lnTo>
                  <a:lnTo>
                    <a:pt x="2934991" y="658693"/>
                  </a:lnTo>
                  <a:lnTo>
                    <a:pt x="2800564" y="528747"/>
                  </a:lnTo>
                  <a:lnTo>
                    <a:pt x="3539913" y="0"/>
                  </a:lnTo>
                  <a:lnTo>
                    <a:pt x="3247161" y="958913"/>
                  </a:lnTo>
                  <a:lnTo>
                    <a:pt x="3114227" y="830461"/>
                  </a:lnTo>
                  <a:lnTo>
                    <a:pt x="2564570" y="1623580"/>
                  </a:lnTo>
                  <a:lnTo>
                    <a:pt x="1755020" y="2200123"/>
                  </a:lnTo>
                  <a:lnTo>
                    <a:pt x="1053012" y="3381588"/>
                  </a:lnTo>
                  <a:lnTo>
                    <a:pt x="26885" y="4082102"/>
                  </a:lnTo>
                  <a:lnTo>
                    <a:pt x="0" y="3753503"/>
                  </a:lnTo>
                  <a:close/>
                </a:path>
              </a:pathLst>
            </a:custGeom>
            <a:solidFill>
              <a:srgbClr val="C700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7" name="任意多边形: 形状 9826"/>
            <p:cNvSpPr/>
            <p:nvPr/>
          </p:nvSpPr>
          <p:spPr>
            <a:xfrm>
              <a:off x="4145908" y="3841686"/>
              <a:ext cx="477963" cy="582517"/>
            </a:xfrm>
            <a:custGeom>
              <a:avLst/>
              <a:gdLst>
                <a:gd name="connsiteX0" fmla="*/ 0 w 477962"/>
                <a:gd name="connsiteY0" fmla="*/ 0 h 582517"/>
                <a:gd name="connsiteX1" fmla="*/ 26885 w 477962"/>
                <a:gd name="connsiteY1" fmla="*/ 327106 h 582517"/>
                <a:gd name="connsiteX2" fmla="*/ 491406 w 477962"/>
                <a:gd name="connsiteY2" fmla="*/ 595960 h 582517"/>
                <a:gd name="connsiteX3" fmla="*/ 464520 w 477962"/>
                <a:gd name="connsiteY3" fmla="*/ 267360 h 58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7962" h="582517">
                  <a:moveTo>
                    <a:pt x="0" y="0"/>
                  </a:moveTo>
                  <a:lnTo>
                    <a:pt x="26885" y="327106"/>
                  </a:lnTo>
                  <a:lnTo>
                    <a:pt x="491406" y="595960"/>
                  </a:lnTo>
                  <a:lnTo>
                    <a:pt x="464520" y="267360"/>
                  </a:lnTo>
                  <a:close/>
                </a:path>
              </a:pathLst>
            </a:custGeom>
            <a:solidFill>
              <a:srgbClr val="E60B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8" name="任意多边形: 形状 9827"/>
            <p:cNvSpPr/>
            <p:nvPr/>
          </p:nvSpPr>
          <p:spPr>
            <a:xfrm>
              <a:off x="4145908" y="3212866"/>
              <a:ext cx="1374144" cy="881244"/>
            </a:xfrm>
            <a:custGeom>
              <a:avLst/>
              <a:gdLst>
                <a:gd name="connsiteX0" fmla="*/ 0 w 1374143"/>
                <a:gd name="connsiteY0" fmla="*/ 628820 h 881244"/>
                <a:gd name="connsiteX1" fmla="*/ 921572 w 1374143"/>
                <a:gd name="connsiteY1" fmla="*/ 0 h 881244"/>
                <a:gd name="connsiteX2" fmla="*/ 1386093 w 1374143"/>
                <a:gd name="connsiteY2" fmla="*/ 267360 h 881244"/>
                <a:gd name="connsiteX3" fmla="*/ 464520 w 1374143"/>
                <a:gd name="connsiteY3" fmla="*/ 896180 h 88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4143" h="881244">
                  <a:moveTo>
                    <a:pt x="0" y="628820"/>
                  </a:moveTo>
                  <a:lnTo>
                    <a:pt x="921572" y="0"/>
                  </a:lnTo>
                  <a:lnTo>
                    <a:pt x="1386093" y="267360"/>
                  </a:lnTo>
                  <a:lnTo>
                    <a:pt x="464520" y="896180"/>
                  </a:lnTo>
                  <a:close/>
                </a:path>
              </a:pathLst>
            </a:custGeom>
            <a:solidFill>
              <a:srgbClr val="FF0C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9" name="任意多边形: 形状 9828"/>
            <p:cNvSpPr/>
            <p:nvPr/>
          </p:nvSpPr>
          <p:spPr>
            <a:xfrm>
              <a:off x="5067480" y="2034389"/>
              <a:ext cx="1150098" cy="1433889"/>
            </a:xfrm>
            <a:custGeom>
              <a:avLst/>
              <a:gdLst>
                <a:gd name="connsiteX0" fmla="*/ 699021 w 1150098"/>
                <a:gd name="connsiteY0" fmla="*/ 0 h 1433888"/>
                <a:gd name="connsiteX1" fmla="*/ 0 w 1150098"/>
                <a:gd name="connsiteY1" fmla="*/ 1178478 h 1433888"/>
                <a:gd name="connsiteX2" fmla="*/ 464520 w 1150098"/>
                <a:gd name="connsiteY2" fmla="*/ 1445838 h 1433888"/>
                <a:gd name="connsiteX3" fmla="*/ 1163541 w 1150098"/>
                <a:gd name="connsiteY3" fmla="*/ 268854 h 1433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0098" h="1433888">
                  <a:moveTo>
                    <a:pt x="699021" y="0"/>
                  </a:moveTo>
                  <a:lnTo>
                    <a:pt x="0" y="1178478"/>
                  </a:lnTo>
                  <a:lnTo>
                    <a:pt x="464520" y="1445838"/>
                  </a:lnTo>
                  <a:lnTo>
                    <a:pt x="1163541" y="268854"/>
                  </a:lnTo>
                  <a:close/>
                </a:path>
              </a:pathLst>
            </a:custGeom>
            <a:solidFill>
              <a:srgbClr val="E60B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0" name="任意多边形: 形状 9829"/>
            <p:cNvSpPr/>
            <p:nvPr/>
          </p:nvSpPr>
          <p:spPr>
            <a:xfrm>
              <a:off x="5766501" y="1444404"/>
              <a:ext cx="1284526" cy="851372"/>
            </a:xfrm>
            <a:custGeom>
              <a:avLst/>
              <a:gdLst>
                <a:gd name="connsiteX0" fmla="*/ 0 w 1284525"/>
                <a:gd name="connsiteY0" fmla="*/ 589985 h 851371"/>
                <a:gd name="connsiteX1" fmla="*/ 828967 w 1284525"/>
                <a:gd name="connsiteY1" fmla="*/ 0 h 851371"/>
                <a:gd name="connsiteX2" fmla="*/ 1293487 w 1284525"/>
                <a:gd name="connsiteY2" fmla="*/ 268854 h 851371"/>
                <a:gd name="connsiteX3" fmla="*/ 464520 w 1284525"/>
                <a:gd name="connsiteY3" fmla="*/ 858840 h 851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4525" h="851371">
                  <a:moveTo>
                    <a:pt x="0" y="589985"/>
                  </a:moveTo>
                  <a:lnTo>
                    <a:pt x="828967" y="0"/>
                  </a:lnTo>
                  <a:lnTo>
                    <a:pt x="1293487" y="268854"/>
                  </a:lnTo>
                  <a:lnTo>
                    <a:pt x="464520" y="858840"/>
                  </a:lnTo>
                  <a:close/>
                </a:path>
              </a:pathLst>
            </a:custGeom>
            <a:solidFill>
              <a:srgbClr val="FF0C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1" name="任意多边形: 形状 9830"/>
            <p:cNvSpPr/>
            <p:nvPr/>
          </p:nvSpPr>
          <p:spPr>
            <a:xfrm>
              <a:off x="6595468" y="745383"/>
              <a:ext cx="940990" cy="955926"/>
            </a:xfrm>
            <a:custGeom>
              <a:avLst/>
              <a:gdLst>
                <a:gd name="connsiteX0" fmla="*/ 483938 w 940989"/>
                <a:gd name="connsiteY0" fmla="*/ 0 h 955925"/>
                <a:gd name="connsiteX1" fmla="*/ 0 w 940989"/>
                <a:gd name="connsiteY1" fmla="*/ 699021 h 955925"/>
                <a:gd name="connsiteX2" fmla="*/ 464520 w 940989"/>
                <a:gd name="connsiteY2" fmla="*/ 967875 h 955925"/>
                <a:gd name="connsiteX3" fmla="*/ 949951 w 940989"/>
                <a:gd name="connsiteY3" fmla="*/ 268854 h 955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0989" h="955925">
                  <a:moveTo>
                    <a:pt x="483938" y="0"/>
                  </a:moveTo>
                  <a:lnTo>
                    <a:pt x="0" y="699021"/>
                  </a:lnTo>
                  <a:lnTo>
                    <a:pt x="464520" y="967875"/>
                  </a:lnTo>
                  <a:lnTo>
                    <a:pt x="949951" y="268854"/>
                  </a:lnTo>
                  <a:close/>
                </a:path>
              </a:pathLst>
            </a:custGeom>
            <a:solidFill>
              <a:srgbClr val="E60B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2" name="任意多边形: 形状 9831"/>
            <p:cNvSpPr/>
            <p:nvPr/>
          </p:nvSpPr>
          <p:spPr>
            <a:xfrm>
              <a:off x="6946472" y="616930"/>
              <a:ext cx="597454" cy="388345"/>
            </a:xfrm>
            <a:custGeom>
              <a:avLst/>
              <a:gdLst>
                <a:gd name="connsiteX0" fmla="*/ 132934 w 597453"/>
                <a:gd name="connsiteY0" fmla="*/ 128453 h 388344"/>
                <a:gd name="connsiteX1" fmla="*/ 0 w 597453"/>
                <a:gd name="connsiteY1" fmla="*/ 0 h 388344"/>
                <a:gd name="connsiteX2" fmla="*/ 464520 w 597453"/>
                <a:gd name="connsiteY2" fmla="*/ 267361 h 388344"/>
                <a:gd name="connsiteX3" fmla="*/ 598947 w 597453"/>
                <a:gd name="connsiteY3" fmla="*/ 397307 h 38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3" h="388344">
                  <a:moveTo>
                    <a:pt x="132934" y="128453"/>
                  </a:moveTo>
                  <a:lnTo>
                    <a:pt x="0" y="0"/>
                  </a:lnTo>
                  <a:lnTo>
                    <a:pt x="464520" y="267361"/>
                  </a:lnTo>
                  <a:lnTo>
                    <a:pt x="598947" y="397307"/>
                  </a:lnTo>
                  <a:close/>
                </a:path>
              </a:pathLst>
            </a:custGeom>
            <a:solidFill>
              <a:srgbClr val="E60B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3" name="任意多边形: 形状 9832"/>
            <p:cNvSpPr/>
            <p:nvPr/>
          </p:nvSpPr>
          <p:spPr>
            <a:xfrm>
              <a:off x="6946472" y="86690"/>
              <a:ext cx="1194907" cy="791626"/>
            </a:xfrm>
            <a:custGeom>
              <a:avLst/>
              <a:gdLst>
                <a:gd name="connsiteX0" fmla="*/ 739349 w 1194907"/>
                <a:gd name="connsiteY0" fmla="*/ 0 h 791626"/>
                <a:gd name="connsiteX1" fmla="*/ 0 w 1194907"/>
                <a:gd name="connsiteY1" fmla="*/ 530240 h 791626"/>
                <a:gd name="connsiteX2" fmla="*/ 464520 w 1194907"/>
                <a:gd name="connsiteY2" fmla="*/ 797601 h 791626"/>
                <a:gd name="connsiteX3" fmla="*/ 1203869 w 1194907"/>
                <a:gd name="connsiteY3" fmla="*/ 268854 h 791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4907" h="791626">
                  <a:moveTo>
                    <a:pt x="739349" y="0"/>
                  </a:moveTo>
                  <a:lnTo>
                    <a:pt x="0" y="530240"/>
                  </a:lnTo>
                  <a:lnTo>
                    <a:pt x="464520" y="797601"/>
                  </a:lnTo>
                  <a:lnTo>
                    <a:pt x="1203869" y="268854"/>
                  </a:lnTo>
                  <a:close/>
                </a:path>
              </a:pathLst>
            </a:custGeom>
            <a:solidFill>
              <a:srgbClr val="FF0C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4" name="任意多边形: 形状 9833"/>
            <p:cNvSpPr/>
            <p:nvPr/>
          </p:nvSpPr>
          <p:spPr>
            <a:xfrm>
              <a:off x="8230229" y="5410727"/>
              <a:ext cx="44809" cy="104554"/>
            </a:xfrm>
            <a:custGeom>
              <a:avLst/>
              <a:gdLst>
                <a:gd name="connsiteX0" fmla="*/ 53046 w 44809"/>
                <a:gd name="connsiteY0" fmla="*/ 108311 h 104554"/>
                <a:gd name="connsiteX1" fmla="*/ 33629 w 44809"/>
                <a:gd name="connsiteY1" fmla="*/ 111298 h 104554"/>
                <a:gd name="connsiteX2" fmla="*/ 769 w 44809"/>
                <a:gd name="connsiteY2" fmla="*/ 26161 h 104554"/>
                <a:gd name="connsiteX3" fmla="*/ 14212 w 44809"/>
                <a:gd name="connsiteY3" fmla="*/ 769 h 104554"/>
                <a:gd name="connsiteX4" fmla="*/ 14212 w 44809"/>
                <a:gd name="connsiteY4" fmla="*/ 769 h 104554"/>
                <a:gd name="connsiteX5" fmla="*/ 39603 w 44809"/>
                <a:gd name="connsiteY5" fmla="*/ 14212 h 104554"/>
                <a:gd name="connsiteX6" fmla="*/ 53046 w 44809"/>
                <a:gd name="connsiteY6" fmla="*/ 108311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09" h="104554">
                  <a:moveTo>
                    <a:pt x="53046" y="108311"/>
                  </a:moveTo>
                  <a:lnTo>
                    <a:pt x="33629" y="111298"/>
                  </a:lnTo>
                  <a:lnTo>
                    <a:pt x="769" y="26161"/>
                  </a:lnTo>
                  <a:cubicBezTo>
                    <a:pt x="-2218" y="15705"/>
                    <a:pt x="3756" y="3756"/>
                    <a:pt x="14212" y="769"/>
                  </a:cubicBezTo>
                  <a:lnTo>
                    <a:pt x="14212" y="769"/>
                  </a:lnTo>
                  <a:cubicBezTo>
                    <a:pt x="24667" y="-2218"/>
                    <a:pt x="36616" y="3756"/>
                    <a:pt x="39603" y="14212"/>
                  </a:cubicBezTo>
                  <a:lnTo>
                    <a:pt x="53046" y="108311"/>
                  </a:ln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5" name="任意多边形: 形状 9834"/>
            <p:cNvSpPr/>
            <p:nvPr/>
          </p:nvSpPr>
          <p:spPr>
            <a:xfrm>
              <a:off x="8263467" y="5514868"/>
              <a:ext cx="29873" cy="74682"/>
            </a:xfrm>
            <a:custGeom>
              <a:avLst/>
              <a:gdLst>
                <a:gd name="connsiteX0" fmla="*/ 18314 w 29872"/>
                <a:gd name="connsiteY0" fmla="*/ 2676 h 74681"/>
                <a:gd name="connsiteX1" fmla="*/ 391 w 29872"/>
                <a:gd name="connsiteY1" fmla="*/ 11638 h 74681"/>
                <a:gd name="connsiteX2" fmla="*/ 1884 w 29872"/>
                <a:gd name="connsiteY2" fmla="*/ 40017 h 74681"/>
                <a:gd name="connsiteX3" fmla="*/ 6365 w 29872"/>
                <a:gd name="connsiteY3" fmla="*/ 51966 h 74681"/>
                <a:gd name="connsiteX4" fmla="*/ 12340 w 29872"/>
                <a:gd name="connsiteY4" fmla="*/ 68396 h 74681"/>
                <a:gd name="connsiteX5" fmla="*/ 15327 w 29872"/>
                <a:gd name="connsiteY5" fmla="*/ 72877 h 74681"/>
                <a:gd name="connsiteX6" fmla="*/ 18314 w 29872"/>
                <a:gd name="connsiteY6" fmla="*/ 75864 h 74681"/>
                <a:gd name="connsiteX7" fmla="*/ 37731 w 29872"/>
                <a:gd name="connsiteY7" fmla="*/ 80345 h 74681"/>
                <a:gd name="connsiteX8" fmla="*/ 36238 w 29872"/>
                <a:gd name="connsiteY8" fmla="*/ 62421 h 74681"/>
                <a:gd name="connsiteX9" fmla="*/ 33251 w 29872"/>
                <a:gd name="connsiteY9" fmla="*/ 45991 h 74681"/>
                <a:gd name="connsiteX10" fmla="*/ 31757 w 29872"/>
                <a:gd name="connsiteY10" fmla="*/ 25080 h 74681"/>
                <a:gd name="connsiteX11" fmla="*/ 27276 w 29872"/>
                <a:gd name="connsiteY11" fmla="*/ 14625 h 74681"/>
                <a:gd name="connsiteX12" fmla="*/ 18314 w 29872"/>
                <a:gd name="connsiteY12" fmla="*/ 2676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72" h="74681">
                  <a:moveTo>
                    <a:pt x="18314" y="2676"/>
                  </a:moveTo>
                  <a:cubicBezTo>
                    <a:pt x="12340" y="-3298"/>
                    <a:pt x="-2596" y="1182"/>
                    <a:pt x="391" y="11638"/>
                  </a:cubicBezTo>
                  <a:cubicBezTo>
                    <a:pt x="3378" y="20599"/>
                    <a:pt x="391" y="31055"/>
                    <a:pt x="1884" y="40017"/>
                  </a:cubicBezTo>
                  <a:cubicBezTo>
                    <a:pt x="3378" y="44498"/>
                    <a:pt x="4872" y="47485"/>
                    <a:pt x="6365" y="51966"/>
                  </a:cubicBezTo>
                  <a:cubicBezTo>
                    <a:pt x="7859" y="57940"/>
                    <a:pt x="10846" y="62421"/>
                    <a:pt x="12340" y="68396"/>
                  </a:cubicBezTo>
                  <a:cubicBezTo>
                    <a:pt x="12340" y="69890"/>
                    <a:pt x="13833" y="71383"/>
                    <a:pt x="15327" y="72877"/>
                  </a:cubicBezTo>
                  <a:cubicBezTo>
                    <a:pt x="16821" y="74370"/>
                    <a:pt x="18314" y="74370"/>
                    <a:pt x="18314" y="75864"/>
                  </a:cubicBezTo>
                  <a:cubicBezTo>
                    <a:pt x="21301" y="77358"/>
                    <a:pt x="33251" y="83332"/>
                    <a:pt x="37731" y="80345"/>
                  </a:cubicBezTo>
                  <a:cubicBezTo>
                    <a:pt x="40719" y="80345"/>
                    <a:pt x="37731" y="68396"/>
                    <a:pt x="36238" y="62421"/>
                  </a:cubicBezTo>
                  <a:cubicBezTo>
                    <a:pt x="34744" y="54953"/>
                    <a:pt x="34744" y="51966"/>
                    <a:pt x="33251" y="45991"/>
                  </a:cubicBezTo>
                  <a:cubicBezTo>
                    <a:pt x="31757" y="40017"/>
                    <a:pt x="33251" y="32549"/>
                    <a:pt x="31757" y="25080"/>
                  </a:cubicBezTo>
                  <a:cubicBezTo>
                    <a:pt x="30263" y="22093"/>
                    <a:pt x="28770" y="17612"/>
                    <a:pt x="27276" y="14625"/>
                  </a:cubicBezTo>
                  <a:cubicBezTo>
                    <a:pt x="24289" y="10144"/>
                    <a:pt x="21301" y="5663"/>
                    <a:pt x="18314" y="2676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6" name="任意多边形: 形状 9835"/>
            <p:cNvSpPr/>
            <p:nvPr/>
          </p:nvSpPr>
          <p:spPr>
            <a:xfrm>
              <a:off x="8278794" y="5516050"/>
              <a:ext cx="29873" cy="44809"/>
            </a:xfrm>
            <a:custGeom>
              <a:avLst/>
              <a:gdLst>
                <a:gd name="connsiteX0" fmla="*/ 29873 w 29872"/>
                <a:gd name="connsiteY0" fmla="*/ 32860 h 44809"/>
                <a:gd name="connsiteX1" fmla="*/ 38835 w 29872"/>
                <a:gd name="connsiteY1" fmla="*/ 49290 h 44809"/>
                <a:gd name="connsiteX2" fmla="*/ 32860 w 29872"/>
                <a:gd name="connsiteY2" fmla="*/ 50783 h 44809"/>
                <a:gd name="connsiteX3" fmla="*/ 28379 w 29872"/>
                <a:gd name="connsiteY3" fmla="*/ 44809 h 44809"/>
                <a:gd name="connsiteX4" fmla="*/ 25392 w 29872"/>
                <a:gd name="connsiteY4" fmla="*/ 38835 h 44809"/>
                <a:gd name="connsiteX5" fmla="*/ 11949 w 29872"/>
                <a:gd name="connsiteY5" fmla="*/ 28379 h 44809"/>
                <a:gd name="connsiteX6" fmla="*/ 2987 w 29872"/>
                <a:gd name="connsiteY6" fmla="*/ 14936 h 44809"/>
                <a:gd name="connsiteX7" fmla="*/ 0 w 29872"/>
                <a:gd name="connsiteY7" fmla="*/ 5974 h 44809"/>
                <a:gd name="connsiteX8" fmla="*/ 5974 w 29872"/>
                <a:gd name="connsiteY8" fmla="*/ 0 h 44809"/>
                <a:gd name="connsiteX9" fmla="*/ 22405 w 29872"/>
                <a:gd name="connsiteY9" fmla="*/ 16430 h 44809"/>
                <a:gd name="connsiteX10" fmla="*/ 28379 w 29872"/>
                <a:gd name="connsiteY10" fmla="*/ 22405 h 44809"/>
                <a:gd name="connsiteX11" fmla="*/ 29873 w 29872"/>
                <a:gd name="connsiteY11" fmla="*/ 32860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872" h="44809">
                  <a:moveTo>
                    <a:pt x="29873" y="32860"/>
                  </a:moveTo>
                  <a:cubicBezTo>
                    <a:pt x="32860" y="38835"/>
                    <a:pt x="35847" y="43315"/>
                    <a:pt x="38835" y="49290"/>
                  </a:cubicBezTo>
                  <a:cubicBezTo>
                    <a:pt x="37341" y="52277"/>
                    <a:pt x="34354" y="52277"/>
                    <a:pt x="32860" y="50783"/>
                  </a:cubicBezTo>
                  <a:cubicBezTo>
                    <a:pt x="29873" y="49290"/>
                    <a:pt x="28379" y="47796"/>
                    <a:pt x="28379" y="44809"/>
                  </a:cubicBezTo>
                  <a:cubicBezTo>
                    <a:pt x="26886" y="43315"/>
                    <a:pt x="26886" y="40328"/>
                    <a:pt x="25392" y="38835"/>
                  </a:cubicBezTo>
                  <a:cubicBezTo>
                    <a:pt x="22405" y="34353"/>
                    <a:pt x="16430" y="32860"/>
                    <a:pt x="11949" y="28379"/>
                  </a:cubicBezTo>
                  <a:cubicBezTo>
                    <a:pt x="7468" y="25392"/>
                    <a:pt x="5974" y="19417"/>
                    <a:pt x="2987" y="14936"/>
                  </a:cubicBezTo>
                  <a:cubicBezTo>
                    <a:pt x="1494" y="11949"/>
                    <a:pt x="0" y="8962"/>
                    <a:pt x="0" y="5974"/>
                  </a:cubicBezTo>
                  <a:cubicBezTo>
                    <a:pt x="0" y="2987"/>
                    <a:pt x="2987" y="2987"/>
                    <a:pt x="5974" y="0"/>
                  </a:cubicBezTo>
                  <a:cubicBezTo>
                    <a:pt x="13443" y="7468"/>
                    <a:pt x="16430" y="10456"/>
                    <a:pt x="22405" y="16430"/>
                  </a:cubicBezTo>
                  <a:cubicBezTo>
                    <a:pt x="23898" y="17924"/>
                    <a:pt x="26886" y="20911"/>
                    <a:pt x="28379" y="22405"/>
                  </a:cubicBezTo>
                  <a:cubicBezTo>
                    <a:pt x="26886" y="26885"/>
                    <a:pt x="28379" y="29873"/>
                    <a:pt x="29873" y="32860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7" name="任意多边形: 形状 9836"/>
            <p:cNvSpPr/>
            <p:nvPr/>
          </p:nvSpPr>
          <p:spPr>
            <a:xfrm>
              <a:off x="8218858" y="5287334"/>
              <a:ext cx="44809" cy="134427"/>
            </a:xfrm>
            <a:custGeom>
              <a:avLst/>
              <a:gdLst>
                <a:gd name="connsiteX0" fmla="*/ 50974 w 44809"/>
                <a:gd name="connsiteY0" fmla="*/ 139098 h 134427"/>
                <a:gd name="connsiteX1" fmla="*/ 39025 w 44809"/>
                <a:gd name="connsiteY1" fmla="*/ 16620 h 134427"/>
                <a:gd name="connsiteX2" fmla="*/ 16620 w 44809"/>
                <a:gd name="connsiteY2" fmla="*/ 190 h 134427"/>
                <a:gd name="connsiteX3" fmla="*/ 16620 w 44809"/>
                <a:gd name="connsiteY3" fmla="*/ 190 h 134427"/>
                <a:gd name="connsiteX4" fmla="*/ 190 w 44809"/>
                <a:gd name="connsiteY4" fmla="*/ 22595 h 134427"/>
                <a:gd name="connsiteX5" fmla="*/ 15127 w 44809"/>
                <a:gd name="connsiteY5" fmla="*/ 110719 h 134427"/>
                <a:gd name="connsiteX6" fmla="*/ 16620 w 44809"/>
                <a:gd name="connsiteY6" fmla="*/ 115200 h 134427"/>
                <a:gd name="connsiteX7" fmla="*/ 50974 w 44809"/>
                <a:gd name="connsiteY7" fmla="*/ 139098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809" h="134427">
                  <a:moveTo>
                    <a:pt x="50974" y="139098"/>
                  </a:moveTo>
                  <a:lnTo>
                    <a:pt x="39025" y="16620"/>
                  </a:lnTo>
                  <a:cubicBezTo>
                    <a:pt x="37531" y="6165"/>
                    <a:pt x="27076" y="-1303"/>
                    <a:pt x="16620" y="190"/>
                  </a:cubicBezTo>
                  <a:lnTo>
                    <a:pt x="16620" y="190"/>
                  </a:lnTo>
                  <a:cubicBezTo>
                    <a:pt x="6165" y="1684"/>
                    <a:pt x="-1303" y="12139"/>
                    <a:pt x="190" y="22595"/>
                  </a:cubicBezTo>
                  <a:lnTo>
                    <a:pt x="15127" y="110719"/>
                  </a:lnTo>
                  <a:cubicBezTo>
                    <a:pt x="15127" y="112213"/>
                    <a:pt x="15127" y="113706"/>
                    <a:pt x="16620" y="115200"/>
                  </a:cubicBezTo>
                  <a:cubicBezTo>
                    <a:pt x="28569" y="113706"/>
                    <a:pt x="40519" y="151047"/>
                    <a:pt x="50974" y="139098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8" name="任意多边形: 形状 9837"/>
            <p:cNvSpPr/>
            <p:nvPr/>
          </p:nvSpPr>
          <p:spPr>
            <a:xfrm>
              <a:off x="8198138" y="5477216"/>
              <a:ext cx="74682" cy="283791"/>
            </a:xfrm>
            <a:custGeom>
              <a:avLst/>
              <a:gdLst>
                <a:gd name="connsiteX0" fmla="*/ 80656 w 74681"/>
                <a:gd name="connsiteY0" fmla="*/ 249437 h 283790"/>
                <a:gd name="connsiteX1" fmla="*/ 79162 w 74681"/>
                <a:gd name="connsiteY1" fmla="*/ 262880 h 283790"/>
                <a:gd name="connsiteX2" fmla="*/ 79162 w 74681"/>
                <a:gd name="connsiteY2" fmla="*/ 264373 h 283790"/>
                <a:gd name="connsiteX3" fmla="*/ 79162 w 74681"/>
                <a:gd name="connsiteY3" fmla="*/ 264373 h 283790"/>
                <a:gd name="connsiteX4" fmla="*/ 79162 w 74681"/>
                <a:gd name="connsiteY4" fmla="*/ 264373 h 283790"/>
                <a:gd name="connsiteX5" fmla="*/ 55265 w 74681"/>
                <a:gd name="connsiteY5" fmla="*/ 285284 h 283790"/>
                <a:gd name="connsiteX6" fmla="*/ 55265 w 74681"/>
                <a:gd name="connsiteY6" fmla="*/ 285284 h 283790"/>
                <a:gd name="connsiteX7" fmla="*/ 0 w 74681"/>
                <a:gd name="connsiteY7" fmla="*/ 59745 h 283790"/>
                <a:gd name="connsiteX8" fmla="*/ 4481 w 74681"/>
                <a:gd name="connsiteY8" fmla="*/ 43315 h 283790"/>
                <a:gd name="connsiteX9" fmla="*/ 2987 w 74681"/>
                <a:gd name="connsiteY9" fmla="*/ 40328 h 283790"/>
                <a:gd name="connsiteX10" fmla="*/ 10456 w 74681"/>
                <a:gd name="connsiteY10" fmla="*/ 22405 h 283790"/>
                <a:gd name="connsiteX11" fmla="*/ 53771 w 74681"/>
                <a:gd name="connsiteY11" fmla="*/ 0 h 283790"/>
                <a:gd name="connsiteX12" fmla="*/ 53771 w 74681"/>
                <a:gd name="connsiteY12" fmla="*/ 0 h 283790"/>
                <a:gd name="connsiteX13" fmla="*/ 61239 w 74681"/>
                <a:gd name="connsiteY13" fmla="*/ 16430 h 283790"/>
                <a:gd name="connsiteX14" fmla="*/ 80656 w 74681"/>
                <a:gd name="connsiteY14" fmla="*/ 249437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4681" h="283790">
                  <a:moveTo>
                    <a:pt x="80656" y="249437"/>
                  </a:moveTo>
                  <a:lnTo>
                    <a:pt x="79162" y="262880"/>
                  </a:lnTo>
                  <a:cubicBezTo>
                    <a:pt x="79162" y="262880"/>
                    <a:pt x="79162" y="262880"/>
                    <a:pt x="79162" y="264373"/>
                  </a:cubicBezTo>
                  <a:lnTo>
                    <a:pt x="79162" y="264373"/>
                  </a:lnTo>
                  <a:lnTo>
                    <a:pt x="79162" y="264373"/>
                  </a:lnTo>
                  <a:cubicBezTo>
                    <a:pt x="77669" y="276322"/>
                    <a:pt x="67214" y="285284"/>
                    <a:pt x="55265" y="285284"/>
                  </a:cubicBezTo>
                  <a:lnTo>
                    <a:pt x="55265" y="285284"/>
                  </a:lnTo>
                  <a:cubicBezTo>
                    <a:pt x="7468" y="289765"/>
                    <a:pt x="0" y="59745"/>
                    <a:pt x="0" y="59745"/>
                  </a:cubicBezTo>
                  <a:lnTo>
                    <a:pt x="4481" y="43315"/>
                  </a:lnTo>
                  <a:cubicBezTo>
                    <a:pt x="4481" y="41822"/>
                    <a:pt x="2987" y="41822"/>
                    <a:pt x="2987" y="40328"/>
                  </a:cubicBezTo>
                  <a:cubicBezTo>
                    <a:pt x="1494" y="34354"/>
                    <a:pt x="4481" y="28379"/>
                    <a:pt x="10456" y="22405"/>
                  </a:cubicBezTo>
                  <a:cubicBezTo>
                    <a:pt x="25392" y="8962"/>
                    <a:pt x="53771" y="0"/>
                    <a:pt x="53771" y="0"/>
                  </a:cubicBezTo>
                  <a:lnTo>
                    <a:pt x="53771" y="0"/>
                  </a:lnTo>
                  <a:cubicBezTo>
                    <a:pt x="56758" y="4481"/>
                    <a:pt x="58252" y="10456"/>
                    <a:pt x="61239" y="16430"/>
                  </a:cubicBezTo>
                  <a:cubicBezTo>
                    <a:pt x="85137" y="77669"/>
                    <a:pt x="83644" y="162806"/>
                    <a:pt x="80656" y="249437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9" name="任意多边形: 形状 9838"/>
            <p:cNvSpPr/>
            <p:nvPr/>
          </p:nvSpPr>
          <p:spPr>
            <a:xfrm>
              <a:off x="8244440" y="5976090"/>
              <a:ext cx="14936" cy="14936"/>
            </a:xfrm>
            <a:custGeom>
              <a:avLst/>
              <a:gdLst>
                <a:gd name="connsiteX0" fmla="*/ 11949 w 0"/>
                <a:gd name="connsiteY0" fmla="*/ 0 h 14936"/>
                <a:gd name="connsiteX1" fmla="*/ 0 w 0"/>
                <a:gd name="connsiteY1" fmla="*/ 1494 h 14936"/>
                <a:gd name="connsiteX2" fmla="*/ 0 w 0"/>
                <a:gd name="connsiteY2" fmla="*/ 16430 h 14936"/>
                <a:gd name="connsiteX3" fmla="*/ 11949 w 0"/>
                <a:gd name="connsiteY3" fmla="*/ 8962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936">
                  <a:moveTo>
                    <a:pt x="11949" y="0"/>
                  </a:moveTo>
                  <a:lnTo>
                    <a:pt x="0" y="1494"/>
                  </a:lnTo>
                  <a:lnTo>
                    <a:pt x="0" y="16430"/>
                  </a:lnTo>
                  <a:lnTo>
                    <a:pt x="11949" y="8962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0" name="任意多边形: 形状 9839"/>
            <p:cNvSpPr/>
            <p:nvPr/>
          </p:nvSpPr>
          <p:spPr>
            <a:xfrm>
              <a:off x="8232431" y="5927675"/>
              <a:ext cx="44809" cy="59745"/>
            </a:xfrm>
            <a:custGeom>
              <a:avLst/>
              <a:gdLst>
                <a:gd name="connsiteX0" fmla="*/ 23959 w 44809"/>
                <a:gd name="connsiteY0" fmla="*/ 54390 h 59745"/>
                <a:gd name="connsiteX1" fmla="*/ 34414 w 44809"/>
                <a:gd name="connsiteY1" fmla="*/ 61858 h 59745"/>
                <a:gd name="connsiteX2" fmla="*/ 46363 w 44809"/>
                <a:gd name="connsiteY2" fmla="*/ 64845 h 59745"/>
                <a:gd name="connsiteX3" fmla="*/ 50844 w 44809"/>
                <a:gd name="connsiteY3" fmla="*/ 61858 h 59745"/>
                <a:gd name="connsiteX4" fmla="*/ 50844 w 44809"/>
                <a:gd name="connsiteY4" fmla="*/ 55883 h 59745"/>
                <a:gd name="connsiteX5" fmla="*/ 44869 w 44809"/>
                <a:gd name="connsiteY5" fmla="*/ 43934 h 59745"/>
                <a:gd name="connsiteX6" fmla="*/ 29933 w 44809"/>
                <a:gd name="connsiteY6" fmla="*/ 6593 h 59745"/>
                <a:gd name="connsiteX7" fmla="*/ 28440 w 44809"/>
                <a:gd name="connsiteY7" fmla="*/ 3606 h 59745"/>
                <a:gd name="connsiteX8" fmla="*/ 25452 w 44809"/>
                <a:gd name="connsiteY8" fmla="*/ 2112 h 59745"/>
                <a:gd name="connsiteX9" fmla="*/ 7528 w 44809"/>
                <a:gd name="connsiteY9" fmla="*/ 619 h 59745"/>
                <a:gd name="connsiteX10" fmla="*/ 6035 w 44809"/>
                <a:gd name="connsiteY10" fmla="*/ 2112 h 59745"/>
                <a:gd name="connsiteX11" fmla="*/ 4541 w 44809"/>
                <a:gd name="connsiteY11" fmla="*/ 3606 h 59745"/>
                <a:gd name="connsiteX12" fmla="*/ 1554 w 44809"/>
                <a:gd name="connsiteY12" fmla="*/ 11074 h 59745"/>
                <a:gd name="connsiteX13" fmla="*/ 4541 w 44809"/>
                <a:gd name="connsiteY13" fmla="*/ 37960 h 59745"/>
                <a:gd name="connsiteX14" fmla="*/ 12010 w 44809"/>
                <a:gd name="connsiteY14" fmla="*/ 45428 h 59745"/>
                <a:gd name="connsiteX15" fmla="*/ 23959 w 44809"/>
                <a:gd name="connsiteY15" fmla="*/ 54390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59745">
                  <a:moveTo>
                    <a:pt x="23959" y="54390"/>
                  </a:moveTo>
                  <a:cubicBezTo>
                    <a:pt x="26946" y="57377"/>
                    <a:pt x="29933" y="60364"/>
                    <a:pt x="34414" y="61858"/>
                  </a:cubicBezTo>
                  <a:cubicBezTo>
                    <a:pt x="37401" y="63351"/>
                    <a:pt x="41882" y="64845"/>
                    <a:pt x="46363" y="64845"/>
                  </a:cubicBezTo>
                  <a:cubicBezTo>
                    <a:pt x="47857" y="64845"/>
                    <a:pt x="50844" y="63351"/>
                    <a:pt x="50844" y="61858"/>
                  </a:cubicBezTo>
                  <a:cubicBezTo>
                    <a:pt x="52338" y="60364"/>
                    <a:pt x="52338" y="57377"/>
                    <a:pt x="50844" y="55883"/>
                  </a:cubicBezTo>
                  <a:cubicBezTo>
                    <a:pt x="49351" y="51402"/>
                    <a:pt x="47857" y="46921"/>
                    <a:pt x="44869" y="43934"/>
                  </a:cubicBezTo>
                  <a:cubicBezTo>
                    <a:pt x="38895" y="31985"/>
                    <a:pt x="32920" y="20036"/>
                    <a:pt x="29933" y="6593"/>
                  </a:cubicBezTo>
                  <a:cubicBezTo>
                    <a:pt x="29933" y="5099"/>
                    <a:pt x="29933" y="5099"/>
                    <a:pt x="28440" y="3606"/>
                  </a:cubicBezTo>
                  <a:cubicBezTo>
                    <a:pt x="28440" y="3606"/>
                    <a:pt x="26946" y="2112"/>
                    <a:pt x="25452" y="2112"/>
                  </a:cubicBezTo>
                  <a:cubicBezTo>
                    <a:pt x="19478" y="619"/>
                    <a:pt x="13503" y="-875"/>
                    <a:pt x="7528" y="619"/>
                  </a:cubicBezTo>
                  <a:cubicBezTo>
                    <a:pt x="7528" y="619"/>
                    <a:pt x="6035" y="619"/>
                    <a:pt x="6035" y="2112"/>
                  </a:cubicBezTo>
                  <a:cubicBezTo>
                    <a:pt x="6035" y="2112"/>
                    <a:pt x="6035" y="3606"/>
                    <a:pt x="4541" y="3606"/>
                  </a:cubicBezTo>
                  <a:cubicBezTo>
                    <a:pt x="4541" y="6593"/>
                    <a:pt x="3048" y="8087"/>
                    <a:pt x="1554" y="11074"/>
                  </a:cubicBezTo>
                  <a:cubicBezTo>
                    <a:pt x="-1433" y="20036"/>
                    <a:pt x="60" y="30491"/>
                    <a:pt x="4541" y="37960"/>
                  </a:cubicBezTo>
                  <a:cubicBezTo>
                    <a:pt x="6035" y="40947"/>
                    <a:pt x="9022" y="43934"/>
                    <a:pt x="12010" y="45428"/>
                  </a:cubicBezTo>
                  <a:cubicBezTo>
                    <a:pt x="17984" y="48415"/>
                    <a:pt x="20972" y="51402"/>
                    <a:pt x="23959" y="54390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1" name="任意多边形: 形状 9840"/>
            <p:cNvSpPr/>
            <p:nvPr/>
          </p:nvSpPr>
          <p:spPr>
            <a:xfrm>
              <a:off x="8227074" y="5926800"/>
              <a:ext cx="74682" cy="74682"/>
            </a:xfrm>
            <a:custGeom>
              <a:avLst/>
              <a:gdLst>
                <a:gd name="connsiteX0" fmla="*/ 6910 w 74681"/>
                <a:gd name="connsiteY0" fmla="*/ 56758 h 74681"/>
                <a:gd name="connsiteX1" fmla="*/ 17366 w 74681"/>
                <a:gd name="connsiteY1" fmla="*/ 64226 h 74681"/>
                <a:gd name="connsiteX2" fmla="*/ 15872 w 74681"/>
                <a:gd name="connsiteY2" fmla="*/ 49290 h 74681"/>
                <a:gd name="connsiteX3" fmla="*/ 30808 w 74681"/>
                <a:gd name="connsiteY3" fmla="*/ 71694 h 74681"/>
                <a:gd name="connsiteX4" fmla="*/ 66656 w 74681"/>
                <a:gd name="connsiteY4" fmla="*/ 88124 h 74681"/>
                <a:gd name="connsiteX5" fmla="*/ 77111 w 74681"/>
                <a:gd name="connsiteY5" fmla="*/ 86631 h 74681"/>
                <a:gd name="connsiteX6" fmla="*/ 78605 w 74681"/>
                <a:gd name="connsiteY6" fmla="*/ 85137 h 74681"/>
                <a:gd name="connsiteX7" fmla="*/ 78605 w 74681"/>
                <a:gd name="connsiteY7" fmla="*/ 82150 h 74681"/>
                <a:gd name="connsiteX8" fmla="*/ 48732 w 74681"/>
                <a:gd name="connsiteY8" fmla="*/ 32860 h 74681"/>
                <a:gd name="connsiteX9" fmla="*/ 53213 w 74681"/>
                <a:gd name="connsiteY9" fmla="*/ 47796 h 74681"/>
                <a:gd name="connsiteX10" fmla="*/ 51719 w 74681"/>
                <a:gd name="connsiteY10" fmla="*/ 53771 h 74681"/>
                <a:gd name="connsiteX11" fmla="*/ 45745 w 74681"/>
                <a:gd name="connsiteY11" fmla="*/ 53771 h 74681"/>
                <a:gd name="connsiteX12" fmla="*/ 33796 w 74681"/>
                <a:gd name="connsiteY12" fmla="*/ 46303 h 74681"/>
                <a:gd name="connsiteX13" fmla="*/ 24834 w 74681"/>
                <a:gd name="connsiteY13" fmla="*/ 38835 h 74681"/>
                <a:gd name="connsiteX14" fmla="*/ 17366 w 74681"/>
                <a:gd name="connsiteY14" fmla="*/ 31366 h 74681"/>
                <a:gd name="connsiteX15" fmla="*/ 9898 w 74681"/>
                <a:gd name="connsiteY15" fmla="*/ 0 h 74681"/>
                <a:gd name="connsiteX16" fmla="*/ 936 w 74681"/>
                <a:gd name="connsiteY16" fmla="*/ 26885 h 74681"/>
                <a:gd name="connsiteX17" fmla="*/ 3923 w 74681"/>
                <a:gd name="connsiteY17" fmla="*/ 37341 h 74681"/>
                <a:gd name="connsiteX18" fmla="*/ 6910 w 74681"/>
                <a:gd name="connsiteY18" fmla="*/ 56758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4681" h="74681">
                  <a:moveTo>
                    <a:pt x="6910" y="56758"/>
                  </a:moveTo>
                  <a:cubicBezTo>
                    <a:pt x="11391" y="59745"/>
                    <a:pt x="14378" y="61239"/>
                    <a:pt x="17366" y="64226"/>
                  </a:cubicBezTo>
                  <a:cubicBezTo>
                    <a:pt x="17366" y="59745"/>
                    <a:pt x="17366" y="55265"/>
                    <a:pt x="15872" y="49290"/>
                  </a:cubicBezTo>
                  <a:cubicBezTo>
                    <a:pt x="23340" y="55265"/>
                    <a:pt x="24834" y="64226"/>
                    <a:pt x="30808" y="71694"/>
                  </a:cubicBezTo>
                  <a:cubicBezTo>
                    <a:pt x="38277" y="83644"/>
                    <a:pt x="53213" y="88124"/>
                    <a:pt x="66656" y="88124"/>
                  </a:cubicBezTo>
                  <a:cubicBezTo>
                    <a:pt x="69643" y="88124"/>
                    <a:pt x="74124" y="88124"/>
                    <a:pt x="77111" y="86631"/>
                  </a:cubicBezTo>
                  <a:cubicBezTo>
                    <a:pt x="77111" y="86631"/>
                    <a:pt x="78605" y="85137"/>
                    <a:pt x="78605" y="85137"/>
                  </a:cubicBezTo>
                  <a:cubicBezTo>
                    <a:pt x="78605" y="83644"/>
                    <a:pt x="78605" y="83644"/>
                    <a:pt x="78605" y="82150"/>
                  </a:cubicBezTo>
                  <a:cubicBezTo>
                    <a:pt x="69643" y="65720"/>
                    <a:pt x="59187" y="49290"/>
                    <a:pt x="48732" y="32860"/>
                  </a:cubicBezTo>
                  <a:cubicBezTo>
                    <a:pt x="51719" y="37341"/>
                    <a:pt x="53213" y="43315"/>
                    <a:pt x="53213" y="47796"/>
                  </a:cubicBezTo>
                  <a:cubicBezTo>
                    <a:pt x="53213" y="49290"/>
                    <a:pt x="53213" y="52277"/>
                    <a:pt x="51719" y="53771"/>
                  </a:cubicBezTo>
                  <a:cubicBezTo>
                    <a:pt x="50226" y="55265"/>
                    <a:pt x="48732" y="55265"/>
                    <a:pt x="45745" y="53771"/>
                  </a:cubicBezTo>
                  <a:cubicBezTo>
                    <a:pt x="41264" y="52277"/>
                    <a:pt x="38277" y="49290"/>
                    <a:pt x="33796" y="46303"/>
                  </a:cubicBezTo>
                  <a:cubicBezTo>
                    <a:pt x="30808" y="43315"/>
                    <a:pt x="27821" y="41822"/>
                    <a:pt x="24834" y="38835"/>
                  </a:cubicBezTo>
                  <a:cubicBezTo>
                    <a:pt x="21847" y="37341"/>
                    <a:pt x="20353" y="34353"/>
                    <a:pt x="17366" y="31366"/>
                  </a:cubicBezTo>
                  <a:cubicBezTo>
                    <a:pt x="9898" y="22405"/>
                    <a:pt x="8404" y="10456"/>
                    <a:pt x="9898" y="0"/>
                  </a:cubicBezTo>
                  <a:cubicBezTo>
                    <a:pt x="2429" y="5974"/>
                    <a:pt x="-2052" y="17924"/>
                    <a:pt x="936" y="26885"/>
                  </a:cubicBezTo>
                  <a:cubicBezTo>
                    <a:pt x="2429" y="29873"/>
                    <a:pt x="2429" y="34353"/>
                    <a:pt x="3923" y="37341"/>
                  </a:cubicBezTo>
                  <a:cubicBezTo>
                    <a:pt x="6910" y="47796"/>
                    <a:pt x="6910" y="52277"/>
                    <a:pt x="6910" y="56758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2" name="任意多边形: 形状 9841"/>
            <p:cNvSpPr/>
            <p:nvPr/>
          </p:nvSpPr>
          <p:spPr>
            <a:xfrm>
              <a:off x="8219795" y="5719185"/>
              <a:ext cx="44809" cy="224045"/>
            </a:xfrm>
            <a:custGeom>
              <a:avLst/>
              <a:gdLst>
                <a:gd name="connsiteX0" fmla="*/ 54518 w 44809"/>
                <a:gd name="connsiteY0" fmla="*/ 215083 h 224045"/>
                <a:gd name="connsiteX1" fmla="*/ 9709 w 44809"/>
                <a:gd name="connsiteY1" fmla="*/ 210603 h 224045"/>
                <a:gd name="connsiteX2" fmla="*/ 8215 w 44809"/>
                <a:gd name="connsiteY2" fmla="*/ 23898 h 224045"/>
                <a:gd name="connsiteX3" fmla="*/ 32113 w 44809"/>
                <a:gd name="connsiteY3" fmla="*/ 0 h 224045"/>
                <a:gd name="connsiteX4" fmla="*/ 32113 w 44809"/>
                <a:gd name="connsiteY4" fmla="*/ 0 h 224045"/>
                <a:gd name="connsiteX5" fmla="*/ 56011 w 44809"/>
                <a:gd name="connsiteY5" fmla="*/ 23898 h 224045"/>
                <a:gd name="connsiteX6" fmla="*/ 54518 w 44809"/>
                <a:gd name="connsiteY6" fmla="*/ 215083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09" h="224045">
                  <a:moveTo>
                    <a:pt x="54518" y="215083"/>
                  </a:moveTo>
                  <a:cubicBezTo>
                    <a:pt x="48543" y="231513"/>
                    <a:pt x="11202" y="224045"/>
                    <a:pt x="9709" y="210603"/>
                  </a:cubicBezTo>
                  <a:cubicBezTo>
                    <a:pt x="-3734" y="138908"/>
                    <a:pt x="-2241" y="74682"/>
                    <a:pt x="8215" y="23898"/>
                  </a:cubicBezTo>
                  <a:cubicBezTo>
                    <a:pt x="8215" y="10455"/>
                    <a:pt x="18671" y="0"/>
                    <a:pt x="32113" y="0"/>
                  </a:cubicBezTo>
                  <a:lnTo>
                    <a:pt x="32113" y="0"/>
                  </a:lnTo>
                  <a:cubicBezTo>
                    <a:pt x="45556" y="0"/>
                    <a:pt x="56011" y="10455"/>
                    <a:pt x="56011" y="23898"/>
                  </a:cubicBezTo>
                  <a:lnTo>
                    <a:pt x="54518" y="215083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3" name="任意多边形: 形状 9842"/>
            <p:cNvSpPr/>
            <p:nvPr/>
          </p:nvSpPr>
          <p:spPr>
            <a:xfrm>
              <a:off x="8138280" y="5496058"/>
              <a:ext cx="74682" cy="298727"/>
            </a:xfrm>
            <a:custGeom>
              <a:avLst/>
              <a:gdLst>
                <a:gd name="connsiteX0" fmla="*/ 71806 w 74681"/>
                <a:gd name="connsiteY0" fmla="*/ 270922 h 298726"/>
                <a:gd name="connsiteX1" fmla="*/ 68819 w 74681"/>
                <a:gd name="connsiteY1" fmla="*/ 284365 h 298726"/>
                <a:gd name="connsiteX2" fmla="*/ 68819 w 74681"/>
                <a:gd name="connsiteY2" fmla="*/ 285859 h 298726"/>
                <a:gd name="connsiteX3" fmla="*/ 68819 w 74681"/>
                <a:gd name="connsiteY3" fmla="*/ 285859 h 298726"/>
                <a:gd name="connsiteX4" fmla="*/ 68819 w 74681"/>
                <a:gd name="connsiteY4" fmla="*/ 285859 h 298726"/>
                <a:gd name="connsiteX5" fmla="*/ 43427 w 74681"/>
                <a:gd name="connsiteY5" fmla="*/ 305276 h 298726"/>
                <a:gd name="connsiteX6" fmla="*/ 43427 w 74681"/>
                <a:gd name="connsiteY6" fmla="*/ 305276 h 298726"/>
                <a:gd name="connsiteX7" fmla="*/ 112 w 74681"/>
                <a:gd name="connsiteY7" fmla="*/ 76750 h 298726"/>
                <a:gd name="connsiteX8" fmla="*/ 56870 w 74681"/>
                <a:gd name="connsiteY8" fmla="*/ 19992 h 298726"/>
                <a:gd name="connsiteX9" fmla="*/ 56870 w 74681"/>
                <a:gd name="connsiteY9" fmla="*/ 19992 h 298726"/>
                <a:gd name="connsiteX10" fmla="*/ 62845 w 74681"/>
                <a:gd name="connsiteY10" fmla="*/ 36422 h 298726"/>
                <a:gd name="connsiteX11" fmla="*/ 71806 w 74681"/>
                <a:gd name="connsiteY11" fmla="*/ 270922 h 29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298726">
                  <a:moveTo>
                    <a:pt x="71806" y="270922"/>
                  </a:moveTo>
                  <a:lnTo>
                    <a:pt x="68819" y="284365"/>
                  </a:lnTo>
                  <a:cubicBezTo>
                    <a:pt x="68819" y="284365"/>
                    <a:pt x="68819" y="284365"/>
                    <a:pt x="68819" y="285859"/>
                  </a:cubicBezTo>
                  <a:lnTo>
                    <a:pt x="68819" y="285859"/>
                  </a:lnTo>
                  <a:lnTo>
                    <a:pt x="68819" y="285859"/>
                  </a:lnTo>
                  <a:cubicBezTo>
                    <a:pt x="65832" y="297808"/>
                    <a:pt x="55376" y="306770"/>
                    <a:pt x="43427" y="305276"/>
                  </a:cubicBezTo>
                  <a:lnTo>
                    <a:pt x="43427" y="305276"/>
                  </a:lnTo>
                  <a:cubicBezTo>
                    <a:pt x="-4369" y="306770"/>
                    <a:pt x="112" y="76750"/>
                    <a:pt x="112" y="76750"/>
                  </a:cubicBezTo>
                  <a:cubicBezTo>
                    <a:pt x="9074" y="-27805"/>
                    <a:pt x="32972" y="-2413"/>
                    <a:pt x="56870" y="19992"/>
                  </a:cubicBezTo>
                  <a:lnTo>
                    <a:pt x="56870" y="19992"/>
                  </a:lnTo>
                  <a:cubicBezTo>
                    <a:pt x="59857" y="25966"/>
                    <a:pt x="61351" y="30448"/>
                    <a:pt x="62845" y="36422"/>
                  </a:cubicBezTo>
                  <a:cubicBezTo>
                    <a:pt x="83755" y="99154"/>
                    <a:pt x="77781" y="184292"/>
                    <a:pt x="71806" y="270922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4" name="任意多边形: 形状 9843"/>
            <p:cNvSpPr/>
            <p:nvPr/>
          </p:nvSpPr>
          <p:spPr>
            <a:xfrm>
              <a:off x="8162290" y="6016418"/>
              <a:ext cx="14936" cy="14936"/>
            </a:xfrm>
            <a:custGeom>
              <a:avLst/>
              <a:gdLst>
                <a:gd name="connsiteX0" fmla="*/ 11949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13443 h 0"/>
                <a:gd name="connsiteX3" fmla="*/ 10455 w 0"/>
                <a:gd name="connsiteY3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949" y="0"/>
                  </a:moveTo>
                  <a:lnTo>
                    <a:pt x="0" y="0"/>
                  </a:lnTo>
                  <a:lnTo>
                    <a:pt x="0" y="13443"/>
                  </a:lnTo>
                  <a:lnTo>
                    <a:pt x="10455" y="7468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5" name="任意多边形: 形状 9844"/>
            <p:cNvSpPr/>
            <p:nvPr/>
          </p:nvSpPr>
          <p:spPr>
            <a:xfrm>
              <a:off x="8153610" y="5965850"/>
              <a:ext cx="44809" cy="59745"/>
            </a:xfrm>
            <a:custGeom>
              <a:avLst/>
              <a:gdLst>
                <a:gd name="connsiteX0" fmla="*/ 20629 w 44809"/>
                <a:gd name="connsiteY0" fmla="*/ 55049 h 59745"/>
                <a:gd name="connsiteX1" fmla="*/ 29591 w 44809"/>
                <a:gd name="connsiteY1" fmla="*/ 62517 h 59745"/>
                <a:gd name="connsiteX2" fmla="*/ 41540 w 44809"/>
                <a:gd name="connsiteY2" fmla="*/ 65504 h 59745"/>
                <a:gd name="connsiteX3" fmla="*/ 47515 w 44809"/>
                <a:gd name="connsiteY3" fmla="*/ 62517 h 59745"/>
                <a:gd name="connsiteX4" fmla="*/ 49008 w 44809"/>
                <a:gd name="connsiteY4" fmla="*/ 56542 h 59745"/>
                <a:gd name="connsiteX5" fmla="*/ 44527 w 44809"/>
                <a:gd name="connsiteY5" fmla="*/ 44594 h 59745"/>
                <a:gd name="connsiteX6" fmla="*/ 31085 w 44809"/>
                <a:gd name="connsiteY6" fmla="*/ 7253 h 59745"/>
                <a:gd name="connsiteX7" fmla="*/ 29591 w 44809"/>
                <a:gd name="connsiteY7" fmla="*/ 4265 h 59745"/>
                <a:gd name="connsiteX8" fmla="*/ 26604 w 44809"/>
                <a:gd name="connsiteY8" fmla="*/ 2772 h 59745"/>
                <a:gd name="connsiteX9" fmla="*/ 8680 w 44809"/>
                <a:gd name="connsiteY9" fmla="*/ 1278 h 59745"/>
                <a:gd name="connsiteX10" fmla="*/ 7186 w 44809"/>
                <a:gd name="connsiteY10" fmla="*/ 2772 h 59745"/>
                <a:gd name="connsiteX11" fmla="*/ 5693 w 44809"/>
                <a:gd name="connsiteY11" fmla="*/ 4265 h 59745"/>
                <a:gd name="connsiteX12" fmla="*/ 2706 w 44809"/>
                <a:gd name="connsiteY12" fmla="*/ 11733 h 59745"/>
                <a:gd name="connsiteX13" fmla="*/ 4199 w 44809"/>
                <a:gd name="connsiteY13" fmla="*/ 38619 h 59745"/>
                <a:gd name="connsiteX14" fmla="*/ 11667 w 44809"/>
                <a:gd name="connsiteY14" fmla="*/ 47581 h 59745"/>
                <a:gd name="connsiteX15" fmla="*/ 20629 w 44809"/>
                <a:gd name="connsiteY15" fmla="*/ 55049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59745">
                  <a:moveTo>
                    <a:pt x="20629" y="55049"/>
                  </a:moveTo>
                  <a:cubicBezTo>
                    <a:pt x="23617" y="58036"/>
                    <a:pt x="26604" y="61024"/>
                    <a:pt x="29591" y="62517"/>
                  </a:cubicBezTo>
                  <a:cubicBezTo>
                    <a:pt x="32578" y="64011"/>
                    <a:pt x="37059" y="65504"/>
                    <a:pt x="41540" y="65504"/>
                  </a:cubicBezTo>
                  <a:cubicBezTo>
                    <a:pt x="43034" y="65504"/>
                    <a:pt x="46021" y="64011"/>
                    <a:pt x="47515" y="62517"/>
                  </a:cubicBezTo>
                  <a:cubicBezTo>
                    <a:pt x="49008" y="61024"/>
                    <a:pt x="49008" y="58036"/>
                    <a:pt x="49008" y="56542"/>
                  </a:cubicBezTo>
                  <a:cubicBezTo>
                    <a:pt x="49008" y="52062"/>
                    <a:pt x="46021" y="47581"/>
                    <a:pt x="44527" y="44594"/>
                  </a:cubicBezTo>
                  <a:cubicBezTo>
                    <a:pt x="38553" y="32644"/>
                    <a:pt x="34072" y="19202"/>
                    <a:pt x="31085" y="7253"/>
                  </a:cubicBezTo>
                  <a:cubicBezTo>
                    <a:pt x="31085" y="5759"/>
                    <a:pt x="31085" y="5759"/>
                    <a:pt x="29591" y="4265"/>
                  </a:cubicBezTo>
                  <a:cubicBezTo>
                    <a:pt x="29591" y="4265"/>
                    <a:pt x="28097" y="2772"/>
                    <a:pt x="26604" y="2772"/>
                  </a:cubicBezTo>
                  <a:cubicBezTo>
                    <a:pt x="20629" y="1278"/>
                    <a:pt x="14655" y="-1709"/>
                    <a:pt x="8680" y="1278"/>
                  </a:cubicBezTo>
                  <a:cubicBezTo>
                    <a:pt x="8680" y="1278"/>
                    <a:pt x="7186" y="1278"/>
                    <a:pt x="7186" y="2772"/>
                  </a:cubicBezTo>
                  <a:cubicBezTo>
                    <a:pt x="7186" y="2772"/>
                    <a:pt x="7186" y="4265"/>
                    <a:pt x="5693" y="4265"/>
                  </a:cubicBezTo>
                  <a:cubicBezTo>
                    <a:pt x="4199" y="7253"/>
                    <a:pt x="2706" y="8746"/>
                    <a:pt x="2706" y="11733"/>
                  </a:cubicBezTo>
                  <a:cubicBezTo>
                    <a:pt x="-1775" y="20695"/>
                    <a:pt x="-282" y="31151"/>
                    <a:pt x="4199" y="38619"/>
                  </a:cubicBezTo>
                  <a:cubicBezTo>
                    <a:pt x="5693" y="41606"/>
                    <a:pt x="8680" y="44594"/>
                    <a:pt x="11667" y="47581"/>
                  </a:cubicBezTo>
                  <a:cubicBezTo>
                    <a:pt x="14655" y="49074"/>
                    <a:pt x="17642" y="52062"/>
                    <a:pt x="20629" y="55049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6" name="任意多边形: 形状 9845"/>
            <p:cNvSpPr/>
            <p:nvPr/>
          </p:nvSpPr>
          <p:spPr>
            <a:xfrm>
              <a:off x="8150055" y="5967128"/>
              <a:ext cx="59745" cy="89618"/>
            </a:xfrm>
            <a:custGeom>
              <a:avLst/>
              <a:gdLst>
                <a:gd name="connsiteX0" fmla="*/ 1780 w 59745"/>
                <a:gd name="connsiteY0" fmla="*/ 53770 h 89618"/>
                <a:gd name="connsiteX1" fmla="*/ 12235 w 59745"/>
                <a:gd name="connsiteY1" fmla="*/ 62732 h 89618"/>
                <a:gd name="connsiteX2" fmla="*/ 12235 w 59745"/>
                <a:gd name="connsiteY2" fmla="*/ 47796 h 89618"/>
                <a:gd name="connsiteX3" fmla="*/ 25678 w 59745"/>
                <a:gd name="connsiteY3" fmla="*/ 71694 h 89618"/>
                <a:gd name="connsiteX4" fmla="*/ 61525 w 59745"/>
                <a:gd name="connsiteY4" fmla="*/ 89618 h 89618"/>
                <a:gd name="connsiteX5" fmla="*/ 71981 w 59745"/>
                <a:gd name="connsiteY5" fmla="*/ 88124 h 89618"/>
                <a:gd name="connsiteX6" fmla="*/ 73475 w 59745"/>
                <a:gd name="connsiteY6" fmla="*/ 86631 h 89618"/>
                <a:gd name="connsiteX7" fmla="*/ 73475 w 59745"/>
                <a:gd name="connsiteY7" fmla="*/ 83643 h 89618"/>
                <a:gd name="connsiteX8" fmla="*/ 45095 w 59745"/>
                <a:gd name="connsiteY8" fmla="*/ 32860 h 89618"/>
                <a:gd name="connsiteX9" fmla="*/ 49576 w 59745"/>
                <a:gd name="connsiteY9" fmla="*/ 49290 h 89618"/>
                <a:gd name="connsiteX10" fmla="*/ 48083 w 59745"/>
                <a:gd name="connsiteY10" fmla="*/ 55264 h 89618"/>
                <a:gd name="connsiteX11" fmla="*/ 42108 w 59745"/>
                <a:gd name="connsiteY11" fmla="*/ 55264 h 89618"/>
                <a:gd name="connsiteX12" fmla="*/ 30159 w 59745"/>
                <a:gd name="connsiteY12" fmla="*/ 47796 h 89618"/>
                <a:gd name="connsiteX13" fmla="*/ 22691 w 59745"/>
                <a:gd name="connsiteY13" fmla="*/ 40328 h 89618"/>
                <a:gd name="connsiteX14" fmla="*/ 15222 w 59745"/>
                <a:gd name="connsiteY14" fmla="*/ 32860 h 89618"/>
                <a:gd name="connsiteX15" fmla="*/ 10742 w 59745"/>
                <a:gd name="connsiteY15" fmla="*/ 0 h 89618"/>
                <a:gd name="connsiteX16" fmla="*/ 286 w 59745"/>
                <a:gd name="connsiteY16" fmla="*/ 26885 h 89618"/>
                <a:gd name="connsiteX17" fmla="*/ 3274 w 59745"/>
                <a:gd name="connsiteY17" fmla="*/ 37341 h 89618"/>
                <a:gd name="connsiteX18" fmla="*/ 1780 w 59745"/>
                <a:gd name="connsiteY18" fmla="*/ 53770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9745" h="89618">
                  <a:moveTo>
                    <a:pt x="1780" y="53770"/>
                  </a:moveTo>
                  <a:cubicBezTo>
                    <a:pt x="4767" y="56758"/>
                    <a:pt x="9248" y="59745"/>
                    <a:pt x="12235" y="62732"/>
                  </a:cubicBezTo>
                  <a:cubicBezTo>
                    <a:pt x="12235" y="58252"/>
                    <a:pt x="12235" y="53770"/>
                    <a:pt x="12235" y="47796"/>
                  </a:cubicBezTo>
                  <a:cubicBezTo>
                    <a:pt x="19704" y="53770"/>
                    <a:pt x="21197" y="64226"/>
                    <a:pt x="25678" y="71694"/>
                  </a:cubicBezTo>
                  <a:cubicBezTo>
                    <a:pt x="33146" y="83643"/>
                    <a:pt x="48083" y="88124"/>
                    <a:pt x="61525" y="89618"/>
                  </a:cubicBezTo>
                  <a:cubicBezTo>
                    <a:pt x="64513" y="89618"/>
                    <a:pt x="68993" y="89618"/>
                    <a:pt x="71981" y="88124"/>
                  </a:cubicBezTo>
                  <a:cubicBezTo>
                    <a:pt x="71981" y="88124"/>
                    <a:pt x="73475" y="86631"/>
                    <a:pt x="73475" y="86631"/>
                  </a:cubicBezTo>
                  <a:cubicBezTo>
                    <a:pt x="73475" y="85137"/>
                    <a:pt x="73475" y="85137"/>
                    <a:pt x="73475" y="83643"/>
                  </a:cubicBezTo>
                  <a:cubicBezTo>
                    <a:pt x="64513" y="67214"/>
                    <a:pt x="55551" y="49290"/>
                    <a:pt x="45095" y="32860"/>
                  </a:cubicBezTo>
                  <a:cubicBezTo>
                    <a:pt x="46589" y="37341"/>
                    <a:pt x="48083" y="43315"/>
                    <a:pt x="49576" y="49290"/>
                  </a:cubicBezTo>
                  <a:cubicBezTo>
                    <a:pt x="49576" y="50783"/>
                    <a:pt x="49576" y="53770"/>
                    <a:pt x="48083" y="55264"/>
                  </a:cubicBezTo>
                  <a:cubicBezTo>
                    <a:pt x="46589" y="56758"/>
                    <a:pt x="45095" y="56758"/>
                    <a:pt x="42108" y="55264"/>
                  </a:cubicBezTo>
                  <a:cubicBezTo>
                    <a:pt x="37627" y="53770"/>
                    <a:pt x="34640" y="50783"/>
                    <a:pt x="30159" y="47796"/>
                  </a:cubicBezTo>
                  <a:cubicBezTo>
                    <a:pt x="27172" y="44809"/>
                    <a:pt x="24184" y="43315"/>
                    <a:pt x="22691" y="40328"/>
                  </a:cubicBezTo>
                  <a:cubicBezTo>
                    <a:pt x="19704" y="38834"/>
                    <a:pt x="18210" y="35847"/>
                    <a:pt x="15222" y="32860"/>
                  </a:cubicBezTo>
                  <a:cubicBezTo>
                    <a:pt x="7754" y="23898"/>
                    <a:pt x="7754" y="11949"/>
                    <a:pt x="10742" y="0"/>
                  </a:cubicBezTo>
                  <a:cubicBezTo>
                    <a:pt x="3274" y="5974"/>
                    <a:pt x="-1207" y="16430"/>
                    <a:pt x="286" y="26885"/>
                  </a:cubicBezTo>
                  <a:cubicBezTo>
                    <a:pt x="286" y="29873"/>
                    <a:pt x="1780" y="34353"/>
                    <a:pt x="3274" y="37341"/>
                  </a:cubicBezTo>
                  <a:cubicBezTo>
                    <a:pt x="1780" y="44809"/>
                    <a:pt x="1780" y="49290"/>
                    <a:pt x="1780" y="53770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7" name="任意多边形: 形状 9846"/>
            <p:cNvSpPr/>
            <p:nvPr/>
          </p:nvSpPr>
          <p:spPr>
            <a:xfrm>
              <a:off x="8143523" y="5757877"/>
              <a:ext cx="59745" cy="224045"/>
            </a:xfrm>
            <a:custGeom>
              <a:avLst/>
              <a:gdLst>
                <a:gd name="connsiteX0" fmla="*/ 50134 w 59745"/>
                <a:gd name="connsiteY0" fmla="*/ 216719 h 224045"/>
                <a:gd name="connsiteX1" fmla="*/ 5325 w 59745"/>
                <a:gd name="connsiteY1" fmla="*/ 209251 h 224045"/>
                <a:gd name="connsiteX2" fmla="*/ 14286 w 59745"/>
                <a:gd name="connsiteY2" fmla="*/ 22547 h 224045"/>
                <a:gd name="connsiteX3" fmla="*/ 39678 w 59745"/>
                <a:gd name="connsiteY3" fmla="*/ 142 h 224045"/>
                <a:gd name="connsiteX4" fmla="*/ 39678 w 59745"/>
                <a:gd name="connsiteY4" fmla="*/ 142 h 224045"/>
                <a:gd name="connsiteX5" fmla="*/ 62083 w 59745"/>
                <a:gd name="connsiteY5" fmla="*/ 25534 h 224045"/>
                <a:gd name="connsiteX6" fmla="*/ 50134 w 59745"/>
                <a:gd name="connsiteY6" fmla="*/ 216719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745" h="224045">
                  <a:moveTo>
                    <a:pt x="50134" y="216719"/>
                  </a:moveTo>
                  <a:cubicBezTo>
                    <a:pt x="42666" y="233149"/>
                    <a:pt x="6818" y="222694"/>
                    <a:pt x="5325" y="209251"/>
                  </a:cubicBezTo>
                  <a:cubicBezTo>
                    <a:pt x="-5131" y="137556"/>
                    <a:pt x="844" y="71837"/>
                    <a:pt x="14286" y="22547"/>
                  </a:cubicBezTo>
                  <a:cubicBezTo>
                    <a:pt x="14286" y="9104"/>
                    <a:pt x="26236" y="-1351"/>
                    <a:pt x="39678" y="142"/>
                  </a:cubicBezTo>
                  <a:lnTo>
                    <a:pt x="39678" y="142"/>
                  </a:lnTo>
                  <a:cubicBezTo>
                    <a:pt x="53121" y="142"/>
                    <a:pt x="63576" y="12091"/>
                    <a:pt x="62083" y="25534"/>
                  </a:cubicBezTo>
                  <a:lnTo>
                    <a:pt x="50134" y="216719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8" name="任意多边形: 形状 9847"/>
            <p:cNvSpPr/>
            <p:nvPr/>
          </p:nvSpPr>
          <p:spPr>
            <a:xfrm>
              <a:off x="8117481" y="5283043"/>
              <a:ext cx="149363" cy="224045"/>
            </a:xfrm>
            <a:custGeom>
              <a:avLst/>
              <a:gdLst>
                <a:gd name="connsiteX0" fmla="*/ 144882 w 149363"/>
                <a:gd name="connsiteY0" fmla="*/ 129946 h 224045"/>
                <a:gd name="connsiteX1" fmla="*/ 137414 w 149363"/>
                <a:gd name="connsiteY1" fmla="*/ 137415 h 224045"/>
                <a:gd name="connsiteX2" fmla="*/ 134427 w 149363"/>
                <a:gd name="connsiteY2" fmla="*/ 149363 h 224045"/>
                <a:gd name="connsiteX3" fmla="*/ 134427 w 149363"/>
                <a:gd name="connsiteY3" fmla="*/ 180730 h 224045"/>
                <a:gd name="connsiteX4" fmla="*/ 134427 w 149363"/>
                <a:gd name="connsiteY4" fmla="*/ 183717 h 224045"/>
                <a:gd name="connsiteX5" fmla="*/ 131440 w 149363"/>
                <a:gd name="connsiteY5" fmla="*/ 207615 h 224045"/>
                <a:gd name="connsiteX6" fmla="*/ 125465 w 149363"/>
                <a:gd name="connsiteY6" fmla="*/ 215083 h 224045"/>
                <a:gd name="connsiteX7" fmla="*/ 64226 w 149363"/>
                <a:gd name="connsiteY7" fmla="*/ 233007 h 224045"/>
                <a:gd name="connsiteX8" fmla="*/ 43315 w 149363"/>
                <a:gd name="connsiteY8" fmla="*/ 219564 h 224045"/>
                <a:gd name="connsiteX9" fmla="*/ 40328 w 149363"/>
                <a:gd name="connsiteY9" fmla="*/ 207615 h 224045"/>
                <a:gd name="connsiteX10" fmla="*/ 40328 w 149363"/>
                <a:gd name="connsiteY10" fmla="*/ 200147 h 224045"/>
                <a:gd name="connsiteX11" fmla="*/ 40328 w 149363"/>
                <a:gd name="connsiteY11" fmla="*/ 197160 h 224045"/>
                <a:gd name="connsiteX12" fmla="*/ 20911 w 149363"/>
                <a:gd name="connsiteY12" fmla="*/ 143389 h 224045"/>
                <a:gd name="connsiteX13" fmla="*/ 19417 w 149363"/>
                <a:gd name="connsiteY13" fmla="*/ 141895 h 224045"/>
                <a:gd name="connsiteX14" fmla="*/ 0 w 149363"/>
                <a:gd name="connsiteY14" fmla="*/ 92606 h 224045"/>
                <a:gd name="connsiteX15" fmla="*/ 73188 w 149363"/>
                <a:gd name="connsiteY15" fmla="*/ 8962 h 224045"/>
                <a:gd name="connsiteX16" fmla="*/ 103061 w 149363"/>
                <a:gd name="connsiteY16" fmla="*/ 0 h 224045"/>
                <a:gd name="connsiteX17" fmla="*/ 131440 w 149363"/>
                <a:gd name="connsiteY17" fmla="*/ 13443 h 224045"/>
                <a:gd name="connsiteX18" fmla="*/ 137414 w 149363"/>
                <a:gd name="connsiteY18" fmla="*/ 52277 h 224045"/>
                <a:gd name="connsiteX19" fmla="*/ 153844 w 149363"/>
                <a:gd name="connsiteY19" fmla="*/ 85137 h 224045"/>
                <a:gd name="connsiteX20" fmla="*/ 144882 w 149363"/>
                <a:gd name="connsiteY20" fmla="*/ 129946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9363" h="224045">
                  <a:moveTo>
                    <a:pt x="144882" y="129946"/>
                  </a:moveTo>
                  <a:cubicBezTo>
                    <a:pt x="141895" y="132933"/>
                    <a:pt x="138908" y="134427"/>
                    <a:pt x="137414" y="137415"/>
                  </a:cubicBezTo>
                  <a:cubicBezTo>
                    <a:pt x="135921" y="140402"/>
                    <a:pt x="134427" y="144883"/>
                    <a:pt x="134427" y="149363"/>
                  </a:cubicBezTo>
                  <a:cubicBezTo>
                    <a:pt x="134427" y="159819"/>
                    <a:pt x="134427" y="170274"/>
                    <a:pt x="134427" y="180730"/>
                  </a:cubicBezTo>
                  <a:cubicBezTo>
                    <a:pt x="134427" y="182224"/>
                    <a:pt x="134427" y="182224"/>
                    <a:pt x="134427" y="183717"/>
                  </a:cubicBezTo>
                  <a:cubicBezTo>
                    <a:pt x="134427" y="192679"/>
                    <a:pt x="134427" y="200147"/>
                    <a:pt x="131440" y="207615"/>
                  </a:cubicBezTo>
                  <a:cubicBezTo>
                    <a:pt x="129946" y="210603"/>
                    <a:pt x="128453" y="213590"/>
                    <a:pt x="125465" y="215083"/>
                  </a:cubicBezTo>
                  <a:cubicBezTo>
                    <a:pt x="109035" y="230020"/>
                    <a:pt x="86631" y="237488"/>
                    <a:pt x="64226" y="233007"/>
                  </a:cubicBezTo>
                  <a:cubicBezTo>
                    <a:pt x="56758" y="231513"/>
                    <a:pt x="47796" y="227033"/>
                    <a:pt x="43315" y="219564"/>
                  </a:cubicBezTo>
                  <a:cubicBezTo>
                    <a:pt x="41822" y="216577"/>
                    <a:pt x="40328" y="212096"/>
                    <a:pt x="40328" y="207615"/>
                  </a:cubicBezTo>
                  <a:cubicBezTo>
                    <a:pt x="40328" y="204628"/>
                    <a:pt x="40328" y="203134"/>
                    <a:pt x="40328" y="200147"/>
                  </a:cubicBezTo>
                  <a:cubicBezTo>
                    <a:pt x="40328" y="198654"/>
                    <a:pt x="40328" y="198654"/>
                    <a:pt x="40328" y="197160"/>
                  </a:cubicBezTo>
                  <a:cubicBezTo>
                    <a:pt x="38835" y="177742"/>
                    <a:pt x="31366" y="158325"/>
                    <a:pt x="20911" y="143389"/>
                  </a:cubicBezTo>
                  <a:cubicBezTo>
                    <a:pt x="20911" y="143389"/>
                    <a:pt x="20911" y="141895"/>
                    <a:pt x="19417" y="141895"/>
                  </a:cubicBezTo>
                  <a:cubicBezTo>
                    <a:pt x="11949" y="131440"/>
                    <a:pt x="0" y="106048"/>
                    <a:pt x="0" y="92606"/>
                  </a:cubicBezTo>
                  <a:cubicBezTo>
                    <a:pt x="0" y="59745"/>
                    <a:pt x="64226" y="11949"/>
                    <a:pt x="73188" y="8962"/>
                  </a:cubicBezTo>
                  <a:cubicBezTo>
                    <a:pt x="83644" y="4481"/>
                    <a:pt x="92605" y="0"/>
                    <a:pt x="103061" y="0"/>
                  </a:cubicBezTo>
                  <a:cubicBezTo>
                    <a:pt x="113516" y="0"/>
                    <a:pt x="125465" y="4481"/>
                    <a:pt x="131440" y="13443"/>
                  </a:cubicBezTo>
                  <a:cubicBezTo>
                    <a:pt x="138908" y="23898"/>
                    <a:pt x="134427" y="38835"/>
                    <a:pt x="137414" y="52277"/>
                  </a:cubicBezTo>
                  <a:cubicBezTo>
                    <a:pt x="140402" y="64227"/>
                    <a:pt x="149363" y="73188"/>
                    <a:pt x="153844" y="85137"/>
                  </a:cubicBezTo>
                  <a:cubicBezTo>
                    <a:pt x="159819" y="98580"/>
                    <a:pt x="155338" y="117997"/>
                    <a:pt x="144882" y="129946"/>
                  </a:cubicBezTo>
                  <a:close/>
                </a:path>
              </a:pathLst>
            </a:custGeom>
            <a:solidFill>
              <a:srgbClr val="BE162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9" name="任意多边形: 形状 9848"/>
            <p:cNvSpPr/>
            <p:nvPr/>
          </p:nvSpPr>
          <p:spPr>
            <a:xfrm>
              <a:off x="8172463" y="5404028"/>
              <a:ext cx="59745" cy="29873"/>
            </a:xfrm>
            <a:custGeom>
              <a:avLst/>
              <a:gdLst>
                <a:gd name="connsiteX0" fmla="*/ 43599 w 59745"/>
                <a:gd name="connsiteY0" fmla="*/ 34353 h 29872"/>
                <a:gd name="connsiteX1" fmla="*/ 12232 w 59745"/>
                <a:gd name="connsiteY1" fmla="*/ 29873 h 29872"/>
                <a:gd name="connsiteX2" fmla="*/ 283 w 59745"/>
                <a:gd name="connsiteY2" fmla="*/ 0 h 29872"/>
                <a:gd name="connsiteX3" fmla="*/ 25675 w 59745"/>
                <a:gd name="connsiteY3" fmla="*/ 25392 h 29872"/>
                <a:gd name="connsiteX4" fmla="*/ 61522 w 59745"/>
                <a:gd name="connsiteY4" fmla="*/ 20911 h 29872"/>
                <a:gd name="connsiteX5" fmla="*/ 43599 w 59745"/>
                <a:gd name="connsiteY5" fmla="*/ 34353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745" h="29872">
                  <a:moveTo>
                    <a:pt x="43599" y="34353"/>
                  </a:moveTo>
                  <a:cubicBezTo>
                    <a:pt x="33143" y="38835"/>
                    <a:pt x="21194" y="35847"/>
                    <a:pt x="12232" y="29873"/>
                  </a:cubicBezTo>
                  <a:cubicBezTo>
                    <a:pt x="3270" y="22405"/>
                    <a:pt x="-1210" y="11949"/>
                    <a:pt x="283" y="0"/>
                  </a:cubicBezTo>
                  <a:cubicBezTo>
                    <a:pt x="4764" y="11949"/>
                    <a:pt x="13726" y="20911"/>
                    <a:pt x="25675" y="25392"/>
                  </a:cubicBezTo>
                  <a:cubicBezTo>
                    <a:pt x="37624" y="29873"/>
                    <a:pt x="51067" y="28379"/>
                    <a:pt x="61522" y="20911"/>
                  </a:cubicBezTo>
                  <a:cubicBezTo>
                    <a:pt x="55548" y="26885"/>
                    <a:pt x="49573" y="31366"/>
                    <a:pt x="43599" y="34353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0" name="任意多边形: 形状 9849"/>
            <p:cNvSpPr/>
            <p:nvPr/>
          </p:nvSpPr>
          <p:spPr>
            <a:xfrm>
              <a:off x="8136898" y="5371168"/>
              <a:ext cx="14936" cy="119491"/>
            </a:xfrm>
            <a:custGeom>
              <a:avLst/>
              <a:gdLst>
                <a:gd name="connsiteX0" fmla="*/ 20911 w 14936"/>
                <a:gd name="connsiteY0" fmla="*/ 91112 h 119490"/>
                <a:gd name="connsiteX1" fmla="*/ 19418 w 14936"/>
                <a:gd name="connsiteY1" fmla="*/ 119491 h 119490"/>
                <a:gd name="connsiteX2" fmla="*/ 19418 w 14936"/>
                <a:gd name="connsiteY2" fmla="*/ 112023 h 119490"/>
                <a:gd name="connsiteX3" fmla="*/ 0 w 14936"/>
                <a:gd name="connsiteY3" fmla="*/ 55265 h 119490"/>
                <a:gd name="connsiteX4" fmla="*/ 1494 w 14936"/>
                <a:gd name="connsiteY4" fmla="*/ 47796 h 119490"/>
                <a:gd name="connsiteX5" fmla="*/ 17924 w 14936"/>
                <a:gd name="connsiteY5" fmla="*/ 0 h 119490"/>
                <a:gd name="connsiteX6" fmla="*/ 20911 w 14936"/>
                <a:gd name="connsiteY6" fmla="*/ 91112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36" h="119490">
                  <a:moveTo>
                    <a:pt x="20911" y="91112"/>
                  </a:moveTo>
                  <a:cubicBezTo>
                    <a:pt x="22405" y="100074"/>
                    <a:pt x="23898" y="110529"/>
                    <a:pt x="19418" y="119491"/>
                  </a:cubicBezTo>
                  <a:cubicBezTo>
                    <a:pt x="19418" y="116504"/>
                    <a:pt x="19418" y="115010"/>
                    <a:pt x="19418" y="112023"/>
                  </a:cubicBezTo>
                  <a:cubicBezTo>
                    <a:pt x="17924" y="91112"/>
                    <a:pt x="11949" y="71695"/>
                    <a:pt x="0" y="55265"/>
                  </a:cubicBezTo>
                  <a:cubicBezTo>
                    <a:pt x="0" y="52277"/>
                    <a:pt x="1494" y="50784"/>
                    <a:pt x="1494" y="47796"/>
                  </a:cubicBezTo>
                  <a:cubicBezTo>
                    <a:pt x="4481" y="31366"/>
                    <a:pt x="8962" y="13443"/>
                    <a:pt x="17924" y="0"/>
                  </a:cubicBezTo>
                  <a:cubicBezTo>
                    <a:pt x="29873" y="29873"/>
                    <a:pt x="17924" y="61239"/>
                    <a:pt x="20911" y="91112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1" name="任意多边形: 形状 9850"/>
            <p:cNvSpPr/>
            <p:nvPr/>
          </p:nvSpPr>
          <p:spPr>
            <a:xfrm>
              <a:off x="8151835" y="5478710"/>
              <a:ext cx="104554" cy="44809"/>
            </a:xfrm>
            <a:custGeom>
              <a:avLst/>
              <a:gdLst>
                <a:gd name="connsiteX0" fmla="*/ 107542 w 104554"/>
                <a:gd name="connsiteY0" fmla="*/ 14936 h 44809"/>
                <a:gd name="connsiteX1" fmla="*/ 100074 w 104554"/>
                <a:gd name="connsiteY1" fmla="*/ 28379 h 44809"/>
                <a:gd name="connsiteX2" fmla="*/ 25392 w 104554"/>
                <a:gd name="connsiteY2" fmla="*/ 50783 h 44809"/>
                <a:gd name="connsiteX3" fmla="*/ 14936 w 104554"/>
                <a:gd name="connsiteY3" fmla="*/ 47796 h 44809"/>
                <a:gd name="connsiteX4" fmla="*/ 0 w 104554"/>
                <a:gd name="connsiteY4" fmla="*/ 29873 h 44809"/>
                <a:gd name="connsiteX5" fmla="*/ 4481 w 104554"/>
                <a:gd name="connsiteY5" fmla="*/ 13443 h 44809"/>
                <a:gd name="connsiteX6" fmla="*/ 7468 w 104554"/>
                <a:gd name="connsiteY6" fmla="*/ 25392 h 44809"/>
                <a:gd name="connsiteX7" fmla="*/ 28379 w 104554"/>
                <a:gd name="connsiteY7" fmla="*/ 38835 h 44809"/>
                <a:gd name="connsiteX8" fmla="*/ 47796 w 104554"/>
                <a:gd name="connsiteY8" fmla="*/ 40328 h 44809"/>
                <a:gd name="connsiteX9" fmla="*/ 73188 w 104554"/>
                <a:gd name="connsiteY9" fmla="*/ 32860 h 44809"/>
                <a:gd name="connsiteX10" fmla="*/ 89618 w 104554"/>
                <a:gd name="connsiteY10" fmla="*/ 20911 h 44809"/>
                <a:gd name="connsiteX11" fmla="*/ 95593 w 104554"/>
                <a:gd name="connsiteY11" fmla="*/ 13443 h 44809"/>
                <a:gd name="connsiteX12" fmla="*/ 98580 w 104554"/>
                <a:gd name="connsiteY12" fmla="*/ 0 h 44809"/>
                <a:gd name="connsiteX13" fmla="*/ 107542 w 104554"/>
                <a:gd name="connsiteY13" fmla="*/ 14936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554" h="44809">
                  <a:moveTo>
                    <a:pt x="107542" y="14936"/>
                  </a:moveTo>
                  <a:cubicBezTo>
                    <a:pt x="106048" y="19417"/>
                    <a:pt x="103061" y="23898"/>
                    <a:pt x="100074" y="28379"/>
                  </a:cubicBezTo>
                  <a:cubicBezTo>
                    <a:pt x="92606" y="35847"/>
                    <a:pt x="62733" y="59745"/>
                    <a:pt x="25392" y="50783"/>
                  </a:cubicBezTo>
                  <a:cubicBezTo>
                    <a:pt x="22405" y="49290"/>
                    <a:pt x="17924" y="49290"/>
                    <a:pt x="14936" y="47796"/>
                  </a:cubicBezTo>
                  <a:cubicBezTo>
                    <a:pt x="7468" y="44809"/>
                    <a:pt x="2987" y="37341"/>
                    <a:pt x="0" y="29873"/>
                  </a:cubicBezTo>
                  <a:lnTo>
                    <a:pt x="4481" y="13443"/>
                  </a:lnTo>
                  <a:cubicBezTo>
                    <a:pt x="4481" y="17924"/>
                    <a:pt x="5974" y="22405"/>
                    <a:pt x="7468" y="25392"/>
                  </a:cubicBezTo>
                  <a:cubicBezTo>
                    <a:pt x="11949" y="32860"/>
                    <a:pt x="19418" y="35847"/>
                    <a:pt x="28379" y="38835"/>
                  </a:cubicBezTo>
                  <a:cubicBezTo>
                    <a:pt x="34354" y="40328"/>
                    <a:pt x="41822" y="40328"/>
                    <a:pt x="47796" y="40328"/>
                  </a:cubicBezTo>
                  <a:cubicBezTo>
                    <a:pt x="56758" y="38835"/>
                    <a:pt x="64227" y="37341"/>
                    <a:pt x="73188" y="32860"/>
                  </a:cubicBezTo>
                  <a:cubicBezTo>
                    <a:pt x="79163" y="29873"/>
                    <a:pt x="85137" y="25392"/>
                    <a:pt x="89618" y="20911"/>
                  </a:cubicBezTo>
                  <a:cubicBezTo>
                    <a:pt x="92606" y="17924"/>
                    <a:pt x="94099" y="16430"/>
                    <a:pt x="95593" y="13443"/>
                  </a:cubicBezTo>
                  <a:cubicBezTo>
                    <a:pt x="97086" y="8962"/>
                    <a:pt x="98580" y="4481"/>
                    <a:pt x="98580" y="0"/>
                  </a:cubicBezTo>
                  <a:cubicBezTo>
                    <a:pt x="103061" y="4481"/>
                    <a:pt x="104554" y="8962"/>
                    <a:pt x="107542" y="14936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2" name="任意多边形: 形状 9851"/>
            <p:cNvSpPr/>
            <p:nvPr/>
          </p:nvSpPr>
          <p:spPr>
            <a:xfrm>
              <a:off x="8198138" y="5577289"/>
              <a:ext cx="29873" cy="74682"/>
            </a:xfrm>
            <a:custGeom>
              <a:avLst/>
              <a:gdLst>
                <a:gd name="connsiteX0" fmla="*/ 17924 w 29872"/>
                <a:gd name="connsiteY0" fmla="*/ 47796 h 74681"/>
                <a:gd name="connsiteX1" fmla="*/ 22405 w 29872"/>
                <a:gd name="connsiteY1" fmla="*/ 25392 h 74681"/>
                <a:gd name="connsiteX2" fmla="*/ 38835 w 29872"/>
                <a:gd name="connsiteY2" fmla="*/ 0 h 74681"/>
                <a:gd name="connsiteX3" fmla="*/ 22405 w 29872"/>
                <a:gd name="connsiteY3" fmla="*/ 16430 h 74681"/>
                <a:gd name="connsiteX4" fmla="*/ 0 w 29872"/>
                <a:gd name="connsiteY4" fmla="*/ 17923 h 74681"/>
                <a:gd name="connsiteX5" fmla="*/ 8962 w 29872"/>
                <a:gd name="connsiteY5" fmla="*/ 34353 h 74681"/>
                <a:gd name="connsiteX6" fmla="*/ 13443 w 29872"/>
                <a:gd name="connsiteY6" fmla="*/ 86631 h 74681"/>
                <a:gd name="connsiteX7" fmla="*/ 17924 w 29872"/>
                <a:gd name="connsiteY7" fmla="*/ 47796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72" h="74681">
                  <a:moveTo>
                    <a:pt x="17924" y="47796"/>
                  </a:moveTo>
                  <a:cubicBezTo>
                    <a:pt x="19417" y="40328"/>
                    <a:pt x="19417" y="32860"/>
                    <a:pt x="22405" y="25392"/>
                  </a:cubicBezTo>
                  <a:cubicBezTo>
                    <a:pt x="26885" y="16430"/>
                    <a:pt x="35847" y="8962"/>
                    <a:pt x="38835" y="0"/>
                  </a:cubicBezTo>
                  <a:cubicBezTo>
                    <a:pt x="32860" y="5974"/>
                    <a:pt x="28379" y="11949"/>
                    <a:pt x="22405" y="16430"/>
                  </a:cubicBezTo>
                  <a:cubicBezTo>
                    <a:pt x="16430" y="20911"/>
                    <a:pt x="5974" y="22405"/>
                    <a:pt x="0" y="17923"/>
                  </a:cubicBezTo>
                  <a:cubicBezTo>
                    <a:pt x="5974" y="20911"/>
                    <a:pt x="7468" y="28379"/>
                    <a:pt x="8962" y="34353"/>
                  </a:cubicBezTo>
                  <a:cubicBezTo>
                    <a:pt x="11949" y="50783"/>
                    <a:pt x="10456" y="70201"/>
                    <a:pt x="13443" y="86631"/>
                  </a:cubicBezTo>
                  <a:lnTo>
                    <a:pt x="17924" y="47796"/>
                  </a:ln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3" name="任意多边形: 形状 9852"/>
            <p:cNvSpPr/>
            <p:nvPr/>
          </p:nvSpPr>
          <p:spPr>
            <a:xfrm>
              <a:off x="8211580" y="5514557"/>
              <a:ext cx="14936" cy="14936"/>
            </a:xfrm>
            <a:custGeom>
              <a:avLst/>
              <a:gdLst>
                <a:gd name="connsiteX0" fmla="*/ 11949 w 0"/>
                <a:gd name="connsiteY0" fmla="*/ 8962 h 0"/>
                <a:gd name="connsiteX1" fmla="*/ 0 w 0"/>
                <a:gd name="connsiteY1" fmla="*/ 11949 h 0"/>
                <a:gd name="connsiteX2" fmla="*/ 0 w 0"/>
                <a:gd name="connsiteY2" fmla="*/ 2987 h 0"/>
                <a:gd name="connsiteX3" fmla="*/ 11949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949" y="8962"/>
                  </a:moveTo>
                  <a:lnTo>
                    <a:pt x="0" y="11949"/>
                  </a:lnTo>
                  <a:lnTo>
                    <a:pt x="0" y="2987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CBBBA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4" name="任意多边形: 形状 9853"/>
            <p:cNvSpPr/>
            <p:nvPr/>
          </p:nvSpPr>
          <p:spPr>
            <a:xfrm>
              <a:off x="8168265" y="5294993"/>
              <a:ext cx="44809" cy="29873"/>
            </a:xfrm>
            <a:custGeom>
              <a:avLst/>
              <a:gdLst>
                <a:gd name="connsiteX0" fmla="*/ 55265 w 44809"/>
                <a:gd name="connsiteY0" fmla="*/ 17923 h 29872"/>
                <a:gd name="connsiteX1" fmla="*/ 55265 w 44809"/>
                <a:gd name="connsiteY1" fmla="*/ 20911 h 29872"/>
                <a:gd name="connsiteX2" fmla="*/ 53771 w 44809"/>
                <a:gd name="connsiteY2" fmla="*/ 22405 h 29872"/>
                <a:gd name="connsiteX3" fmla="*/ 46303 w 44809"/>
                <a:gd name="connsiteY3" fmla="*/ 28379 h 29872"/>
                <a:gd name="connsiteX4" fmla="*/ 7468 w 44809"/>
                <a:gd name="connsiteY4" fmla="*/ 28379 h 29872"/>
                <a:gd name="connsiteX5" fmla="*/ 0 w 44809"/>
                <a:gd name="connsiteY5" fmla="*/ 16430 h 29872"/>
                <a:gd name="connsiteX6" fmla="*/ 7468 w 44809"/>
                <a:gd name="connsiteY6" fmla="*/ 4481 h 29872"/>
                <a:gd name="connsiteX7" fmla="*/ 14936 w 44809"/>
                <a:gd name="connsiteY7" fmla="*/ 1493 h 29872"/>
                <a:gd name="connsiteX8" fmla="*/ 19417 w 44809"/>
                <a:gd name="connsiteY8" fmla="*/ 0 h 29872"/>
                <a:gd name="connsiteX9" fmla="*/ 20911 w 44809"/>
                <a:gd name="connsiteY9" fmla="*/ 0 h 29872"/>
                <a:gd name="connsiteX10" fmla="*/ 28379 w 44809"/>
                <a:gd name="connsiteY10" fmla="*/ 0 h 29872"/>
                <a:gd name="connsiteX11" fmla="*/ 47796 w 44809"/>
                <a:gd name="connsiteY11" fmla="*/ 4481 h 29872"/>
                <a:gd name="connsiteX12" fmla="*/ 52277 w 44809"/>
                <a:gd name="connsiteY12" fmla="*/ 7468 h 29872"/>
                <a:gd name="connsiteX13" fmla="*/ 52277 w 44809"/>
                <a:gd name="connsiteY13" fmla="*/ 7468 h 29872"/>
                <a:gd name="connsiteX14" fmla="*/ 53771 w 44809"/>
                <a:gd name="connsiteY14" fmla="*/ 10455 h 29872"/>
                <a:gd name="connsiteX15" fmla="*/ 55265 w 44809"/>
                <a:gd name="connsiteY15" fmla="*/ 17923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29872">
                  <a:moveTo>
                    <a:pt x="55265" y="17923"/>
                  </a:moveTo>
                  <a:cubicBezTo>
                    <a:pt x="55265" y="19417"/>
                    <a:pt x="55265" y="19417"/>
                    <a:pt x="55265" y="20911"/>
                  </a:cubicBezTo>
                  <a:cubicBezTo>
                    <a:pt x="55265" y="20911"/>
                    <a:pt x="55265" y="22405"/>
                    <a:pt x="53771" y="22405"/>
                  </a:cubicBezTo>
                  <a:cubicBezTo>
                    <a:pt x="52277" y="25392"/>
                    <a:pt x="50783" y="26885"/>
                    <a:pt x="46303" y="28379"/>
                  </a:cubicBezTo>
                  <a:cubicBezTo>
                    <a:pt x="35847" y="34353"/>
                    <a:pt x="17924" y="34353"/>
                    <a:pt x="7468" y="28379"/>
                  </a:cubicBezTo>
                  <a:cubicBezTo>
                    <a:pt x="1494" y="25392"/>
                    <a:pt x="0" y="20911"/>
                    <a:pt x="0" y="16430"/>
                  </a:cubicBezTo>
                  <a:cubicBezTo>
                    <a:pt x="0" y="11949"/>
                    <a:pt x="2987" y="8961"/>
                    <a:pt x="7468" y="4481"/>
                  </a:cubicBezTo>
                  <a:cubicBezTo>
                    <a:pt x="10456" y="2987"/>
                    <a:pt x="13443" y="1493"/>
                    <a:pt x="14936" y="1493"/>
                  </a:cubicBezTo>
                  <a:cubicBezTo>
                    <a:pt x="16430" y="1493"/>
                    <a:pt x="17924" y="1493"/>
                    <a:pt x="19417" y="0"/>
                  </a:cubicBezTo>
                  <a:cubicBezTo>
                    <a:pt x="19417" y="0"/>
                    <a:pt x="19417" y="0"/>
                    <a:pt x="20911" y="0"/>
                  </a:cubicBezTo>
                  <a:cubicBezTo>
                    <a:pt x="23898" y="0"/>
                    <a:pt x="25392" y="0"/>
                    <a:pt x="28379" y="0"/>
                  </a:cubicBezTo>
                  <a:cubicBezTo>
                    <a:pt x="35847" y="0"/>
                    <a:pt x="41822" y="1493"/>
                    <a:pt x="47796" y="4481"/>
                  </a:cubicBezTo>
                  <a:cubicBezTo>
                    <a:pt x="49290" y="5974"/>
                    <a:pt x="50783" y="5974"/>
                    <a:pt x="52277" y="7468"/>
                  </a:cubicBezTo>
                  <a:cubicBezTo>
                    <a:pt x="52277" y="7468"/>
                    <a:pt x="52277" y="7468"/>
                    <a:pt x="52277" y="7468"/>
                  </a:cubicBezTo>
                  <a:cubicBezTo>
                    <a:pt x="53771" y="8961"/>
                    <a:pt x="53771" y="8961"/>
                    <a:pt x="53771" y="10455"/>
                  </a:cubicBezTo>
                  <a:cubicBezTo>
                    <a:pt x="53771" y="14936"/>
                    <a:pt x="55265" y="16430"/>
                    <a:pt x="55265" y="17923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5" name="任意多边形: 形状 9854"/>
            <p:cNvSpPr/>
            <p:nvPr/>
          </p:nvSpPr>
          <p:spPr>
            <a:xfrm>
              <a:off x="8205379" y="5194919"/>
              <a:ext cx="29873" cy="104554"/>
            </a:xfrm>
            <a:custGeom>
              <a:avLst/>
              <a:gdLst>
                <a:gd name="connsiteX0" fmla="*/ 21138 w 29872"/>
                <a:gd name="connsiteY0" fmla="*/ 106048 h 104554"/>
                <a:gd name="connsiteX1" fmla="*/ 40555 w 29872"/>
                <a:gd name="connsiteY1" fmla="*/ 26885 h 104554"/>
                <a:gd name="connsiteX2" fmla="*/ 33087 w 29872"/>
                <a:gd name="connsiteY2" fmla="*/ 2987 h 104554"/>
                <a:gd name="connsiteX3" fmla="*/ 31594 w 29872"/>
                <a:gd name="connsiteY3" fmla="*/ 0 h 104554"/>
                <a:gd name="connsiteX4" fmla="*/ 28606 w 29872"/>
                <a:gd name="connsiteY4" fmla="*/ 0 h 104554"/>
                <a:gd name="connsiteX5" fmla="*/ 7695 w 29872"/>
                <a:gd name="connsiteY5" fmla="*/ 13443 h 104554"/>
                <a:gd name="connsiteX6" fmla="*/ 227 w 29872"/>
                <a:gd name="connsiteY6" fmla="*/ 37341 h 104554"/>
                <a:gd name="connsiteX7" fmla="*/ 15163 w 29872"/>
                <a:gd name="connsiteY7" fmla="*/ 106048 h 104554"/>
                <a:gd name="connsiteX8" fmla="*/ 21138 w 29872"/>
                <a:gd name="connsiteY8" fmla="*/ 106048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72" h="104554">
                  <a:moveTo>
                    <a:pt x="21138" y="106048"/>
                  </a:moveTo>
                  <a:cubicBezTo>
                    <a:pt x="36074" y="82150"/>
                    <a:pt x="43542" y="55265"/>
                    <a:pt x="40555" y="26885"/>
                  </a:cubicBezTo>
                  <a:cubicBezTo>
                    <a:pt x="39062" y="17924"/>
                    <a:pt x="36074" y="10456"/>
                    <a:pt x="33087" y="2987"/>
                  </a:cubicBezTo>
                  <a:cubicBezTo>
                    <a:pt x="33087" y="1494"/>
                    <a:pt x="31594" y="1494"/>
                    <a:pt x="31594" y="0"/>
                  </a:cubicBezTo>
                  <a:cubicBezTo>
                    <a:pt x="30100" y="0"/>
                    <a:pt x="30100" y="0"/>
                    <a:pt x="28606" y="0"/>
                  </a:cubicBezTo>
                  <a:cubicBezTo>
                    <a:pt x="19644" y="0"/>
                    <a:pt x="12176" y="5974"/>
                    <a:pt x="7695" y="13443"/>
                  </a:cubicBezTo>
                  <a:cubicBezTo>
                    <a:pt x="3215" y="20911"/>
                    <a:pt x="1721" y="29873"/>
                    <a:pt x="227" y="37341"/>
                  </a:cubicBezTo>
                  <a:cubicBezTo>
                    <a:pt x="-1267" y="61239"/>
                    <a:pt x="4708" y="85137"/>
                    <a:pt x="15163" y="106048"/>
                  </a:cubicBezTo>
                  <a:cubicBezTo>
                    <a:pt x="18151" y="104554"/>
                    <a:pt x="19644" y="104554"/>
                    <a:pt x="21138" y="106048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6" name="任意多边形: 形状 9855"/>
            <p:cNvSpPr/>
            <p:nvPr/>
          </p:nvSpPr>
          <p:spPr>
            <a:xfrm>
              <a:off x="8166771" y="5229273"/>
              <a:ext cx="44809" cy="74682"/>
            </a:xfrm>
            <a:custGeom>
              <a:avLst/>
              <a:gdLst>
                <a:gd name="connsiteX0" fmla="*/ 0 w 44809"/>
                <a:gd name="connsiteY0" fmla="*/ 0 h 74681"/>
                <a:gd name="connsiteX1" fmla="*/ 55265 w 44809"/>
                <a:gd name="connsiteY1" fmla="*/ 0 h 74681"/>
                <a:gd name="connsiteX2" fmla="*/ 55265 w 44809"/>
                <a:gd name="connsiteY2" fmla="*/ 82150 h 74681"/>
                <a:gd name="connsiteX3" fmla="*/ 0 w 44809"/>
                <a:gd name="connsiteY3" fmla="*/ 8215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809" h="74681">
                  <a:moveTo>
                    <a:pt x="0" y="0"/>
                  </a:moveTo>
                  <a:lnTo>
                    <a:pt x="55265" y="0"/>
                  </a:lnTo>
                  <a:lnTo>
                    <a:pt x="55265" y="82150"/>
                  </a:lnTo>
                  <a:lnTo>
                    <a:pt x="0" y="82150"/>
                  </a:ln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7" name="任意多边形: 形状 9856"/>
            <p:cNvSpPr/>
            <p:nvPr/>
          </p:nvSpPr>
          <p:spPr>
            <a:xfrm>
              <a:off x="8166771" y="5236741"/>
              <a:ext cx="44809" cy="59745"/>
            </a:xfrm>
            <a:custGeom>
              <a:avLst/>
              <a:gdLst>
                <a:gd name="connsiteX0" fmla="*/ 56758 w 44809"/>
                <a:gd name="connsiteY0" fmla="*/ 62733 h 59745"/>
                <a:gd name="connsiteX1" fmla="*/ 56758 w 44809"/>
                <a:gd name="connsiteY1" fmla="*/ 73188 h 59745"/>
                <a:gd name="connsiteX2" fmla="*/ 41822 w 44809"/>
                <a:gd name="connsiteY2" fmla="*/ 73188 h 59745"/>
                <a:gd name="connsiteX3" fmla="*/ 25392 w 44809"/>
                <a:gd name="connsiteY3" fmla="*/ 65720 h 59745"/>
                <a:gd name="connsiteX4" fmla="*/ 20911 w 44809"/>
                <a:gd name="connsiteY4" fmla="*/ 61239 h 59745"/>
                <a:gd name="connsiteX5" fmla="*/ 17924 w 44809"/>
                <a:gd name="connsiteY5" fmla="*/ 56758 h 59745"/>
                <a:gd name="connsiteX6" fmla="*/ 10456 w 44809"/>
                <a:gd name="connsiteY6" fmla="*/ 43316 h 59745"/>
                <a:gd name="connsiteX7" fmla="*/ 2987 w 44809"/>
                <a:gd name="connsiteY7" fmla="*/ 16430 h 59745"/>
                <a:gd name="connsiteX8" fmla="*/ 0 w 44809"/>
                <a:gd name="connsiteY8" fmla="*/ 0 h 59745"/>
                <a:gd name="connsiteX9" fmla="*/ 1494 w 44809"/>
                <a:gd name="connsiteY9" fmla="*/ 5975 h 59745"/>
                <a:gd name="connsiteX10" fmla="*/ 8962 w 44809"/>
                <a:gd name="connsiteY10" fmla="*/ 32860 h 59745"/>
                <a:gd name="connsiteX11" fmla="*/ 22405 w 44809"/>
                <a:gd name="connsiteY11" fmla="*/ 53771 h 59745"/>
                <a:gd name="connsiteX12" fmla="*/ 23898 w 44809"/>
                <a:gd name="connsiteY12" fmla="*/ 55265 h 59745"/>
                <a:gd name="connsiteX13" fmla="*/ 28379 w 44809"/>
                <a:gd name="connsiteY13" fmla="*/ 58252 h 59745"/>
                <a:gd name="connsiteX14" fmla="*/ 52277 w 44809"/>
                <a:gd name="connsiteY14" fmla="*/ 62733 h 59745"/>
                <a:gd name="connsiteX15" fmla="*/ 56758 w 44809"/>
                <a:gd name="connsiteY15" fmla="*/ 62733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59745">
                  <a:moveTo>
                    <a:pt x="56758" y="62733"/>
                  </a:moveTo>
                  <a:cubicBezTo>
                    <a:pt x="56758" y="62733"/>
                    <a:pt x="56758" y="71695"/>
                    <a:pt x="56758" y="73188"/>
                  </a:cubicBezTo>
                  <a:cubicBezTo>
                    <a:pt x="52277" y="74682"/>
                    <a:pt x="47796" y="73188"/>
                    <a:pt x="41822" y="73188"/>
                  </a:cubicBezTo>
                  <a:cubicBezTo>
                    <a:pt x="35847" y="71695"/>
                    <a:pt x="29873" y="68707"/>
                    <a:pt x="25392" y="65720"/>
                  </a:cubicBezTo>
                  <a:cubicBezTo>
                    <a:pt x="23898" y="64227"/>
                    <a:pt x="22405" y="62733"/>
                    <a:pt x="20911" y="61239"/>
                  </a:cubicBezTo>
                  <a:cubicBezTo>
                    <a:pt x="19418" y="59745"/>
                    <a:pt x="17924" y="58252"/>
                    <a:pt x="17924" y="56758"/>
                  </a:cubicBezTo>
                  <a:cubicBezTo>
                    <a:pt x="14936" y="52277"/>
                    <a:pt x="11949" y="47796"/>
                    <a:pt x="10456" y="43316"/>
                  </a:cubicBezTo>
                  <a:cubicBezTo>
                    <a:pt x="7468" y="34354"/>
                    <a:pt x="4481" y="25392"/>
                    <a:pt x="2987" y="16430"/>
                  </a:cubicBezTo>
                  <a:cubicBezTo>
                    <a:pt x="1494" y="11949"/>
                    <a:pt x="1494" y="5975"/>
                    <a:pt x="0" y="0"/>
                  </a:cubicBezTo>
                  <a:cubicBezTo>
                    <a:pt x="0" y="2987"/>
                    <a:pt x="1494" y="4481"/>
                    <a:pt x="1494" y="5975"/>
                  </a:cubicBezTo>
                  <a:cubicBezTo>
                    <a:pt x="2987" y="14936"/>
                    <a:pt x="5974" y="23898"/>
                    <a:pt x="8962" y="32860"/>
                  </a:cubicBezTo>
                  <a:cubicBezTo>
                    <a:pt x="11949" y="40328"/>
                    <a:pt x="16430" y="47796"/>
                    <a:pt x="22405" y="53771"/>
                  </a:cubicBezTo>
                  <a:cubicBezTo>
                    <a:pt x="22405" y="53771"/>
                    <a:pt x="23898" y="55265"/>
                    <a:pt x="23898" y="55265"/>
                  </a:cubicBezTo>
                  <a:cubicBezTo>
                    <a:pt x="25392" y="56758"/>
                    <a:pt x="26886" y="58252"/>
                    <a:pt x="28379" y="58252"/>
                  </a:cubicBezTo>
                  <a:cubicBezTo>
                    <a:pt x="34354" y="61239"/>
                    <a:pt x="44809" y="62733"/>
                    <a:pt x="52277" y="62733"/>
                  </a:cubicBezTo>
                  <a:cubicBezTo>
                    <a:pt x="53771" y="64227"/>
                    <a:pt x="55265" y="64227"/>
                    <a:pt x="56758" y="62733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8" name="任意多边形: 形状 9857"/>
            <p:cNvSpPr/>
            <p:nvPr/>
          </p:nvSpPr>
          <p:spPr>
            <a:xfrm>
              <a:off x="8161883" y="5185728"/>
              <a:ext cx="74682" cy="104554"/>
            </a:xfrm>
            <a:custGeom>
              <a:avLst/>
              <a:gdLst>
                <a:gd name="connsiteX0" fmla="*/ 3394 w 74681"/>
                <a:gd name="connsiteY0" fmla="*/ 65949 h 104554"/>
                <a:gd name="connsiteX1" fmla="*/ 12356 w 74681"/>
                <a:gd name="connsiteY1" fmla="*/ 89847 h 104554"/>
                <a:gd name="connsiteX2" fmla="*/ 64633 w 74681"/>
                <a:gd name="connsiteY2" fmla="*/ 116733 h 104554"/>
                <a:gd name="connsiteX3" fmla="*/ 70608 w 74681"/>
                <a:gd name="connsiteY3" fmla="*/ 24127 h 104554"/>
                <a:gd name="connsiteX4" fmla="*/ 67621 w 74681"/>
                <a:gd name="connsiteY4" fmla="*/ 13671 h 104554"/>
                <a:gd name="connsiteX5" fmla="*/ 43722 w 74681"/>
                <a:gd name="connsiteY5" fmla="*/ 229 h 104554"/>
                <a:gd name="connsiteX6" fmla="*/ 12356 w 74681"/>
                <a:gd name="connsiteY6" fmla="*/ 12178 h 104554"/>
                <a:gd name="connsiteX7" fmla="*/ 4888 w 74681"/>
                <a:gd name="connsiteY7" fmla="*/ 18153 h 104554"/>
                <a:gd name="connsiteX8" fmla="*/ 407 w 74681"/>
                <a:gd name="connsiteY8" fmla="*/ 25621 h 104554"/>
                <a:gd name="connsiteX9" fmla="*/ 3394 w 74681"/>
                <a:gd name="connsiteY9" fmla="*/ 6594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681" h="104554">
                  <a:moveTo>
                    <a:pt x="3394" y="65949"/>
                  </a:moveTo>
                  <a:cubicBezTo>
                    <a:pt x="4888" y="74910"/>
                    <a:pt x="9369" y="80885"/>
                    <a:pt x="12356" y="89847"/>
                  </a:cubicBezTo>
                  <a:cubicBezTo>
                    <a:pt x="24305" y="116733"/>
                    <a:pt x="52684" y="122707"/>
                    <a:pt x="64633" y="116733"/>
                  </a:cubicBezTo>
                  <a:cubicBezTo>
                    <a:pt x="81063" y="107771"/>
                    <a:pt x="76583" y="48025"/>
                    <a:pt x="70608" y="24127"/>
                  </a:cubicBezTo>
                  <a:cubicBezTo>
                    <a:pt x="69114" y="21140"/>
                    <a:pt x="69114" y="16659"/>
                    <a:pt x="67621" y="13671"/>
                  </a:cubicBezTo>
                  <a:cubicBezTo>
                    <a:pt x="63139" y="4710"/>
                    <a:pt x="54178" y="-1265"/>
                    <a:pt x="43722" y="229"/>
                  </a:cubicBezTo>
                  <a:cubicBezTo>
                    <a:pt x="31774" y="229"/>
                    <a:pt x="21318" y="6203"/>
                    <a:pt x="12356" y="12178"/>
                  </a:cubicBezTo>
                  <a:cubicBezTo>
                    <a:pt x="9369" y="13671"/>
                    <a:pt x="7875" y="15165"/>
                    <a:pt x="4888" y="18153"/>
                  </a:cubicBezTo>
                  <a:cubicBezTo>
                    <a:pt x="3394" y="21140"/>
                    <a:pt x="1901" y="22633"/>
                    <a:pt x="407" y="25621"/>
                  </a:cubicBezTo>
                  <a:cubicBezTo>
                    <a:pt x="-1087" y="27114"/>
                    <a:pt x="1901" y="54000"/>
                    <a:pt x="3394" y="65949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9" name="任意多边形: 形状 9858"/>
            <p:cNvSpPr/>
            <p:nvPr/>
          </p:nvSpPr>
          <p:spPr>
            <a:xfrm>
              <a:off x="8129687" y="5168941"/>
              <a:ext cx="104554" cy="134427"/>
            </a:xfrm>
            <a:custGeom>
              <a:avLst/>
              <a:gdLst>
                <a:gd name="connsiteX0" fmla="*/ 84881 w 104554"/>
                <a:gd name="connsiteY0" fmla="*/ 3573 h 134427"/>
                <a:gd name="connsiteX1" fmla="*/ 55008 w 104554"/>
                <a:gd name="connsiteY1" fmla="*/ 586 h 134427"/>
                <a:gd name="connsiteX2" fmla="*/ 20655 w 104554"/>
                <a:gd name="connsiteY2" fmla="*/ 14029 h 134427"/>
                <a:gd name="connsiteX3" fmla="*/ 1237 w 104554"/>
                <a:gd name="connsiteY3" fmla="*/ 42408 h 134427"/>
                <a:gd name="connsiteX4" fmla="*/ 4225 w 104554"/>
                <a:gd name="connsiteY4" fmla="*/ 84229 h 134427"/>
                <a:gd name="connsiteX5" fmla="*/ 8706 w 104554"/>
                <a:gd name="connsiteY5" fmla="*/ 94685 h 134427"/>
                <a:gd name="connsiteX6" fmla="*/ 10199 w 104554"/>
                <a:gd name="connsiteY6" fmla="*/ 96179 h 134427"/>
                <a:gd name="connsiteX7" fmla="*/ 14680 w 104554"/>
                <a:gd name="connsiteY7" fmla="*/ 106634 h 134427"/>
                <a:gd name="connsiteX8" fmla="*/ 26629 w 104554"/>
                <a:gd name="connsiteY8" fmla="*/ 124558 h 134427"/>
                <a:gd name="connsiteX9" fmla="*/ 43059 w 104554"/>
                <a:gd name="connsiteY9" fmla="*/ 133520 h 134427"/>
                <a:gd name="connsiteX10" fmla="*/ 52021 w 104554"/>
                <a:gd name="connsiteY10" fmla="*/ 135013 h 134427"/>
                <a:gd name="connsiteX11" fmla="*/ 38578 w 104554"/>
                <a:gd name="connsiteY11" fmla="*/ 96179 h 134427"/>
                <a:gd name="connsiteX12" fmla="*/ 35591 w 104554"/>
                <a:gd name="connsiteY12" fmla="*/ 72281 h 134427"/>
                <a:gd name="connsiteX13" fmla="*/ 113260 w 104554"/>
                <a:gd name="connsiteY13" fmla="*/ 36433 h 134427"/>
                <a:gd name="connsiteX14" fmla="*/ 84881 w 104554"/>
                <a:gd name="connsiteY14" fmla="*/ 3573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4554" h="134427">
                  <a:moveTo>
                    <a:pt x="84881" y="3573"/>
                  </a:moveTo>
                  <a:cubicBezTo>
                    <a:pt x="75919" y="586"/>
                    <a:pt x="65464" y="-907"/>
                    <a:pt x="55008" y="586"/>
                  </a:cubicBezTo>
                  <a:cubicBezTo>
                    <a:pt x="43059" y="2080"/>
                    <a:pt x="29616" y="6561"/>
                    <a:pt x="20655" y="14029"/>
                  </a:cubicBezTo>
                  <a:cubicBezTo>
                    <a:pt x="11693" y="21497"/>
                    <a:pt x="4225" y="31952"/>
                    <a:pt x="1237" y="42408"/>
                  </a:cubicBezTo>
                  <a:cubicBezTo>
                    <a:pt x="-1750" y="55850"/>
                    <a:pt x="1237" y="72281"/>
                    <a:pt x="4225" y="84229"/>
                  </a:cubicBezTo>
                  <a:cubicBezTo>
                    <a:pt x="5718" y="87217"/>
                    <a:pt x="7212" y="90204"/>
                    <a:pt x="8706" y="94685"/>
                  </a:cubicBezTo>
                  <a:cubicBezTo>
                    <a:pt x="8706" y="94685"/>
                    <a:pt x="10199" y="96179"/>
                    <a:pt x="10199" y="96179"/>
                  </a:cubicBezTo>
                  <a:cubicBezTo>
                    <a:pt x="11693" y="99166"/>
                    <a:pt x="13186" y="102153"/>
                    <a:pt x="14680" y="106634"/>
                  </a:cubicBezTo>
                  <a:cubicBezTo>
                    <a:pt x="17668" y="114102"/>
                    <a:pt x="20655" y="120077"/>
                    <a:pt x="26629" y="124558"/>
                  </a:cubicBezTo>
                  <a:cubicBezTo>
                    <a:pt x="31110" y="129038"/>
                    <a:pt x="37085" y="132026"/>
                    <a:pt x="43059" y="133520"/>
                  </a:cubicBezTo>
                  <a:cubicBezTo>
                    <a:pt x="46046" y="135013"/>
                    <a:pt x="49034" y="135013"/>
                    <a:pt x="52021" y="135013"/>
                  </a:cubicBezTo>
                  <a:cubicBezTo>
                    <a:pt x="43059" y="115596"/>
                    <a:pt x="38578" y="99166"/>
                    <a:pt x="38578" y="96179"/>
                  </a:cubicBezTo>
                  <a:cubicBezTo>
                    <a:pt x="37085" y="93191"/>
                    <a:pt x="37085" y="78255"/>
                    <a:pt x="35591" y="72281"/>
                  </a:cubicBezTo>
                  <a:cubicBezTo>
                    <a:pt x="49034" y="14029"/>
                    <a:pt x="114754" y="97672"/>
                    <a:pt x="113260" y="36433"/>
                  </a:cubicBezTo>
                  <a:cubicBezTo>
                    <a:pt x="113260" y="37927"/>
                    <a:pt x="117741" y="12535"/>
                    <a:pt x="84881" y="3573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0" name="任意多边形: 形状 9859"/>
            <p:cNvSpPr/>
            <p:nvPr/>
          </p:nvSpPr>
          <p:spPr>
            <a:xfrm>
              <a:off x="8155652" y="5242308"/>
              <a:ext cx="14936" cy="14936"/>
            </a:xfrm>
            <a:custGeom>
              <a:avLst/>
              <a:gdLst>
                <a:gd name="connsiteX0" fmla="*/ 3651 w 14936"/>
                <a:gd name="connsiteY0" fmla="*/ 407 h 14936"/>
                <a:gd name="connsiteX1" fmla="*/ 12613 w 14936"/>
                <a:gd name="connsiteY1" fmla="*/ 3394 h 14936"/>
                <a:gd name="connsiteX2" fmla="*/ 17093 w 14936"/>
                <a:gd name="connsiteY2" fmla="*/ 12356 h 14936"/>
                <a:gd name="connsiteX3" fmla="*/ 18587 w 14936"/>
                <a:gd name="connsiteY3" fmla="*/ 24305 h 14936"/>
                <a:gd name="connsiteX4" fmla="*/ 17093 w 14936"/>
                <a:gd name="connsiteY4" fmla="*/ 27292 h 14936"/>
                <a:gd name="connsiteX5" fmla="*/ 11119 w 14936"/>
                <a:gd name="connsiteY5" fmla="*/ 27292 h 14936"/>
                <a:gd name="connsiteX6" fmla="*/ 6638 w 14936"/>
                <a:gd name="connsiteY6" fmla="*/ 22812 h 14936"/>
                <a:gd name="connsiteX7" fmla="*/ 664 w 14936"/>
                <a:gd name="connsiteY7" fmla="*/ 9369 h 14936"/>
                <a:gd name="connsiteX8" fmla="*/ 664 w 14936"/>
                <a:gd name="connsiteY8" fmla="*/ 3394 h 14936"/>
                <a:gd name="connsiteX9" fmla="*/ 3651 w 14936"/>
                <a:gd name="connsiteY9" fmla="*/ 407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14936">
                  <a:moveTo>
                    <a:pt x="3651" y="407"/>
                  </a:moveTo>
                  <a:cubicBezTo>
                    <a:pt x="6638" y="-1087"/>
                    <a:pt x="11119" y="1900"/>
                    <a:pt x="12613" y="3394"/>
                  </a:cubicBezTo>
                  <a:cubicBezTo>
                    <a:pt x="15600" y="6382"/>
                    <a:pt x="15600" y="9369"/>
                    <a:pt x="17093" y="12356"/>
                  </a:cubicBezTo>
                  <a:cubicBezTo>
                    <a:pt x="18587" y="16837"/>
                    <a:pt x="20081" y="19824"/>
                    <a:pt x="18587" y="24305"/>
                  </a:cubicBezTo>
                  <a:cubicBezTo>
                    <a:pt x="18587" y="25799"/>
                    <a:pt x="17093" y="27292"/>
                    <a:pt x="17093" y="27292"/>
                  </a:cubicBezTo>
                  <a:cubicBezTo>
                    <a:pt x="15600" y="28786"/>
                    <a:pt x="12613" y="28786"/>
                    <a:pt x="11119" y="27292"/>
                  </a:cubicBezTo>
                  <a:cubicBezTo>
                    <a:pt x="9625" y="25799"/>
                    <a:pt x="8132" y="24305"/>
                    <a:pt x="6638" y="22812"/>
                  </a:cubicBezTo>
                  <a:cubicBezTo>
                    <a:pt x="3651" y="18330"/>
                    <a:pt x="2157" y="13850"/>
                    <a:pt x="664" y="9369"/>
                  </a:cubicBezTo>
                  <a:cubicBezTo>
                    <a:pt x="664" y="7875"/>
                    <a:pt x="-830" y="4888"/>
                    <a:pt x="664" y="3394"/>
                  </a:cubicBezTo>
                  <a:cubicBezTo>
                    <a:pt x="664" y="3394"/>
                    <a:pt x="2157" y="407"/>
                    <a:pt x="3651" y="407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1" name="任意多边形: 形状 9860"/>
            <p:cNvSpPr/>
            <p:nvPr/>
          </p:nvSpPr>
          <p:spPr>
            <a:xfrm>
              <a:off x="8102545" y="5451824"/>
              <a:ext cx="29873" cy="134427"/>
            </a:xfrm>
            <a:custGeom>
              <a:avLst/>
              <a:gdLst>
                <a:gd name="connsiteX0" fmla="*/ 25392 w 29872"/>
                <a:gd name="connsiteY0" fmla="*/ 144882 h 134427"/>
                <a:gd name="connsiteX1" fmla="*/ 4481 w 29872"/>
                <a:gd name="connsiteY1" fmla="*/ 141895 h 134427"/>
                <a:gd name="connsiteX2" fmla="*/ 0 w 29872"/>
                <a:gd name="connsiteY2" fmla="*/ 20911 h 134427"/>
                <a:gd name="connsiteX3" fmla="*/ 19417 w 29872"/>
                <a:gd name="connsiteY3" fmla="*/ 0 h 134427"/>
                <a:gd name="connsiteX4" fmla="*/ 19417 w 29872"/>
                <a:gd name="connsiteY4" fmla="*/ 0 h 134427"/>
                <a:gd name="connsiteX5" fmla="*/ 40328 w 29872"/>
                <a:gd name="connsiteY5" fmla="*/ 19417 h 134427"/>
                <a:gd name="connsiteX6" fmla="*/ 25392 w 29872"/>
                <a:gd name="connsiteY6" fmla="*/ 144882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72" h="134427">
                  <a:moveTo>
                    <a:pt x="25392" y="144882"/>
                  </a:moveTo>
                  <a:lnTo>
                    <a:pt x="4481" y="141895"/>
                  </a:lnTo>
                  <a:lnTo>
                    <a:pt x="0" y="20911"/>
                  </a:lnTo>
                  <a:cubicBezTo>
                    <a:pt x="0" y="10455"/>
                    <a:pt x="8962" y="1493"/>
                    <a:pt x="19417" y="0"/>
                  </a:cubicBezTo>
                  <a:lnTo>
                    <a:pt x="19417" y="0"/>
                  </a:lnTo>
                  <a:cubicBezTo>
                    <a:pt x="29873" y="0"/>
                    <a:pt x="38835" y="8961"/>
                    <a:pt x="40328" y="19417"/>
                  </a:cubicBezTo>
                  <a:lnTo>
                    <a:pt x="25392" y="144882"/>
                  </a:ln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2" name="任意多边形: 形状 9861"/>
            <p:cNvSpPr/>
            <p:nvPr/>
          </p:nvSpPr>
          <p:spPr>
            <a:xfrm>
              <a:off x="8087609" y="5588583"/>
              <a:ext cx="29873" cy="74682"/>
            </a:xfrm>
            <a:custGeom>
              <a:avLst/>
              <a:gdLst>
                <a:gd name="connsiteX0" fmla="*/ 40328 w 29872"/>
                <a:gd name="connsiteY0" fmla="*/ 8124 h 74681"/>
                <a:gd name="connsiteX1" fmla="*/ 19417 w 29872"/>
                <a:gd name="connsiteY1" fmla="*/ 6630 h 74681"/>
                <a:gd name="connsiteX2" fmla="*/ 5974 w 29872"/>
                <a:gd name="connsiteY2" fmla="*/ 32022 h 74681"/>
                <a:gd name="connsiteX3" fmla="*/ 2987 w 29872"/>
                <a:gd name="connsiteY3" fmla="*/ 43971 h 74681"/>
                <a:gd name="connsiteX4" fmla="*/ 0 w 29872"/>
                <a:gd name="connsiteY4" fmla="*/ 61895 h 74681"/>
                <a:gd name="connsiteX5" fmla="*/ 0 w 29872"/>
                <a:gd name="connsiteY5" fmla="*/ 67869 h 74681"/>
                <a:gd name="connsiteX6" fmla="*/ 1494 w 29872"/>
                <a:gd name="connsiteY6" fmla="*/ 72350 h 74681"/>
                <a:gd name="connsiteX7" fmla="*/ 14936 w 29872"/>
                <a:gd name="connsiteY7" fmla="*/ 85793 h 74681"/>
                <a:gd name="connsiteX8" fmla="*/ 22405 w 29872"/>
                <a:gd name="connsiteY8" fmla="*/ 69363 h 74681"/>
                <a:gd name="connsiteX9" fmla="*/ 28379 w 29872"/>
                <a:gd name="connsiteY9" fmla="*/ 52933 h 74681"/>
                <a:gd name="connsiteX10" fmla="*/ 37341 w 29872"/>
                <a:gd name="connsiteY10" fmla="*/ 33516 h 74681"/>
                <a:gd name="connsiteX11" fmla="*/ 38835 w 29872"/>
                <a:gd name="connsiteY11" fmla="*/ 23060 h 74681"/>
                <a:gd name="connsiteX12" fmla="*/ 40328 w 29872"/>
                <a:gd name="connsiteY12" fmla="*/ 8124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72" h="74681">
                  <a:moveTo>
                    <a:pt x="40328" y="8124"/>
                  </a:moveTo>
                  <a:cubicBezTo>
                    <a:pt x="38835" y="-838"/>
                    <a:pt x="22405" y="-3825"/>
                    <a:pt x="19417" y="6630"/>
                  </a:cubicBezTo>
                  <a:cubicBezTo>
                    <a:pt x="16430" y="15592"/>
                    <a:pt x="8962" y="23060"/>
                    <a:pt x="5974" y="32022"/>
                  </a:cubicBezTo>
                  <a:cubicBezTo>
                    <a:pt x="4481" y="36503"/>
                    <a:pt x="4481" y="39490"/>
                    <a:pt x="2987" y="43971"/>
                  </a:cubicBezTo>
                  <a:cubicBezTo>
                    <a:pt x="1494" y="49946"/>
                    <a:pt x="1494" y="55920"/>
                    <a:pt x="0" y="61895"/>
                  </a:cubicBezTo>
                  <a:cubicBezTo>
                    <a:pt x="0" y="63388"/>
                    <a:pt x="0" y="64882"/>
                    <a:pt x="0" y="67869"/>
                  </a:cubicBezTo>
                  <a:cubicBezTo>
                    <a:pt x="0" y="69363"/>
                    <a:pt x="1494" y="70857"/>
                    <a:pt x="1494" y="72350"/>
                  </a:cubicBezTo>
                  <a:cubicBezTo>
                    <a:pt x="2987" y="75337"/>
                    <a:pt x="10455" y="87287"/>
                    <a:pt x="14936" y="85793"/>
                  </a:cubicBezTo>
                  <a:cubicBezTo>
                    <a:pt x="17923" y="87287"/>
                    <a:pt x="20911" y="75337"/>
                    <a:pt x="22405" y="69363"/>
                  </a:cubicBezTo>
                  <a:cubicBezTo>
                    <a:pt x="23898" y="63388"/>
                    <a:pt x="25392" y="60401"/>
                    <a:pt x="28379" y="52933"/>
                  </a:cubicBezTo>
                  <a:cubicBezTo>
                    <a:pt x="29873" y="45465"/>
                    <a:pt x="35847" y="40984"/>
                    <a:pt x="37341" y="33516"/>
                  </a:cubicBezTo>
                  <a:cubicBezTo>
                    <a:pt x="38835" y="30528"/>
                    <a:pt x="38835" y="26048"/>
                    <a:pt x="38835" y="23060"/>
                  </a:cubicBezTo>
                  <a:cubicBezTo>
                    <a:pt x="40328" y="17086"/>
                    <a:pt x="41822" y="12605"/>
                    <a:pt x="40328" y="8124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3" name="任意多边形: 形状 9862"/>
            <p:cNvSpPr/>
            <p:nvPr/>
          </p:nvSpPr>
          <p:spPr>
            <a:xfrm>
              <a:off x="8120468" y="5596707"/>
              <a:ext cx="14936" cy="44809"/>
            </a:xfrm>
            <a:custGeom>
              <a:avLst/>
              <a:gdLst>
                <a:gd name="connsiteX0" fmla="*/ 14936 w 14936"/>
                <a:gd name="connsiteY0" fmla="*/ 40328 h 44809"/>
                <a:gd name="connsiteX1" fmla="*/ 14936 w 14936"/>
                <a:gd name="connsiteY1" fmla="*/ 58252 h 44809"/>
                <a:gd name="connsiteX2" fmla="*/ 8962 w 14936"/>
                <a:gd name="connsiteY2" fmla="*/ 56758 h 44809"/>
                <a:gd name="connsiteX3" fmla="*/ 7468 w 14936"/>
                <a:gd name="connsiteY3" fmla="*/ 49290 h 44809"/>
                <a:gd name="connsiteX4" fmla="*/ 7468 w 14936"/>
                <a:gd name="connsiteY4" fmla="*/ 41822 h 44809"/>
                <a:gd name="connsiteX5" fmla="*/ 1494 w 14936"/>
                <a:gd name="connsiteY5" fmla="*/ 26886 h 44809"/>
                <a:gd name="connsiteX6" fmla="*/ 0 w 14936"/>
                <a:gd name="connsiteY6" fmla="*/ 11949 h 44809"/>
                <a:gd name="connsiteX7" fmla="*/ 1494 w 14936"/>
                <a:gd name="connsiteY7" fmla="*/ 2987 h 44809"/>
                <a:gd name="connsiteX8" fmla="*/ 8962 w 14936"/>
                <a:gd name="connsiteY8" fmla="*/ 0 h 44809"/>
                <a:gd name="connsiteX9" fmla="*/ 14936 w 14936"/>
                <a:gd name="connsiteY9" fmla="*/ 23898 h 44809"/>
                <a:gd name="connsiteX10" fmla="*/ 16430 w 14936"/>
                <a:gd name="connsiteY10" fmla="*/ 32860 h 44809"/>
                <a:gd name="connsiteX11" fmla="*/ 14936 w 14936"/>
                <a:gd name="connsiteY11" fmla="*/ 40328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936" h="44809">
                  <a:moveTo>
                    <a:pt x="14936" y="40328"/>
                  </a:moveTo>
                  <a:cubicBezTo>
                    <a:pt x="13443" y="46303"/>
                    <a:pt x="14936" y="52277"/>
                    <a:pt x="14936" y="58252"/>
                  </a:cubicBezTo>
                  <a:cubicBezTo>
                    <a:pt x="13443" y="59745"/>
                    <a:pt x="10456" y="58252"/>
                    <a:pt x="8962" y="56758"/>
                  </a:cubicBezTo>
                  <a:cubicBezTo>
                    <a:pt x="7468" y="55265"/>
                    <a:pt x="7468" y="52277"/>
                    <a:pt x="7468" y="49290"/>
                  </a:cubicBezTo>
                  <a:cubicBezTo>
                    <a:pt x="7468" y="46303"/>
                    <a:pt x="7468" y="44809"/>
                    <a:pt x="7468" y="41822"/>
                  </a:cubicBezTo>
                  <a:cubicBezTo>
                    <a:pt x="7468" y="35847"/>
                    <a:pt x="2987" y="31366"/>
                    <a:pt x="1494" y="26886"/>
                  </a:cubicBezTo>
                  <a:cubicBezTo>
                    <a:pt x="0" y="22405"/>
                    <a:pt x="0" y="16430"/>
                    <a:pt x="0" y="11949"/>
                  </a:cubicBezTo>
                  <a:cubicBezTo>
                    <a:pt x="0" y="8962"/>
                    <a:pt x="0" y="5974"/>
                    <a:pt x="1494" y="2987"/>
                  </a:cubicBezTo>
                  <a:cubicBezTo>
                    <a:pt x="2987" y="0"/>
                    <a:pt x="5975" y="1494"/>
                    <a:pt x="8962" y="0"/>
                  </a:cubicBezTo>
                  <a:cubicBezTo>
                    <a:pt x="11949" y="8962"/>
                    <a:pt x="11949" y="13443"/>
                    <a:pt x="14936" y="23898"/>
                  </a:cubicBezTo>
                  <a:cubicBezTo>
                    <a:pt x="16430" y="26886"/>
                    <a:pt x="16430" y="29873"/>
                    <a:pt x="16430" y="32860"/>
                  </a:cubicBezTo>
                  <a:cubicBezTo>
                    <a:pt x="14936" y="34354"/>
                    <a:pt x="14936" y="37341"/>
                    <a:pt x="14936" y="40328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4" name="任意多边形: 形状 9863"/>
            <p:cNvSpPr/>
            <p:nvPr/>
          </p:nvSpPr>
          <p:spPr>
            <a:xfrm>
              <a:off x="8102545" y="5362016"/>
              <a:ext cx="44809" cy="104554"/>
            </a:xfrm>
            <a:custGeom>
              <a:avLst/>
              <a:gdLst>
                <a:gd name="connsiteX0" fmla="*/ 38835 w 44809"/>
                <a:gd name="connsiteY0" fmla="*/ 190 h 104554"/>
                <a:gd name="connsiteX1" fmla="*/ 38835 w 44809"/>
                <a:gd name="connsiteY1" fmla="*/ 190 h 104554"/>
                <a:gd name="connsiteX2" fmla="*/ 14936 w 44809"/>
                <a:gd name="connsiteY2" fmla="*/ 16620 h 104554"/>
                <a:gd name="connsiteX3" fmla="*/ 0 w 44809"/>
                <a:gd name="connsiteY3" fmla="*/ 109225 h 104554"/>
                <a:gd name="connsiteX4" fmla="*/ 40328 w 44809"/>
                <a:gd name="connsiteY4" fmla="*/ 116694 h 104554"/>
                <a:gd name="connsiteX5" fmla="*/ 55264 w 44809"/>
                <a:gd name="connsiteY5" fmla="*/ 24088 h 104554"/>
                <a:gd name="connsiteX6" fmla="*/ 38835 w 44809"/>
                <a:gd name="connsiteY6" fmla="*/ 190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09" h="104554">
                  <a:moveTo>
                    <a:pt x="38835" y="190"/>
                  </a:moveTo>
                  <a:lnTo>
                    <a:pt x="38835" y="190"/>
                  </a:lnTo>
                  <a:cubicBezTo>
                    <a:pt x="26885" y="-1303"/>
                    <a:pt x="16430" y="6165"/>
                    <a:pt x="14936" y="16620"/>
                  </a:cubicBezTo>
                  <a:lnTo>
                    <a:pt x="0" y="109225"/>
                  </a:lnTo>
                  <a:cubicBezTo>
                    <a:pt x="10455" y="118187"/>
                    <a:pt x="25392" y="118187"/>
                    <a:pt x="40328" y="116694"/>
                  </a:cubicBezTo>
                  <a:lnTo>
                    <a:pt x="55264" y="24088"/>
                  </a:lnTo>
                  <a:cubicBezTo>
                    <a:pt x="56758" y="12139"/>
                    <a:pt x="49290" y="1684"/>
                    <a:pt x="38835" y="190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5" name="任意多边形: 形状 9864"/>
            <p:cNvSpPr/>
            <p:nvPr/>
          </p:nvSpPr>
          <p:spPr>
            <a:xfrm>
              <a:off x="8359216" y="3123622"/>
              <a:ext cx="44809" cy="44809"/>
            </a:xfrm>
            <a:custGeom>
              <a:avLst/>
              <a:gdLst>
                <a:gd name="connsiteX0" fmla="*/ 55498 w 44809"/>
                <a:gd name="connsiteY0" fmla="*/ 4108 h 44809"/>
                <a:gd name="connsiteX1" fmla="*/ 31600 w 44809"/>
                <a:gd name="connsiteY1" fmla="*/ 2614 h 44809"/>
                <a:gd name="connsiteX2" fmla="*/ 18158 w 44809"/>
                <a:gd name="connsiteY2" fmla="*/ 20537 h 44809"/>
                <a:gd name="connsiteX3" fmla="*/ 12183 w 44809"/>
                <a:gd name="connsiteY3" fmla="*/ 32487 h 44809"/>
                <a:gd name="connsiteX4" fmla="*/ 234 w 44809"/>
                <a:gd name="connsiteY4" fmla="*/ 44436 h 44809"/>
                <a:gd name="connsiteX5" fmla="*/ 9196 w 44809"/>
                <a:gd name="connsiteY5" fmla="*/ 50410 h 44809"/>
                <a:gd name="connsiteX6" fmla="*/ 22638 w 44809"/>
                <a:gd name="connsiteY6" fmla="*/ 39955 h 44809"/>
                <a:gd name="connsiteX7" fmla="*/ 36081 w 44809"/>
                <a:gd name="connsiteY7" fmla="*/ 35474 h 44809"/>
                <a:gd name="connsiteX8" fmla="*/ 45043 w 44809"/>
                <a:gd name="connsiteY8" fmla="*/ 22031 h 44809"/>
                <a:gd name="connsiteX9" fmla="*/ 55498 w 44809"/>
                <a:gd name="connsiteY9" fmla="*/ 4108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09" h="44809">
                  <a:moveTo>
                    <a:pt x="55498" y="4108"/>
                  </a:moveTo>
                  <a:cubicBezTo>
                    <a:pt x="48030" y="-1867"/>
                    <a:pt x="40562" y="-373"/>
                    <a:pt x="31600" y="2614"/>
                  </a:cubicBezTo>
                  <a:cubicBezTo>
                    <a:pt x="24132" y="5601"/>
                    <a:pt x="19651" y="13069"/>
                    <a:pt x="18158" y="20537"/>
                  </a:cubicBezTo>
                  <a:cubicBezTo>
                    <a:pt x="16664" y="25018"/>
                    <a:pt x="15170" y="29499"/>
                    <a:pt x="12183" y="32487"/>
                  </a:cubicBezTo>
                  <a:cubicBezTo>
                    <a:pt x="9196" y="36967"/>
                    <a:pt x="1728" y="39955"/>
                    <a:pt x="234" y="44436"/>
                  </a:cubicBezTo>
                  <a:cubicBezTo>
                    <a:pt x="-1259" y="50410"/>
                    <a:pt x="4715" y="53397"/>
                    <a:pt x="9196" y="50410"/>
                  </a:cubicBezTo>
                  <a:cubicBezTo>
                    <a:pt x="19651" y="45929"/>
                    <a:pt x="21145" y="41448"/>
                    <a:pt x="22638" y="39955"/>
                  </a:cubicBezTo>
                  <a:cubicBezTo>
                    <a:pt x="25626" y="36967"/>
                    <a:pt x="31600" y="36967"/>
                    <a:pt x="36081" y="35474"/>
                  </a:cubicBezTo>
                  <a:cubicBezTo>
                    <a:pt x="40562" y="32487"/>
                    <a:pt x="43550" y="26512"/>
                    <a:pt x="45043" y="22031"/>
                  </a:cubicBezTo>
                  <a:lnTo>
                    <a:pt x="55498" y="4108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6" name="任意多边形: 形状 9865"/>
            <p:cNvSpPr/>
            <p:nvPr/>
          </p:nvSpPr>
          <p:spPr>
            <a:xfrm>
              <a:off x="8372893" y="3126236"/>
              <a:ext cx="44809" cy="74682"/>
            </a:xfrm>
            <a:custGeom>
              <a:avLst/>
              <a:gdLst>
                <a:gd name="connsiteX0" fmla="*/ 35847 w 44809"/>
                <a:gd name="connsiteY0" fmla="*/ 70201 h 74681"/>
                <a:gd name="connsiteX1" fmla="*/ 25392 w 44809"/>
                <a:gd name="connsiteY1" fmla="*/ 82150 h 74681"/>
                <a:gd name="connsiteX2" fmla="*/ 11949 w 44809"/>
                <a:gd name="connsiteY2" fmla="*/ 85137 h 74681"/>
                <a:gd name="connsiteX3" fmla="*/ 1493 w 44809"/>
                <a:gd name="connsiteY3" fmla="*/ 76175 h 74681"/>
                <a:gd name="connsiteX4" fmla="*/ 0 w 44809"/>
                <a:gd name="connsiteY4" fmla="*/ 64226 h 74681"/>
                <a:gd name="connsiteX5" fmla="*/ 1493 w 44809"/>
                <a:gd name="connsiteY5" fmla="*/ 47796 h 74681"/>
                <a:gd name="connsiteX6" fmla="*/ 7468 w 44809"/>
                <a:gd name="connsiteY6" fmla="*/ 32860 h 74681"/>
                <a:gd name="connsiteX7" fmla="*/ 34353 w 44809"/>
                <a:gd name="connsiteY7" fmla="*/ 0 h 74681"/>
                <a:gd name="connsiteX8" fmla="*/ 49290 w 44809"/>
                <a:gd name="connsiteY8" fmla="*/ 16430 h 74681"/>
                <a:gd name="connsiteX9" fmla="*/ 46302 w 44809"/>
                <a:gd name="connsiteY9" fmla="*/ 38835 h 74681"/>
                <a:gd name="connsiteX10" fmla="*/ 41822 w 44809"/>
                <a:gd name="connsiteY10" fmla="*/ 58252 h 74681"/>
                <a:gd name="connsiteX11" fmla="*/ 35847 w 44809"/>
                <a:gd name="connsiteY11" fmla="*/ 7020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809" h="74681">
                  <a:moveTo>
                    <a:pt x="35847" y="70201"/>
                  </a:moveTo>
                  <a:cubicBezTo>
                    <a:pt x="35847" y="77669"/>
                    <a:pt x="31366" y="83644"/>
                    <a:pt x="25392" y="82150"/>
                  </a:cubicBezTo>
                  <a:cubicBezTo>
                    <a:pt x="23898" y="86631"/>
                    <a:pt x="16430" y="91112"/>
                    <a:pt x="11949" y="85137"/>
                  </a:cubicBezTo>
                  <a:cubicBezTo>
                    <a:pt x="8961" y="89618"/>
                    <a:pt x="1493" y="80656"/>
                    <a:pt x="1493" y="76175"/>
                  </a:cubicBezTo>
                  <a:cubicBezTo>
                    <a:pt x="1493" y="67214"/>
                    <a:pt x="0" y="67214"/>
                    <a:pt x="0" y="64226"/>
                  </a:cubicBezTo>
                  <a:cubicBezTo>
                    <a:pt x="0" y="58252"/>
                    <a:pt x="1493" y="52277"/>
                    <a:pt x="1493" y="47796"/>
                  </a:cubicBezTo>
                  <a:cubicBezTo>
                    <a:pt x="2987" y="41822"/>
                    <a:pt x="4481" y="37341"/>
                    <a:pt x="7468" y="32860"/>
                  </a:cubicBezTo>
                  <a:cubicBezTo>
                    <a:pt x="14936" y="20911"/>
                    <a:pt x="20911" y="5974"/>
                    <a:pt x="34353" y="0"/>
                  </a:cubicBezTo>
                  <a:cubicBezTo>
                    <a:pt x="40328" y="2987"/>
                    <a:pt x="46302" y="5974"/>
                    <a:pt x="49290" y="16430"/>
                  </a:cubicBezTo>
                  <a:cubicBezTo>
                    <a:pt x="52277" y="25392"/>
                    <a:pt x="49290" y="31366"/>
                    <a:pt x="46302" y="38835"/>
                  </a:cubicBezTo>
                  <a:cubicBezTo>
                    <a:pt x="43315" y="46303"/>
                    <a:pt x="41822" y="49290"/>
                    <a:pt x="41822" y="58252"/>
                  </a:cubicBezTo>
                  <a:cubicBezTo>
                    <a:pt x="44809" y="70201"/>
                    <a:pt x="37341" y="73188"/>
                    <a:pt x="35847" y="70201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7" name="任意多边形: 形状 9866"/>
            <p:cNvSpPr/>
            <p:nvPr/>
          </p:nvSpPr>
          <p:spPr>
            <a:xfrm>
              <a:off x="8378361" y="2970898"/>
              <a:ext cx="74682" cy="164300"/>
            </a:xfrm>
            <a:custGeom>
              <a:avLst/>
              <a:gdLst>
                <a:gd name="connsiteX0" fmla="*/ 25898 w 74681"/>
                <a:gd name="connsiteY0" fmla="*/ 177742 h 164299"/>
                <a:gd name="connsiteX1" fmla="*/ 43822 w 74681"/>
                <a:gd name="connsiteY1" fmla="*/ 174755 h 164299"/>
                <a:gd name="connsiteX2" fmla="*/ 61746 w 74681"/>
                <a:gd name="connsiteY2" fmla="*/ 150857 h 164299"/>
                <a:gd name="connsiteX3" fmla="*/ 69214 w 74681"/>
                <a:gd name="connsiteY3" fmla="*/ 100073 h 164299"/>
                <a:gd name="connsiteX4" fmla="*/ 72201 w 74681"/>
                <a:gd name="connsiteY4" fmla="*/ 80656 h 164299"/>
                <a:gd name="connsiteX5" fmla="*/ 78175 w 74681"/>
                <a:gd name="connsiteY5" fmla="*/ 34353 h 164299"/>
                <a:gd name="connsiteX6" fmla="*/ 51290 w 74681"/>
                <a:gd name="connsiteY6" fmla="*/ 0 h 164299"/>
                <a:gd name="connsiteX7" fmla="*/ 39341 w 74681"/>
                <a:gd name="connsiteY7" fmla="*/ 1493 h 164299"/>
                <a:gd name="connsiteX8" fmla="*/ 33366 w 74681"/>
                <a:gd name="connsiteY8" fmla="*/ 2987 h 164299"/>
                <a:gd name="connsiteX9" fmla="*/ 30379 w 74681"/>
                <a:gd name="connsiteY9" fmla="*/ 4481 h 164299"/>
                <a:gd name="connsiteX10" fmla="*/ 15443 w 74681"/>
                <a:gd name="connsiteY10" fmla="*/ 26885 h 164299"/>
                <a:gd name="connsiteX11" fmla="*/ 506 w 74681"/>
                <a:gd name="connsiteY11" fmla="*/ 144882 h 164299"/>
                <a:gd name="connsiteX12" fmla="*/ 25898 w 74681"/>
                <a:gd name="connsiteY12" fmla="*/ 177742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64299">
                  <a:moveTo>
                    <a:pt x="25898" y="177742"/>
                  </a:moveTo>
                  <a:cubicBezTo>
                    <a:pt x="31873" y="179236"/>
                    <a:pt x="37847" y="177742"/>
                    <a:pt x="43822" y="174755"/>
                  </a:cubicBezTo>
                  <a:cubicBezTo>
                    <a:pt x="52784" y="170274"/>
                    <a:pt x="60252" y="161312"/>
                    <a:pt x="61746" y="150857"/>
                  </a:cubicBezTo>
                  <a:lnTo>
                    <a:pt x="69214" y="100073"/>
                  </a:lnTo>
                  <a:lnTo>
                    <a:pt x="72201" y="80656"/>
                  </a:lnTo>
                  <a:lnTo>
                    <a:pt x="78175" y="34353"/>
                  </a:lnTo>
                  <a:cubicBezTo>
                    <a:pt x="79669" y="17924"/>
                    <a:pt x="69214" y="1493"/>
                    <a:pt x="51290" y="0"/>
                  </a:cubicBezTo>
                  <a:cubicBezTo>
                    <a:pt x="46809" y="0"/>
                    <a:pt x="43822" y="0"/>
                    <a:pt x="39341" y="1493"/>
                  </a:cubicBezTo>
                  <a:cubicBezTo>
                    <a:pt x="37847" y="1493"/>
                    <a:pt x="36354" y="2987"/>
                    <a:pt x="33366" y="2987"/>
                  </a:cubicBezTo>
                  <a:cubicBezTo>
                    <a:pt x="31873" y="2987"/>
                    <a:pt x="31873" y="4481"/>
                    <a:pt x="30379" y="4481"/>
                  </a:cubicBezTo>
                  <a:cubicBezTo>
                    <a:pt x="22911" y="8962"/>
                    <a:pt x="16937" y="16430"/>
                    <a:pt x="15443" y="26885"/>
                  </a:cubicBezTo>
                  <a:lnTo>
                    <a:pt x="506" y="144882"/>
                  </a:lnTo>
                  <a:cubicBezTo>
                    <a:pt x="-2481" y="159819"/>
                    <a:pt x="7975" y="174755"/>
                    <a:pt x="25898" y="177742"/>
                  </a:cubicBezTo>
                  <a:close/>
                </a:path>
              </a:pathLst>
            </a:custGeom>
            <a:solidFill>
              <a:srgbClr val="1934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8" name="任意多边形: 形状 9867"/>
            <p:cNvSpPr/>
            <p:nvPr/>
          </p:nvSpPr>
          <p:spPr>
            <a:xfrm>
              <a:off x="8466245" y="3606813"/>
              <a:ext cx="89618" cy="44809"/>
            </a:xfrm>
            <a:custGeom>
              <a:avLst/>
              <a:gdLst>
                <a:gd name="connsiteX0" fmla="*/ 93352 w 89618"/>
                <a:gd name="connsiteY0" fmla="*/ 3361 h 44809"/>
                <a:gd name="connsiteX1" fmla="*/ 93352 w 89618"/>
                <a:gd name="connsiteY1" fmla="*/ 22778 h 44809"/>
                <a:gd name="connsiteX2" fmla="*/ 41075 w 89618"/>
                <a:gd name="connsiteY2" fmla="*/ 52651 h 44809"/>
                <a:gd name="connsiteX3" fmla="*/ 6721 w 89618"/>
                <a:gd name="connsiteY3" fmla="*/ 52651 h 44809"/>
                <a:gd name="connsiteX4" fmla="*/ 6721 w 89618"/>
                <a:gd name="connsiteY4" fmla="*/ 52651 h 44809"/>
                <a:gd name="connsiteX5" fmla="*/ 6721 w 89618"/>
                <a:gd name="connsiteY5" fmla="*/ 33233 h 44809"/>
                <a:gd name="connsiteX6" fmla="*/ 58999 w 89618"/>
                <a:gd name="connsiteY6" fmla="*/ 3361 h 44809"/>
                <a:gd name="connsiteX7" fmla="*/ 93352 w 89618"/>
                <a:gd name="connsiteY7" fmla="*/ 3361 h 44809"/>
                <a:gd name="connsiteX8" fmla="*/ 93352 w 89618"/>
                <a:gd name="connsiteY8" fmla="*/ 336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93352" y="3361"/>
                  </a:moveTo>
                  <a:cubicBezTo>
                    <a:pt x="102314" y="9335"/>
                    <a:pt x="102314" y="16803"/>
                    <a:pt x="93352" y="22778"/>
                  </a:cubicBezTo>
                  <a:lnTo>
                    <a:pt x="41075" y="52651"/>
                  </a:lnTo>
                  <a:cubicBezTo>
                    <a:pt x="32113" y="58625"/>
                    <a:pt x="17177" y="58625"/>
                    <a:pt x="6721" y="52651"/>
                  </a:cubicBezTo>
                  <a:lnTo>
                    <a:pt x="6721" y="52651"/>
                  </a:lnTo>
                  <a:cubicBezTo>
                    <a:pt x="-2240" y="46676"/>
                    <a:pt x="-2240" y="39208"/>
                    <a:pt x="6721" y="33233"/>
                  </a:cubicBezTo>
                  <a:lnTo>
                    <a:pt x="58999" y="3361"/>
                  </a:lnTo>
                  <a:cubicBezTo>
                    <a:pt x="69454" y="-1120"/>
                    <a:pt x="84391" y="-1120"/>
                    <a:pt x="93352" y="3361"/>
                  </a:cubicBezTo>
                  <a:lnTo>
                    <a:pt x="93352" y="3361"/>
                  </a:ln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9" name="任意多边形: 形状 9868"/>
            <p:cNvSpPr/>
            <p:nvPr/>
          </p:nvSpPr>
          <p:spPr>
            <a:xfrm>
              <a:off x="8466639" y="3577313"/>
              <a:ext cx="89618" cy="74682"/>
            </a:xfrm>
            <a:custGeom>
              <a:avLst/>
              <a:gdLst>
                <a:gd name="connsiteX0" fmla="*/ 43668 w 89618"/>
                <a:gd name="connsiteY0" fmla="*/ 2987 h 74681"/>
                <a:gd name="connsiteX1" fmla="*/ 82502 w 89618"/>
                <a:gd name="connsiteY1" fmla="*/ 0 h 74681"/>
                <a:gd name="connsiteX2" fmla="*/ 100426 w 89618"/>
                <a:gd name="connsiteY2" fmla="*/ 43316 h 74681"/>
                <a:gd name="connsiteX3" fmla="*/ 353 w 89618"/>
                <a:gd name="connsiteY3" fmla="*/ 76175 h 74681"/>
                <a:gd name="connsiteX4" fmla="*/ 33213 w 89618"/>
                <a:gd name="connsiteY4" fmla="*/ 29873 h 74681"/>
                <a:gd name="connsiteX5" fmla="*/ 43668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43668" y="2987"/>
                  </a:moveTo>
                  <a:lnTo>
                    <a:pt x="82502" y="0"/>
                  </a:lnTo>
                  <a:cubicBezTo>
                    <a:pt x="91464" y="11949"/>
                    <a:pt x="97439" y="23898"/>
                    <a:pt x="100426" y="43316"/>
                  </a:cubicBezTo>
                  <a:lnTo>
                    <a:pt x="353" y="76175"/>
                  </a:lnTo>
                  <a:cubicBezTo>
                    <a:pt x="-2635" y="62733"/>
                    <a:pt x="13795" y="43316"/>
                    <a:pt x="33213" y="29873"/>
                  </a:cubicBezTo>
                  <a:cubicBezTo>
                    <a:pt x="39187" y="22405"/>
                    <a:pt x="36200" y="10455"/>
                    <a:pt x="43668" y="2987"/>
                  </a:cubicBez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0" name="任意多边形: 形状 9869"/>
            <p:cNvSpPr/>
            <p:nvPr/>
          </p:nvSpPr>
          <p:spPr>
            <a:xfrm>
              <a:off x="8361690" y="3538479"/>
              <a:ext cx="89618" cy="44809"/>
            </a:xfrm>
            <a:custGeom>
              <a:avLst/>
              <a:gdLst>
                <a:gd name="connsiteX0" fmla="*/ 93352 w 89618"/>
                <a:gd name="connsiteY0" fmla="*/ 4481 h 44809"/>
                <a:gd name="connsiteX1" fmla="*/ 93352 w 89618"/>
                <a:gd name="connsiteY1" fmla="*/ 23898 h 44809"/>
                <a:gd name="connsiteX2" fmla="*/ 41075 w 89618"/>
                <a:gd name="connsiteY2" fmla="*/ 53771 h 44809"/>
                <a:gd name="connsiteX3" fmla="*/ 6721 w 89618"/>
                <a:gd name="connsiteY3" fmla="*/ 53771 h 44809"/>
                <a:gd name="connsiteX4" fmla="*/ 6721 w 89618"/>
                <a:gd name="connsiteY4" fmla="*/ 53771 h 44809"/>
                <a:gd name="connsiteX5" fmla="*/ 6721 w 89618"/>
                <a:gd name="connsiteY5" fmla="*/ 34354 h 44809"/>
                <a:gd name="connsiteX6" fmla="*/ 58999 w 89618"/>
                <a:gd name="connsiteY6" fmla="*/ 4481 h 44809"/>
                <a:gd name="connsiteX7" fmla="*/ 93352 w 89618"/>
                <a:gd name="connsiteY7" fmla="*/ 4481 h 44809"/>
                <a:gd name="connsiteX8" fmla="*/ 93352 w 89618"/>
                <a:gd name="connsiteY8" fmla="*/ 448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93352" y="4481"/>
                  </a:moveTo>
                  <a:cubicBezTo>
                    <a:pt x="102314" y="10456"/>
                    <a:pt x="102314" y="17924"/>
                    <a:pt x="93352" y="23898"/>
                  </a:cubicBezTo>
                  <a:lnTo>
                    <a:pt x="41075" y="53771"/>
                  </a:lnTo>
                  <a:cubicBezTo>
                    <a:pt x="32113" y="59745"/>
                    <a:pt x="17177" y="59745"/>
                    <a:pt x="6721" y="53771"/>
                  </a:cubicBezTo>
                  <a:lnTo>
                    <a:pt x="6721" y="53771"/>
                  </a:lnTo>
                  <a:cubicBezTo>
                    <a:pt x="-2240" y="47796"/>
                    <a:pt x="-2240" y="40328"/>
                    <a:pt x="6721" y="34354"/>
                  </a:cubicBezTo>
                  <a:lnTo>
                    <a:pt x="58999" y="4481"/>
                  </a:lnTo>
                  <a:cubicBezTo>
                    <a:pt x="67961" y="-1494"/>
                    <a:pt x="84391" y="-1494"/>
                    <a:pt x="93352" y="4481"/>
                  </a:cubicBezTo>
                  <a:lnTo>
                    <a:pt x="93352" y="4481"/>
                  </a:ln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1" name="任意多边形: 形状 9870"/>
            <p:cNvSpPr/>
            <p:nvPr/>
          </p:nvSpPr>
          <p:spPr>
            <a:xfrm>
              <a:off x="8360591" y="3508606"/>
              <a:ext cx="89618" cy="74682"/>
            </a:xfrm>
            <a:custGeom>
              <a:avLst/>
              <a:gdLst>
                <a:gd name="connsiteX0" fmla="*/ 43668 w 89618"/>
                <a:gd name="connsiteY0" fmla="*/ 2987 h 74681"/>
                <a:gd name="connsiteX1" fmla="*/ 82502 w 89618"/>
                <a:gd name="connsiteY1" fmla="*/ 0 h 74681"/>
                <a:gd name="connsiteX2" fmla="*/ 100426 w 89618"/>
                <a:gd name="connsiteY2" fmla="*/ 43315 h 74681"/>
                <a:gd name="connsiteX3" fmla="*/ 353 w 89618"/>
                <a:gd name="connsiteY3" fmla="*/ 76175 h 74681"/>
                <a:gd name="connsiteX4" fmla="*/ 33213 w 89618"/>
                <a:gd name="connsiteY4" fmla="*/ 29873 h 74681"/>
                <a:gd name="connsiteX5" fmla="*/ 43668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43668" y="2987"/>
                  </a:moveTo>
                  <a:lnTo>
                    <a:pt x="82502" y="0"/>
                  </a:lnTo>
                  <a:cubicBezTo>
                    <a:pt x="91464" y="11949"/>
                    <a:pt x="97439" y="23898"/>
                    <a:pt x="100426" y="43315"/>
                  </a:cubicBezTo>
                  <a:lnTo>
                    <a:pt x="353" y="76175"/>
                  </a:lnTo>
                  <a:cubicBezTo>
                    <a:pt x="-2634" y="62733"/>
                    <a:pt x="13795" y="43315"/>
                    <a:pt x="33213" y="29873"/>
                  </a:cubicBezTo>
                  <a:cubicBezTo>
                    <a:pt x="40681" y="22405"/>
                    <a:pt x="37693" y="10455"/>
                    <a:pt x="43668" y="2987"/>
                  </a:cubicBez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2" name="任意多边形: 形状 9871"/>
            <p:cNvSpPr/>
            <p:nvPr/>
          </p:nvSpPr>
          <p:spPr>
            <a:xfrm>
              <a:off x="8392310" y="3117274"/>
              <a:ext cx="104554" cy="224045"/>
            </a:xfrm>
            <a:custGeom>
              <a:avLst/>
              <a:gdLst>
                <a:gd name="connsiteX0" fmla="*/ 0 w 104554"/>
                <a:gd name="connsiteY0" fmla="*/ 216577 h 224045"/>
                <a:gd name="connsiteX1" fmla="*/ 82150 w 104554"/>
                <a:gd name="connsiteY1" fmla="*/ 227033 h 224045"/>
                <a:gd name="connsiteX2" fmla="*/ 85137 w 104554"/>
                <a:gd name="connsiteY2" fmla="*/ 209109 h 224045"/>
                <a:gd name="connsiteX3" fmla="*/ 92606 w 104554"/>
                <a:gd name="connsiteY3" fmla="*/ 155338 h 224045"/>
                <a:gd name="connsiteX4" fmla="*/ 95593 w 104554"/>
                <a:gd name="connsiteY4" fmla="*/ 135921 h 224045"/>
                <a:gd name="connsiteX5" fmla="*/ 95593 w 104554"/>
                <a:gd name="connsiteY5" fmla="*/ 131440 h 224045"/>
                <a:gd name="connsiteX6" fmla="*/ 98580 w 104554"/>
                <a:gd name="connsiteY6" fmla="*/ 109035 h 224045"/>
                <a:gd name="connsiteX7" fmla="*/ 106048 w 104554"/>
                <a:gd name="connsiteY7" fmla="*/ 53771 h 224045"/>
                <a:gd name="connsiteX8" fmla="*/ 112023 w 104554"/>
                <a:gd name="connsiteY8" fmla="*/ 10456 h 224045"/>
                <a:gd name="connsiteX9" fmla="*/ 29873 w 104554"/>
                <a:gd name="connsiteY9" fmla="*/ 0 h 224045"/>
                <a:gd name="connsiteX10" fmla="*/ 17924 w 104554"/>
                <a:gd name="connsiteY10" fmla="*/ 86631 h 224045"/>
                <a:gd name="connsiteX11" fmla="*/ 14936 w 104554"/>
                <a:gd name="connsiteY11" fmla="*/ 110529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554" h="224045">
                  <a:moveTo>
                    <a:pt x="0" y="216577"/>
                  </a:moveTo>
                  <a:lnTo>
                    <a:pt x="82150" y="227033"/>
                  </a:lnTo>
                  <a:lnTo>
                    <a:pt x="85137" y="209109"/>
                  </a:lnTo>
                  <a:lnTo>
                    <a:pt x="92606" y="155338"/>
                  </a:lnTo>
                  <a:lnTo>
                    <a:pt x="95593" y="135921"/>
                  </a:lnTo>
                  <a:lnTo>
                    <a:pt x="95593" y="131440"/>
                  </a:lnTo>
                  <a:lnTo>
                    <a:pt x="98580" y="109035"/>
                  </a:lnTo>
                  <a:lnTo>
                    <a:pt x="106048" y="53771"/>
                  </a:lnTo>
                  <a:lnTo>
                    <a:pt x="112023" y="10456"/>
                  </a:lnTo>
                  <a:lnTo>
                    <a:pt x="29873" y="0"/>
                  </a:lnTo>
                  <a:lnTo>
                    <a:pt x="17924" y="86631"/>
                  </a:lnTo>
                  <a:lnTo>
                    <a:pt x="14936" y="110529"/>
                  </a:lnTo>
                  <a:close/>
                </a:path>
              </a:pathLst>
            </a:custGeom>
            <a:solidFill>
              <a:srgbClr val="A89B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3" name="任意多边形: 形状 9872"/>
            <p:cNvSpPr/>
            <p:nvPr/>
          </p:nvSpPr>
          <p:spPr>
            <a:xfrm>
              <a:off x="8462511" y="3209879"/>
              <a:ext cx="14936" cy="29873"/>
            </a:xfrm>
            <a:custGeom>
              <a:avLst/>
              <a:gdLst>
                <a:gd name="connsiteX0" fmla="*/ 0 w 14936"/>
                <a:gd name="connsiteY0" fmla="*/ 0 h 29872"/>
                <a:gd name="connsiteX1" fmla="*/ 7468 w 14936"/>
                <a:gd name="connsiteY1" fmla="*/ 31366 h 29872"/>
                <a:gd name="connsiteX2" fmla="*/ 25392 w 14936"/>
                <a:gd name="connsiteY2" fmla="*/ 40328 h 29872"/>
                <a:gd name="connsiteX3" fmla="*/ 28379 w 14936"/>
                <a:gd name="connsiteY3" fmla="*/ 17924 h 29872"/>
                <a:gd name="connsiteX4" fmla="*/ 25392 w 14936"/>
                <a:gd name="connsiteY4" fmla="*/ 14936 h 29872"/>
                <a:gd name="connsiteX5" fmla="*/ 0 w 14936"/>
                <a:gd name="connsiteY5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 h="29872">
                  <a:moveTo>
                    <a:pt x="0" y="0"/>
                  </a:moveTo>
                  <a:cubicBezTo>
                    <a:pt x="4481" y="10455"/>
                    <a:pt x="5974" y="20911"/>
                    <a:pt x="7468" y="31366"/>
                  </a:cubicBezTo>
                  <a:cubicBezTo>
                    <a:pt x="13443" y="34353"/>
                    <a:pt x="19417" y="37341"/>
                    <a:pt x="25392" y="40328"/>
                  </a:cubicBezTo>
                  <a:lnTo>
                    <a:pt x="28379" y="17924"/>
                  </a:lnTo>
                  <a:cubicBezTo>
                    <a:pt x="26885" y="16430"/>
                    <a:pt x="25392" y="16430"/>
                    <a:pt x="25392" y="14936"/>
                  </a:cubicBezTo>
                  <a:cubicBezTo>
                    <a:pt x="16430" y="8962"/>
                    <a:pt x="8961" y="4481"/>
                    <a:pt x="0" y="0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4" name="任意多边形: 形状 9873"/>
            <p:cNvSpPr/>
            <p:nvPr/>
          </p:nvSpPr>
          <p:spPr>
            <a:xfrm>
              <a:off x="8384969" y="3499458"/>
              <a:ext cx="74682" cy="44809"/>
            </a:xfrm>
            <a:custGeom>
              <a:avLst/>
              <a:gdLst>
                <a:gd name="connsiteX0" fmla="*/ 13316 w 74681"/>
                <a:gd name="connsiteY0" fmla="*/ 4668 h 44809"/>
                <a:gd name="connsiteX1" fmla="*/ 10329 w 74681"/>
                <a:gd name="connsiteY1" fmla="*/ 37528 h 44809"/>
                <a:gd name="connsiteX2" fmla="*/ 68580 w 74681"/>
                <a:gd name="connsiteY2" fmla="*/ 42009 h 44809"/>
                <a:gd name="connsiteX3" fmla="*/ 71567 w 74681"/>
                <a:gd name="connsiteY3" fmla="*/ 9149 h 44809"/>
                <a:gd name="connsiteX4" fmla="*/ 13316 w 74681"/>
                <a:gd name="connsiteY4" fmla="*/ 4668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13316" y="4668"/>
                  </a:moveTo>
                  <a:cubicBezTo>
                    <a:pt x="-3114" y="12136"/>
                    <a:pt x="-4608" y="27072"/>
                    <a:pt x="10329" y="37528"/>
                  </a:cubicBezTo>
                  <a:cubicBezTo>
                    <a:pt x="25265" y="47983"/>
                    <a:pt x="50657" y="49477"/>
                    <a:pt x="68580" y="42009"/>
                  </a:cubicBezTo>
                  <a:cubicBezTo>
                    <a:pt x="85011" y="34540"/>
                    <a:pt x="86504" y="19604"/>
                    <a:pt x="71567" y="9149"/>
                  </a:cubicBezTo>
                  <a:cubicBezTo>
                    <a:pt x="56631" y="-1307"/>
                    <a:pt x="31240" y="-2801"/>
                    <a:pt x="13316" y="4668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5" name="任意多边形: 形状 9874"/>
            <p:cNvSpPr/>
            <p:nvPr/>
          </p:nvSpPr>
          <p:spPr>
            <a:xfrm>
              <a:off x="8384645" y="3285890"/>
              <a:ext cx="89618" cy="238981"/>
            </a:xfrm>
            <a:custGeom>
              <a:avLst/>
              <a:gdLst>
                <a:gd name="connsiteX0" fmla="*/ 82346 w 89618"/>
                <a:gd name="connsiteY0" fmla="*/ 240640 h 238981"/>
                <a:gd name="connsiteX1" fmla="*/ 89814 w 89618"/>
                <a:gd name="connsiteY1" fmla="*/ 58417 h 238981"/>
                <a:gd name="connsiteX2" fmla="*/ 77866 w 89618"/>
                <a:gd name="connsiteY2" fmla="*/ 15101 h 238981"/>
                <a:gd name="connsiteX3" fmla="*/ 45005 w 89618"/>
                <a:gd name="connsiteY3" fmla="*/ 165 h 238981"/>
                <a:gd name="connsiteX4" fmla="*/ 7665 w 89618"/>
                <a:gd name="connsiteY4" fmla="*/ 47961 h 238981"/>
                <a:gd name="connsiteX5" fmla="*/ 196 w 89618"/>
                <a:gd name="connsiteY5" fmla="*/ 234665 h 238981"/>
                <a:gd name="connsiteX6" fmla="*/ 24095 w 89618"/>
                <a:gd name="connsiteY6" fmla="*/ 236159 h 238981"/>
                <a:gd name="connsiteX7" fmla="*/ 82346 w 89618"/>
                <a:gd name="connsiteY7" fmla="*/ 240640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618" h="238981">
                  <a:moveTo>
                    <a:pt x="82346" y="240640"/>
                  </a:moveTo>
                  <a:cubicBezTo>
                    <a:pt x="91308" y="180894"/>
                    <a:pt x="91308" y="67378"/>
                    <a:pt x="89814" y="58417"/>
                  </a:cubicBezTo>
                  <a:cubicBezTo>
                    <a:pt x="88321" y="49455"/>
                    <a:pt x="83840" y="21076"/>
                    <a:pt x="77866" y="15101"/>
                  </a:cubicBezTo>
                  <a:cubicBezTo>
                    <a:pt x="68904" y="7633"/>
                    <a:pt x="56954" y="-1329"/>
                    <a:pt x="45005" y="165"/>
                  </a:cubicBezTo>
                  <a:cubicBezTo>
                    <a:pt x="30069" y="1658"/>
                    <a:pt x="10652" y="33025"/>
                    <a:pt x="7665" y="47961"/>
                  </a:cubicBezTo>
                  <a:cubicBezTo>
                    <a:pt x="6171" y="64391"/>
                    <a:pt x="-1297" y="225704"/>
                    <a:pt x="196" y="234665"/>
                  </a:cubicBezTo>
                  <a:cubicBezTo>
                    <a:pt x="1690" y="243627"/>
                    <a:pt x="15133" y="233172"/>
                    <a:pt x="24095" y="236159"/>
                  </a:cubicBezTo>
                  <a:lnTo>
                    <a:pt x="82346" y="240640"/>
                  </a:lnTo>
                  <a:close/>
                </a:path>
              </a:pathLst>
            </a:custGeom>
            <a:solidFill>
              <a:srgbClr val="A89B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6" name="任意多边形: 形状 9875"/>
            <p:cNvSpPr/>
            <p:nvPr/>
          </p:nvSpPr>
          <p:spPr>
            <a:xfrm>
              <a:off x="8487903" y="3171045"/>
              <a:ext cx="74682" cy="209109"/>
            </a:xfrm>
            <a:custGeom>
              <a:avLst/>
              <a:gdLst>
                <a:gd name="connsiteX0" fmla="*/ 0 w 74681"/>
                <a:gd name="connsiteY0" fmla="*/ 0 h 209108"/>
                <a:gd name="connsiteX1" fmla="*/ 82150 w 74681"/>
                <a:gd name="connsiteY1" fmla="*/ 0 h 209108"/>
                <a:gd name="connsiteX2" fmla="*/ 82150 w 74681"/>
                <a:gd name="connsiteY2" fmla="*/ 218071 h 209108"/>
                <a:gd name="connsiteX3" fmla="*/ 0 w 74681"/>
                <a:gd name="connsiteY3" fmla="*/ 218071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209108">
                  <a:moveTo>
                    <a:pt x="0" y="0"/>
                  </a:moveTo>
                  <a:lnTo>
                    <a:pt x="82150" y="0"/>
                  </a:lnTo>
                  <a:lnTo>
                    <a:pt x="82150" y="218071"/>
                  </a:lnTo>
                  <a:lnTo>
                    <a:pt x="0" y="218071"/>
                  </a:lnTo>
                  <a:close/>
                </a:path>
              </a:pathLst>
            </a:custGeom>
            <a:solidFill>
              <a:srgbClr val="A89B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7" name="任意多边形: 形状 9876"/>
            <p:cNvSpPr/>
            <p:nvPr/>
          </p:nvSpPr>
          <p:spPr>
            <a:xfrm>
              <a:off x="8392654" y="2853245"/>
              <a:ext cx="89618" cy="164300"/>
            </a:xfrm>
            <a:custGeom>
              <a:avLst/>
              <a:gdLst>
                <a:gd name="connsiteX0" fmla="*/ 1150 w 89618"/>
                <a:gd name="connsiteY0" fmla="*/ 135577 h 164299"/>
                <a:gd name="connsiteX1" fmla="*/ 22060 w 89618"/>
                <a:gd name="connsiteY1" fmla="*/ 174411 h 164299"/>
                <a:gd name="connsiteX2" fmla="*/ 22060 w 89618"/>
                <a:gd name="connsiteY2" fmla="*/ 174411 h 164299"/>
                <a:gd name="connsiteX3" fmla="*/ 60895 w 89618"/>
                <a:gd name="connsiteY3" fmla="*/ 153500 h 164299"/>
                <a:gd name="connsiteX4" fmla="*/ 93755 w 89618"/>
                <a:gd name="connsiteY4" fmla="*/ 39984 h 164299"/>
                <a:gd name="connsiteX5" fmla="*/ 72844 w 89618"/>
                <a:gd name="connsiteY5" fmla="*/ 1150 h 164299"/>
                <a:gd name="connsiteX6" fmla="*/ 72844 w 89618"/>
                <a:gd name="connsiteY6" fmla="*/ 1150 h 164299"/>
                <a:gd name="connsiteX7" fmla="*/ 34009 w 89618"/>
                <a:gd name="connsiteY7" fmla="*/ 22060 h 164299"/>
                <a:gd name="connsiteX8" fmla="*/ 1150 w 89618"/>
                <a:gd name="connsiteY8" fmla="*/ 135577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164299">
                  <a:moveTo>
                    <a:pt x="1150" y="135577"/>
                  </a:moveTo>
                  <a:cubicBezTo>
                    <a:pt x="-3332" y="152006"/>
                    <a:pt x="5630" y="168437"/>
                    <a:pt x="22060" y="174411"/>
                  </a:cubicBezTo>
                  <a:lnTo>
                    <a:pt x="22060" y="174411"/>
                  </a:lnTo>
                  <a:cubicBezTo>
                    <a:pt x="38491" y="178892"/>
                    <a:pt x="54921" y="169930"/>
                    <a:pt x="60895" y="153500"/>
                  </a:cubicBezTo>
                  <a:lnTo>
                    <a:pt x="93755" y="39984"/>
                  </a:lnTo>
                  <a:cubicBezTo>
                    <a:pt x="98236" y="23554"/>
                    <a:pt x="89274" y="7124"/>
                    <a:pt x="72844" y="1150"/>
                  </a:cubicBezTo>
                  <a:lnTo>
                    <a:pt x="72844" y="1150"/>
                  </a:lnTo>
                  <a:cubicBezTo>
                    <a:pt x="56414" y="-3331"/>
                    <a:pt x="39984" y="5631"/>
                    <a:pt x="34009" y="22060"/>
                  </a:cubicBezTo>
                  <a:lnTo>
                    <a:pt x="1150" y="135577"/>
                  </a:lnTo>
                  <a:close/>
                </a:path>
              </a:pathLst>
            </a:custGeom>
            <a:solidFill>
              <a:srgbClr val="1934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8" name="任意多边形: 形状 9877"/>
            <p:cNvSpPr/>
            <p:nvPr/>
          </p:nvSpPr>
          <p:spPr>
            <a:xfrm>
              <a:off x="8402766" y="2860464"/>
              <a:ext cx="194172" cy="403281"/>
            </a:xfrm>
            <a:custGeom>
              <a:avLst/>
              <a:gdLst>
                <a:gd name="connsiteX0" fmla="*/ 0 w 194172"/>
                <a:gd name="connsiteY0" fmla="*/ 337466 h 403281"/>
                <a:gd name="connsiteX1" fmla="*/ 10455 w 194172"/>
                <a:gd name="connsiteY1" fmla="*/ 344934 h 403281"/>
                <a:gd name="connsiteX2" fmla="*/ 68707 w 194172"/>
                <a:gd name="connsiteY2" fmla="*/ 380781 h 403281"/>
                <a:gd name="connsiteX3" fmla="*/ 76175 w 194172"/>
                <a:gd name="connsiteY3" fmla="*/ 383768 h 403281"/>
                <a:gd name="connsiteX4" fmla="*/ 86631 w 194172"/>
                <a:gd name="connsiteY4" fmla="*/ 389743 h 403281"/>
                <a:gd name="connsiteX5" fmla="*/ 179236 w 194172"/>
                <a:gd name="connsiteY5" fmla="*/ 392730 h 403281"/>
                <a:gd name="connsiteX6" fmla="*/ 182223 w 194172"/>
                <a:gd name="connsiteY6" fmla="*/ 377794 h 403281"/>
                <a:gd name="connsiteX7" fmla="*/ 189691 w 194172"/>
                <a:gd name="connsiteY7" fmla="*/ 255316 h 403281"/>
                <a:gd name="connsiteX8" fmla="*/ 200147 w 194172"/>
                <a:gd name="connsiteY8" fmla="*/ 73092 h 403281"/>
                <a:gd name="connsiteX9" fmla="*/ 137414 w 194172"/>
                <a:gd name="connsiteY9" fmla="*/ 11853 h 403281"/>
                <a:gd name="connsiteX10" fmla="*/ 31366 w 194172"/>
                <a:gd name="connsiteY10" fmla="*/ 58156 h 403281"/>
                <a:gd name="connsiteX11" fmla="*/ 31366 w 194172"/>
                <a:gd name="connsiteY11" fmla="*/ 58156 h 403281"/>
                <a:gd name="connsiteX12" fmla="*/ 29873 w 194172"/>
                <a:gd name="connsiteY12" fmla="*/ 79067 h 403281"/>
                <a:gd name="connsiteX13" fmla="*/ 29873 w 194172"/>
                <a:gd name="connsiteY13" fmla="*/ 83548 h 403281"/>
                <a:gd name="connsiteX14" fmla="*/ 16430 w 194172"/>
                <a:gd name="connsiteY14" fmla="*/ 244860 h 403281"/>
                <a:gd name="connsiteX15" fmla="*/ 4481 w 194172"/>
                <a:gd name="connsiteY15" fmla="*/ 332985 h 403281"/>
                <a:gd name="connsiteX16" fmla="*/ 4481 w 194172"/>
                <a:gd name="connsiteY16" fmla="*/ 332985 h 403281"/>
                <a:gd name="connsiteX17" fmla="*/ 0 w 194172"/>
                <a:gd name="connsiteY17" fmla="*/ 337466 h 403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4172" h="403281">
                  <a:moveTo>
                    <a:pt x="0" y="337466"/>
                  </a:moveTo>
                  <a:cubicBezTo>
                    <a:pt x="0" y="337466"/>
                    <a:pt x="4481" y="340453"/>
                    <a:pt x="10455" y="344934"/>
                  </a:cubicBezTo>
                  <a:cubicBezTo>
                    <a:pt x="22405" y="353896"/>
                    <a:pt x="44809" y="367338"/>
                    <a:pt x="68707" y="380781"/>
                  </a:cubicBezTo>
                  <a:cubicBezTo>
                    <a:pt x="71694" y="382275"/>
                    <a:pt x="73188" y="383768"/>
                    <a:pt x="76175" y="383768"/>
                  </a:cubicBezTo>
                  <a:cubicBezTo>
                    <a:pt x="79162" y="385262"/>
                    <a:pt x="83643" y="386756"/>
                    <a:pt x="86631" y="389743"/>
                  </a:cubicBezTo>
                  <a:cubicBezTo>
                    <a:pt x="126959" y="409160"/>
                    <a:pt x="168781" y="419616"/>
                    <a:pt x="179236" y="392730"/>
                  </a:cubicBezTo>
                  <a:cubicBezTo>
                    <a:pt x="180729" y="388249"/>
                    <a:pt x="182223" y="383768"/>
                    <a:pt x="182223" y="377794"/>
                  </a:cubicBezTo>
                  <a:lnTo>
                    <a:pt x="189691" y="255316"/>
                  </a:lnTo>
                  <a:lnTo>
                    <a:pt x="200147" y="73092"/>
                  </a:lnTo>
                  <a:cubicBezTo>
                    <a:pt x="186704" y="49194"/>
                    <a:pt x="165793" y="28283"/>
                    <a:pt x="137414" y="11853"/>
                  </a:cubicBezTo>
                  <a:cubicBezTo>
                    <a:pt x="91111" y="-16526"/>
                    <a:pt x="43315" y="8866"/>
                    <a:pt x="31366" y="58156"/>
                  </a:cubicBezTo>
                  <a:cubicBezTo>
                    <a:pt x="31366" y="58156"/>
                    <a:pt x="31366" y="58156"/>
                    <a:pt x="31366" y="58156"/>
                  </a:cubicBezTo>
                  <a:cubicBezTo>
                    <a:pt x="29873" y="64131"/>
                    <a:pt x="29873" y="71599"/>
                    <a:pt x="29873" y="79067"/>
                  </a:cubicBezTo>
                  <a:lnTo>
                    <a:pt x="29873" y="83548"/>
                  </a:lnTo>
                  <a:lnTo>
                    <a:pt x="16430" y="244860"/>
                  </a:lnTo>
                  <a:cubicBezTo>
                    <a:pt x="11949" y="270252"/>
                    <a:pt x="7468" y="300125"/>
                    <a:pt x="4481" y="332985"/>
                  </a:cubicBezTo>
                  <a:cubicBezTo>
                    <a:pt x="4481" y="332985"/>
                    <a:pt x="4481" y="332985"/>
                    <a:pt x="4481" y="332985"/>
                  </a:cubicBezTo>
                  <a:cubicBezTo>
                    <a:pt x="0" y="332985"/>
                    <a:pt x="0" y="334478"/>
                    <a:pt x="0" y="337466"/>
                  </a:cubicBezTo>
                  <a:close/>
                </a:path>
              </a:pathLst>
            </a:custGeom>
            <a:solidFill>
              <a:srgbClr val="1934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9" name="任意多边形: 形状 9878"/>
            <p:cNvSpPr/>
            <p:nvPr/>
          </p:nvSpPr>
          <p:spPr>
            <a:xfrm>
              <a:off x="8489523" y="3567190"/>
              <a:ext cx="74682" cy="44809"/>
            </a:xfrm>
            <a:custGeom>
              <a:avLst/>
              <a:gdLst>
                <a:gd name="connsiteX0" fmla="*/ 13316 w 74681"/>
                <a:gd name="connsiteY0" fmla="*/ 4149 h 44809"/>
                <a:gd name="connsiteX1" fmla="*/ 10329 w 74681"/>
                <a:gd name="connsiteY1" fmla="*/ 37008 h 44809"/>
                <a:gd name="connsiteX2" fmla="*/ 67087 w 74681"/>
                <a:gd name="connsiteY2" fmla="*/ 42983 h 44809"/>
                <a:gd name="connsiteX3" fmla="*/ 70074 w 74681"/>
                <a:gd name="connsiteY3" fmla="*/ 10123 h 44809"/>
                <a:gd name="connsiteX4" fmla="*/ 13316 w 74681"/>
                <a:gd name="connsiteY4" fmla="*/ 4149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13316" y="4149"/>
                  </a:moveTo>
                  <a:cubicBezTo>
                    <a:pt x="-3114" y="11617"/>
                    <a:pt x="-4608" y="26553"/>
                    <a:pt x="10329" y="37008"/>
                  </a:cubicBezTo>
                  <a:cubicBezTo>
                    <a:pt x="25265" y="47464"/>
                    <a:pt x="50657" y="50451"/>
                    <a:pt x="67087" y="42983"/>
                  </a:cubicBezTo>
                  <a:cubicBezTo>
                    <a:pt x="83517" y="35515"/>
                    <a:pt x="85011" y="20578"/>
                    <a:pt x="70074" y="10123"/>
                  </a:cubicBezTo>
                  <a:cubicBezTo>
                    <a:pt x="56631" y="-332"/>
                    <a:pt x="31240" y="-3320"/>
                    <a:pt x="13316" y="4149"/>
                  </a:cubicBezTo>
                  <a:close/>
                </a:path>
              </a:pathLst>
            </a:custGeom>
            <a:solidFill>
              <a:srgbClr val="A89B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0" name="任意多边形: 形状 9879"/>
            <p:cNvSpPr/>
            <p:nvPr/>
          </p:nvSpPr>
          <p:spPr>
            <a:xfrm>
              <a:off x="8486665" y="3353076"/>
              <a:ext cx="74682" cy="238981"/>
            </a:xfrm>
            <a:custGeom>
              <a:avLst/>
              <a:gdLst>
                <a:gd name="connsiteX0" fmla="*/ 84881 w 74681"/>
                <a:gd name="connsiteY0" fmla="*/ 242161 h 238981"/>
                <a:gd name="connsiteX1" fmla="*/ 84881 w 74681"/>
                <a:gd name="connsiteY1" fmla="*/ 36040 h 238981"/>
                <a:gd name="connsiteX2" fmla="*/ 68451 w 74681"/>
                <a:gd name="connsiteY2" fmla="*/ 13635 h 238981"/>
                <a:gd name="connsiteX3" fmla="*/ 34097 w 74681"/>
                <a:gd name="connsiteY3" fmla="*/ 192 h 238981"/>
                <a:gd name="connsiteX4" fmla="*/ 1237 w 74681"/>
                <a:gd name="connsiteY4" fmla="*/ 34546 h 238981"/>
                <a:gd name="connsiteX5" fmla="*/ 4225 w 74681"/>
                <a:gd name="connsiteY5" fmla="*/ 231706 h 238981"/>
                <a:gd name="connsiteX6" fmla="*/ 14680 w 74681"/>
                <a:gd name="connsiteY6" fmla="*/ 243655 h 238981"/>
                <a:gd name="connsiteX7" fmla="*/ 84881 w 74681"/>
                <a:gd name="connsiteY7" fmla="*/ 242161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238981">
                  <a:moveTo>
                    <a:pt x="84881" y="242161"/>
                  </a:moveTo>
                  <a:cubicBezTo>
                    <a:pt x="89362" y="180922"/>
                    <a:pt x="87868" y="43508"/>
                    <a:pt x="84881" y="36040"/>
                  </a:cubicBezTo>
                  <a:cubicBezTo>
                    <a:pt x="81893" y="28571"/>
                    <a:pt x="75919" y="19610"/>
                    <a:pt x="68451" y="13635"/>
                  </a:cubicBezTo>
                  <a:cubicBezTo>
                    <a:pt x="57996" y="6167"/>
                    <a:pt x="47540" y="-1301"/>
                    <a:pt x="34097" y="192"/>
                  </a:cubicBezTo>
                  <a:cubicBezTo>
                    <a:pt x="19161" y="1686"/>
                    <a:pt x="5718" y="21103"/>
                    <a:pt x="1237" y="34546"/>
                  </a:cubicBezTo>
                  <a:cubicBezTo>
                    <a:pt x="-1750" y="49482"/>
                    <a:pt x="1237" y="222744"/>
                    <a:pt x="4225" y="231706"/>
                  </a:cubicBezTo>
                  <a:cubicBezTo>
                    <a:pt x="5718" y="240667"/>
                    <a:pt x="5718" y="240667"/>
                    <a:pt x="14680" y="243655"/>
                  </a:cubicBezTo>
                  <a:lnTo>
                    <a:pt x="84881" y="242161"/>
                  </a:lnTo>
                  <a:close/>
                </a:path>
              </a:pathLst>
            </a:custGeom>
            <a:solidFill>
              <a:srgbClr val="A89B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1" name="任意多边形: 形状 9880"/>
            <p:cNvSpPr/>
            <p:nvPr/>
          </p:nvSpPr>
          <p:spPr>
            <a:xfrm>
              <a:off x="8453549" y="2878292"/>
              <a:ext cx="44809" cy="89618"/>
            </a:xfrm>
            <a:custGeom>
              <a:avLst/>
              <a:gdLst>
                <a:gd name="connsiteX0" fmla="*/ 47796 w 44809"/>
                <a:gd name="connsiteY0" fmla="*/ 67214 h 89618"/>
                <a:gd name="connsiteX1" fmla="*/ 58252 w 44809"/>
                <a:gd name="connsiteY1" fmla="*/ 35847 h 89618"/>
                <a:gd name="connsiteX2" fmla="*/ 58252 w 44809"/>
                <a:gd name="connsiteY2" fmla="*/ 31366 h 89618"/>
                <a:gd name="connsiteX3" fmla="*/ 11949 w 44809"/>
                <a:gd name="connsiteY3" fmla="*/ 1494 h 89618"/>
                <a:gd name="connsiteX4" fmla="*/ 10455 w 44809"/>
                <a:gd name="connsiteY4" fmla="*/ 0 h 89618"/>
                <a:gd name="connsiteX5" fmla="*/ 0 w 44809"/>
                <a:gd name="connsiteY5" fmla="*/ 46303 h 89618"/>
                <a:gd name="connsiteX6" fmla="*/ 11949 w 44809"/>
                <a:gd name="connsiteY6" fmla="*/ 92606 h 89618"/>
                <a:gd name="connsiteX7" fmla="*/ 13443 w 44809"/>
                <a:gd name="connsiteY7" fmla="*/ 101567 h 89618"/>
                <a:gd name="connsiteX8" fmla="*/ 47796 w 44809"/>
                <a:gd name="connsiteY8" fmla="*/ 67214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09" h="89618">
                  <a:moveTo>
                    <a:pt x="47796" y="67214"/>
                  </a:moveTo>
                  <a:lnTo>
                    <a:pt x="58252" y="35847"/>
                  </a:lnTo>
                  <a:lnTo>
                    <a:pt x="58252" y="31366"/>
                  </a:lnTo>
                  <a:lnTo>
                    <a:pt x="11949" y="1494"/>
                  </a:lnTo>
                  <a:lnTo>
                    <a:pt x="10455" y="0"/>
                  </a:lnTo>
                  <a:cubicBezTo>
                    <a:pt x="2987" y="11949"/>
                    <a:pt x="4481" y="26885"/>
                    <a:pt x="0" y="46303"/>
                  </a:cubicBezTo>
                  <a:cubicBezTo>
                    <a:pt x="2987" y="62733"/>
                    <a:pt x="7468" y="79163"/>
                    <a:pt x="11949" y="92606"/>
                  </a:cubicBezTo>
                  <a:lnTo>
                    <a:pt x="13443" y="101567"/>
                  </a:lnTo>
                  <a:cubicBezTo>
                    <a:pt x="13443" y="104554"/>
                    <a:pt x="47796" y="67214"/>
                    <a:pt x="47796" y="67214"/>
                  </a:cubicBezTo>
                  <a:close/>
                </a:path>
              </a:pathLst>
            </a:custGeom>
            <a:solidFill>
              <a:srgbClr val="FFFF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2" name="任意多边形: 形状 9881"/>
            <p:cNvSpPr/>
            <p:nvPr/>
          </p:nvSpPr>
          <p:spPr>
            <a:xfrm>
              <a:off x="8471472" y="2891735"/>
              <a:ext cx="14936" cy="29873"/>
            </a:xfrm>
            <a:custGeom>
              <a:avLst/>
              <a:gdLst>
                <a:gd name="connsiteX0" fmla="*/ 0 w 14936"/>
                <a:gd name="connsiteY0" fmla="*/ 23898 h 29872"/>
                <a:gd name="connsiteX1" fmla="*/ 10456 w 14936"/>
                <a:gd name="connsiteY1" fmla="*/ 29873 h 29872"/>
                <a:gd name="connsiteX2" fmla="*/ 19418 w 14936"/>
                <a:gd name="connsiteY2" fmla="*/ 7468 h 29872"/>
                <a:gd name="connsiteX3" fmla="*/ 1494 w 14936"/>
                <a:gd name="connsiteY3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29872">
                  <a:moveTo>
                    <a:pt x="0" y="23898"/>
                  </a:moveTo>
                  <a:lnTo>
                    <a:pt x="10456" y="29873"/>
                  </a:lnTo>
                  <a:lnTo>
                    <a:pt x="19418" y="7468"/>
                  </a:lnTo>
                  <a:lnTo>
                    <a:pt x="1494" y="0"/>
                  </a:lnTo>
                  <a:close/>
                </a:path>
              </a:pathLst>
            </a:custGeom>
            <a:solidFill>
              <a:srgbClr val="BE162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3" name="任意多边形: 形状 9882"/>
            <p:cNvSpPr/>
            <p:nvPr/>
          </p:nvSpPr>
          <p:spPr>
            <a:xfrm>
              <a:off x="8461530" y="2855328"/>
              <a:ext cx="74682" cy="74682"/>
            </a:xfrm>
            <a:custGeom>
              <a:avLst/>
              <a:gdLst>
                <a:gd name="connsiteX0" fmla="*/ 72675 w 74681"/>
                <a:gd name="connsiteY0" fmla="*/ 3548 h 74681"/>
                <a:gd name="connsiteX1" fmla="*/ 86118 w 74681"/>
                <a:gd name="connsiteY1" fmla="*/ 22965 h 74681"/>
                <a:gd name="connsiteX2" fmla="*/ 86118 w 74681"/>
                <a:gd name="connsiteY2" fmla="*/ 31926 h 74681"/>
                <a:gd name="connsiteX3" fmla="*/ 71182 w 74681"/>
                <a:gd name="connsiteY3" fmla="*/ 52837 h 74681"/>
                <a:gd name="connsiteX4" fmla="*/ 35335 w 74681"/>
                <a:gd name="connsiteY4" fmla="*/ 78229 h 74681"/>
                <a:gd name="connsiteX5" fmla="*/ 20398 w 74681"/>
                <a:gd name="connsiteY5" fmla="*/ 42382 h 74681"/>
                <a:gd name="connsiteX6" fmla="*/ 981 w 74681"/>
                <a:gd name="connsiteY6" fmla="*/ 58812 h 74681"/>
                <a:gd name="connsiteX7" fmla="*/ 2474 w 74681"/>
                <a:gd name="connsiteY7" fmla="*/ 28939 h 74681"/>
                <a:gd name="connsiteX8" fmla="*/ 18905 w 74681"/>
                <a:gd name="connsiteY8" fmla="*/ 5041 h 74681"/>
                <a:gd name="connsiteX9" fmla="*/ 44296 w 74681"/>
                <a:gd name="connsiteY9" fmla="*/ 560 h 74681"/>
                <a:gd name="connsiteX10" fmla="*/ 69688 w 74681"/>
                <a:gd name="connsiteY10" fmla="*/ 6535 h 74681"/>
                <a:gd name="connsiteX11" fmla="*/ 72675 w 74681"/>
                <a:gd name="connsiteY11" fmla="*/ 3548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74681">
                  <a:moveTo>
                    <a:pt x="72675" y="3548"/>
                  </a:moveTo>
                  <a:cubicBezTo>
                    <a:pt x="75663" y="9522"/>
                    <a:pt x="83131" y="18484"/>
                    <a:pt x="86118" y="22965"/>
                  </a:cubicBezTo>
                  <a:cubicBezTo>
                    <a:pt x="87612" y="25952"/>
                    <a:pt x="87612" y="28939"/>
                    <a:pt x="86118" y="31926"/>
                  </a:cubicBezTo>
                  <a:cubicBezTo>
                    <a:pt x="83131" y="40888"/>
                    <a:pt x="78650" y="46863"/>
                    <a:pt x="71182" y="52837"/>
                  </a:cubicBezTo>
                  <a:cubicBezTo>
                    <a:pt x="59233" y="61799"/>
                    <a:pt x="47283" y="69267"/>
                    <a:pt x="35335" y="78229"/>
                  </a:cubicBezTo>
                  <a:cubicBezTo>
                    <a:pt x="29360" y="66280"/>
                    <a:pt x="24879" y="55825"/>
                    <a:pt x="20398" y="42382"/>
                  </a:cubicBezTo>
                  <a:cubicBezTo>
                    <a:pt x="14424" y="48357"/>
                    <a:pt x="6956" y="52837"/>
                    <a:pt x="981" y="58812"/>
                  </a:cubicBezTo>
                  <a:cubicBezTo>
                    <a:pt x="-513" y="48357"/>
                    <a:pt x="-513" y="37901"/>
                    <a:pt x="2474" y="28939"/>
                  </a:cubicBezTo>
                  <a:cubicBezTo>
                    <a:pt x="5462" y="18484"/>
                    <a:pt x="9943" y="9522"/>
                    <a:pt x="18905" y="5041"/>
                  </a:cubicBezTo>
                  <a:cubicBezTo>
                    <a:pt x="26373" y="560"/>
                    <a:pt x="35335" y="-933"/>
                    <a:pt x="44296" y="560"/>
                  </a:cubicBezTo>
                  <a:cubicBezTo>
                    <a:pt x="53258" y="2054"/>
                    <a:pt x="62220" y="3548"/>
                    <a:pt x="69688" y="6535"/>
                  </a:cubicBezTo>
                  <a:cubicBezTo>
                    <a:pt x="71182" y="5041"/>
                    <a:pt x="72675" y="2054"/>
                    <a:pt x="72675" y="3548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4" name="任意多边形: 形状 9883"/>
            <p:cNvSpPr/>
            <p:nvPr/>
          </p:nvSpPr>
          <p:spPr>
            <a:xfrm>
              <a:off x="8461017" y="2915633"/>
              <a:ext cx="14936" cy="74682"/>
            </a:xfrm>
            <a:custGeom>
              <a:avLst/>
              <a:gdLst>
                <a:gd name="connsiteX0" fmla="*/ 4481 w 14936"/>
                <a:gd name="connsiteY0" fmla="*/ 71694 h 74681"/>
                <a:gd name="connsiteX1" fmla="*/ 2987 w 14936"/>
                <a:gd name="connsiteY1" fmla="*/ 74682 h 74681"/>
                <a:gd name="connsiteX2" fmla="*/ 10455 w 14936"/>
                <a:gd name="connsiteY2" fmla="*/ 80656 h 74681"/>
                <a:gd name="connsiteX3" fmla="*/ 20911 w 14936"/>
                <a:gd name="connsiteY3" fmla="*/ 70201 h 74681"/>
                <a:gd name="connsiteX4" fmla="*/ 20911 w 14936"/>
                <a:gd name="connsiteY4" fmla="*/ 41822 h 74681"/>
                <a:gd name="connsiteX5" fmla="*/ 20911 w 14936"/>
                <a:gd name="connsiteY5" fmla="*/ 5975 h 74681"/>
                <a:gd name="connsiteX6" fmla="*/ 10455 w 14936"/>
                <a:gd name="connsiteY6" fmla="*/ 0 h 74681"/>
                <a:gd name="connsiteX7" fmla="*/ 4481 w 14936"/>
                <a:gd name="connsiteY7" fmla="*/ 40328 h 74681"/>
                <a:gd name="connsiteX8" fmla="*/ 0 w 14936"/>
                <a:gd name="connsiteY8" fmla="*/ 62733 h 74681"/>
                <a:gd name="connsiteX9" fmla="*/ 4481 w 14936"/>
                <a:gd name="connsiteY9" fmla="*/ 71694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74681">
                  <a:moveTo>
                    <a:pt x="4481" y="71694"/>
                  </a:moveTo>
                  <a:cubicBezTo>
                    <a:pt x="4481" y="73188"/>
                    <a:pt x="2987" y="73188"/>
                    <a:pt x="2987" y="74682"/>
                  </a:cubicBezTo>
                  <a:lnTo>
                    <a:pt x="10455" y="80656"/>
                  </a:lnTo>
                  <a:lnTo>
                    <a:pt x="20911" y="70201"/>
                  </a:lnTo>
                  <a:lnTo>
                    <a:pt x="20911" y="41822"/>
                  </a:lnTo>
                  <a:lnTo>
                    <a:pt x="20911" y="5975"/>
                  </a:lnTo>
                  <a:lnTo>
                    <a:pt x="10455" y="0"/>
                  </a:lnTo>
                  <a:lnTo>
                    <a:pt x="4481" y="40328"/>
                  </a:lnTo>
                  <a:lnTo>
                    <a:pt x="0" y="62733"/>
                  </a:lnTo>
                  <a:lnTo>
                    <a:pt x="4481" y="71694"/>
                  </a:lnTo>
                  <a:close/>
                </a:path>
              </a:pathLst>
            </a:custGeom>
            <a:solidFill>
              <a:srgbClr val="99121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5" name="任意多边形: 形状 9884"/>
            <p:cNvSpPr/>
            <p:nvPr/>
          </p:nvSpPr>
          <p:spPr>
            <a:xfrm>
              <a:off x="8538686" y="2864850"/>
              <a:ext cx="14936" cy="14936"/>
            </a:xfrm>
            <a:custGeom>
              <a:avLst/>
              <a:gdLst>
                <a:gd name="connsiteX0" fmla="*/ 0 w 0"/>
                <a:gd name="connsiteY0" fmla="*/ 0 h 0"/>
                <a:gd name="connsiteX1" fmla="*/ 1494 w 0"/>
                <a:gd name="connsiteY1" fmla="*/ 149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494" y="1494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6" name="任意多边形: 形状 9885"/>
            <p:cNvSpPr/>
            <p:nvPr/>
          </p:nvSpPr>
          <p:spPr>
            <a:xfrm>
              <a:off x="8453549" y="2863356"/>
              <a:ext cx="89618" cy="149363"/>
            </a:xfrm>
            <a:custGeom>
              <a:avLst/>
              <a:gdLst>
                <a:gd name="connsiteX0" fmla="*/ 0 w 89618"/>
                <a:gd name="connsiteY0" fmla="*/ 149363 h 149363"/>
                <a:gd name="connsiteX1" fmla="*/ 16430 w 89618"/>
                <a:gd name="connsiteY1" fmla="*/ 131440 h 149363"/>
                <a:gd name="connsiteX2" fmla="*/ 26885 w 89618"/>
                <a:gd name="connsiteY2" fmla="*/ 120984 h 149363"/>
                <a:gd name="connsiteX3" fmla="*/ 55264 w 89618"/>
                <a:gd name="connsiteY3" fmla="*/ 91112 h 149363"/>
                <a:gd name="connsiteX4" fmla="*/ 74682 w 89618"/>
                <a:gd name="connsiteY4" fmla="*/ 71694 h 149363"/>
                <a:gd name="connsiteX5" fmla="*/ 67214 w 89618"/>
                <a:gd name="connsiteY5" fmla="*/ 56758 h 149363"/>
                <a:gd name="connsiteX6" fmla="*/ 79162 w 89618"/>
                <a:gd name="connsiteY6" fmla="*/ 65720 h 149363"/>
                <a:gd name="connsiteX7" fmla="*/ 95593 w 89618"/>
                <a:gd name="connsiteY7" fmla="*/ 13443 h 149363"/>
                <a:gd name="connsiteX8" fmla="*/ 85137 w 89618"/>
                <a:gd name="connsiteY8" fmla="*/ 0 h 149363"/>
                <a:gd name="connsiteX9" fmla="*/ 64226 w 89618"/>
                <a:gd name="connsiteY9" fmla="*/ 43316 h 149363"/>
                <a:gd name="connsiteX10" fmla="*/ 56758 w 89618"/>
                <a:gd name="connsiteY10" fmla="*/ 49290 h 149363"/>
                <a:gd name="connsiteX11" fmla="*/ 28379 w 89618"/>
                <a:gd name="connsiteY11" fmla="*/ 88125 h 149363"/>
                <a:gd name="connsiteX12" fmla="*/ 25392 w 89618"/>
                <a:gd name="connsiteY12" fmla="*/ 91112 h 149363"/>
                <a:gd name="connsiteX13" fmla="*/ 10455 w 89618"/>
                <a:gd name="connsiteY13" fmla="*/ 117997 h 149363"/>
                <a:gd name="connsiteX14" fmla="*/ 8962 w 89618"/>
                <a:gd name="connsiteY14" fmla="*/ 122478 h 149363"/>
                <a:gd name="connsiteX15" fmla="*/ 7468 w 89618"/>
                <a:gd name="connsiteY15" fmla="*/ 125465 h 149363"/>
                <a:gd name="connsiteX16" fmla="*/ 0 w 89618"/>
                <a:gd name="connsiteY16" fmla="*/ 149363 h 14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9618" h="149363">
                  <a:moveTo>
                    <a:pt x="0" y="149363"/>
                  </a:moveTo>
                  <a:lnTo>
                    <a:pt x="16430" y="131440"/>
                  </a:lnTo>
                  <a:lnTo>
                    <a:pt x="26885" y="120984"/>
                  </a:lnTo>
                  <a:lnTo>
                    <a:pt x="55264" y="91112"/>
                  </a:lnTo>
                  <a:lnTo>
                    <a:pt x="74682" y="71694"/>
                  </a:lnTo>
                  <a:lnTo>
                    <a:pt x="67214" y="56758"/>
                  </a:lnTo>
                  <a:lnTo>
                    <a:pt x="79162" y="65720"/>
                  </a:lnTo>
                  <a:cubicBezTo>
                    <a:pt x="98580" y="44809"/>
                    <a:pt x="107541" y="25392"/>
                    <a:pt x="95593" y="13443"/>
                  </a:cubicBezTo>
                  <a:lnTo>
                    <a:pt x="85137" y="0"/>
                  </a:lnTo>
                  <a:cubicBezTo>
                    <a:pt x="88124" y="4481"/>
                    <a:pt x="95593" y="19417"/>
                    <a:pt x="64226" y="43316"/>
                  </a:cubicBezTo>
                  <a:cubicBezTo>
                    <a:pt x="61239" y="44809"/>
                    <a:pt x="59745" y="47796"/>
                    <a:pt x="56758" y="49290"/>
                  </a:cubicBezTo>
                  <a:cubicBezTo>
                    <a:pt x="47796" y="58252"/>
                    <a:pt x="41822" y="68707"/>
                    <a:pt x="28379" y="88125"/>
                  </a:cubicBezTo>
                  <a:cubicBezTo>
                    <a:pt x="26885" y="89618"/>
                    <a:pt x="26885" y="91112"/>
                    <a:pt x="25392" y="91112"/>
                  </a:cubicBezTo>
                  <a:cubicBezTo>
                    <a:pt x="19417" y="100074"/>
                    <a:pt x="14936" y="109035"/>
                    <a:pt x="10455" y="117997"/>
                  </a:cubicBezTo>
                  <a:cubicBezTo>
                    <a:pt x="10455" y="119491"/>
                    <a:pt x="8962" y="120984"/>
                    <a:pt x="8962" y="122478"/>
                  </a:cubicBezTo>
                  <a:cubicBezTo>
                    <a:pt x="8962" y="123972"/>
                    <a:pt x="7468" y="123972"/>
                    <a:pt x="7468" y="125465"/>
                  </a:cubicBezTo>
                  <a:cubicBezTo>
                    <a:pt x="4481" y="138908"/>
                    <a:pt x="1494" y="149363"/>
                    <a:pt x="0" y="149363"/>
                  </a:cubicBezTo>
                  <a:close/>
                </a:path>
              </a:pathLst>
            </a:custGeom>
            <a:solidFill>
              <a:srgbClr val="254C6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7" name="任意多边形: 形状 9886"/>
            <p:cNvSpPr/>
            <p:nvPr/>
          </p:nvSpPr>
          <p:spPr>
            <a:xfrm>
              <a:off x="8443094" y="2866343"/>
              <a:ext cx="14936" cy="119491"/>
            </a:xfrm>
            <a:custGeom>
              <a:avLst/>
              <a:gdLst>
                <a:gd name="connsiteX0" fmla="*/ 0 w 14936"/>
                <a:gd name="connsiteY0" fmla="*/ 23898 h 119490"/>
                <a:gd name="connsiteX1" fmla="*/ 5974 w 14936"/>
                <a:gd name="connsiteY1" fmla="*/ 61239 h 119490"/>
                <a:gd name="connsiteX2" fmla="*/ 17924 w 14936"/>
                <a:gd name="connsiteY2" fmla="*/ 112023 h 119490"/>
                <a:gd name="connsiteX3" fmla="*/ 20911 w 14936"/>
                <a:gd name="connsiteY3" fmla="*/ 120984 h 119490"/>
                <a:gd name="connsiteX4" fmla="*/ 23898 w 14936"/>
                <a:gd name="connsiteY4" fmla="*/ 126959 h 119490"/>
                <a:gd name="connsiteX5" fmla="*/ 23898 w 14936"/>
                <a:gd name="connsiteY5" fmla="*/ 117997 h 119490"/>
                <a:gd name="connsiteX6" fmla="*/ 22405 w 14936"/>
                <a:gd name="connsiteY6" fmla="*/ 89618 h 119490"/>
                <a:gd name="connsiteX7" fmla="*/ 22405 w 14936"/>
                <a:gd name="connsiteY7" fmla="*/ 14936 h 119490"/>
                <a:gd name="connsiteX8" fmla="*/ 23898 w 14936"/>
                <a:gd name="connsiteY8" fmla="*/ 2987 h 119490"/>
                <a:gd name="connsiteX9" fmla="*/ 17924 w 14936"/>
                <a:gd name="connsiteY9" fmla="*/ 0 h 119490"/>
                <a:gd name="connsiteX10" fmla="*/ 2987 w 14936"/>
                <a:gd name="connsiteY10" fmla="*/ 17924 h 119490"/>
                <a:gd name="connsiteX11" fmla="*/ 14936 w 14936"/>
                <a:gd name="connsiteY11" fmla="*/ 22405 h 119490"/>
                <a:gd name="connsiteX12" fmla="*/ 0 w 14936"/>
                <a:gd name="connsiteY12" fmla="*/ 23898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936" h="119490">
                  <a:moveTo>
                    <a:pt x="0" y="23898"/>
                  </a:moveTo>
                  <a:cubicBezTo>
                    <a:pt x="0" y="23898"/>
                    <a:pt x="2987" y="40328"/>
                    <a:pt x="5974" y="61239"/>
                  </a:cubicBezTo>
                  <a:cubicBezTo>
                    <a:pt x="8962" y="77669"/>
                    <a:pt x="13443" y="97086"/>
                    <a:pt x="17924" y="112023"/>
                  </a:cubicBezTo>
                  <a:lnTo>
                    <a:pt x="20911" y="120984"/>
                  </a:lnTo>
                  <a:cubicBezTo>
                    <a:pt x="22405" y="122478"/>
                    <a:pt x="22405" y="125465"/>
                    <a:pt x="23898" y="126959"/>
                  </a:cubicBezTo>
                  <a:cubicBezTo>
                    <a:pt x="23898" y="123971"/>
                    <a:pt x="23898" y="120984"/>
                    <a:pt x="23898" y="117997"/>
                  </a:cubicBezTo>
                  <a:cubicBezTo>
                    <a:pt x="23898" y="109035"/>
                    <a:pt x="22405" y="100073"/>
                    <a:pt x="22405" y="89618"/>
                  </a:cubicBezTo>
                  <a:cubicBezTo>
                    <a:pt x="20911" y="61239"/>
                    <a:pt x="20911" y="32860"/>
                    <a:pt x="22405" y="14936"/>
                  </a:cubicBezTo>
                  <a:cubicBezTo>
                    <a:pt x="22405" y="10455"/>
                    <a:pt x="23898" y="5974"/>
                    <a:pt x="23898" y="2987"/>
                  </a:cubicBezTo>
                  <a:lnTo>
                    <a:pt x="17924" y="0"/>
                  </a:lnTo>
                  <a:lnTo>
                    <a:pt x="2987" y="17924"/>
                  </a:lnTo>
                  <a:lnTo>
                    <a:pt x="14936" y="22405"/>
                  </a:lnTo>
                  <a:cubicBezTo>
                    <a:pt x="11949" y="22405"/>
                    <a:pt x="0" y="23898"/>
                    <a:pt x="0" y="23898"/>
                  </a:cubicBezTo>
                  <a:close/>
                </a:path>
              </a:pathLst>
            </a:custGeom>
            <a:solidFill>
              <a:srgbClr val="254C6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8" name="任意多边形: 形状 9887"/>
            <p:cNvSpPr/>
            <p:nvPr/>
          </p:nvSpPr>
          <p:spPr>
            <a:xfrm>
              <a:off x="8407246" y="3203905"/>
              <a:ext cx="149363" cy="119491"/>
            </a:xfrm>
            <a:custGeom>
              <a:avLst/>
              <a:gdLst>
                <a:gd name="connsiteX0" fmla="*/ 0 w 149363"/>
                <a:gd name="connsiteY0" fmla="*/ 23898 h 119490"/>
                <a:gd name="connsiteX1" fmla="*/ 2987 w 149363"/>
                <a:gd name="connsiteY1" fmla="*/ 0 h 119490"/>
                <a:gd name="connsiteX2" fmla="*/ 62733 w 149363"/>
                <a:gd name="connsiteY2" fmla="*/ 35847 h 119490"/>
                <a:gd name="connsiteX3" fmla="*/ 70201 w 149363"/>
                <a:gd name="connsiteY3" fmla="*/ 40328 h 119490"/>
                <a:gd name="connsiteX4" fmla="*/ 71694 w 149363"/>
                <a:gd name="connsiteY4" fmla="*/ 40328 h 119490"/>
                <a:gd name="connsiteX5" fmla="*/ 79162 w 149363"/>
                <a:gd name="connsiteY5" fmla="*/ 43316 h 119490"/>
                <a:gd name="connsiteX6" fmla="*/ 79162 w 149363"/>
                <a:gd name="connsiteY6" fmla="*/ 43316 h 119490"/>
                <a:gd name="connsiteX7" fmla="*/ 79162 w 149363"/>
                <a:gd name="connsiteY7" fmla="*/ 43316 h 119490"/>
                <a:gd name="connsiteX8" fmla="*/ 161312 w 149363"/>
                <a:gd name="connsiteY8" fmla="*/ 58252 h 119490"/>
                <a:gd name="connsiteX9" fmla="*/ 161312 w 149363"/>
                <a:gd name="connsiteY9" fmla="*/ 89618 h 119490"/>
                <a:gd name="connsiteX10" fmla="*/ 132933 w 149363"/>
                <a:gd name="connsiteY10" fmla="*/ 89618 h 119490"/>
                <a:gd name="connsiteX11" fmla="*/ 91112 w 149363"/>
                <a:gd name="connsiteY11" fmla="*/ 74682 h 119490"/>
                <a:gd name="connsiteX12" fmla="*/ 79162 w 149363"/>
                <a:gd name="connsiteY12" fmla="*/ 68707 h 119490"/>
                <a:gd name="connsiteX13" fmla="*/ 79162 w 149363"/>
                <a:gd name="connsiteY13" fmla="*/ 49290 h 119490"/>
                <a:gd name="connsiteX14" fmla="*/ 76175 w 149363"/>
                <a:gd name="connsiteY14" fmla="*/ 68707 h 119490"/>
                <a:gd name="connsiteX15" fmla="*/ 76175 w 149363"/>
                <a:gd name="connsiteY15" fmla="*/ 68707 h 119490"/>
                <a:gd name="connsiteX16" fmla="*/ 68707 w 149363"/>
                <a:gd name="connsiteY16" fmla="*/ 122478 h 119490"/>
                <a:gd name="connsiteX17" fmla="*/ 64226 w 149363"/>
                <a:gd name="connsiteY17" fmla="*/ 64226 h 119490"/>
                <a:gd name="connsiteX18" fmla="*/ 64226 w 149363"/>
                <a:gd name="connsiteY18" fmla="*/ 62733 h 119490"/>
                <a:gd name="connsiteX19" fmla="*/ 1494 w 149363"/>
                <a:gd name="connsiteY19" fmla="*/ 25392 h 119490"/>
                <a:gd name="connsiteX20" fmla="*/ 0 w 149363"/>
                <a:gd name="connsiteY20" fmla="*/ 23898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9363" h="119490">
                  <a:moveTo>
                    <a:pt x="0" y="23898"/>
                  </a:moveTo>
                  <a:lnTo>
                    <a:pt x="2987" y="0"/>
                  </a:lnTo>
                  <a:cubicBezTo>
                    <a:pt x="14936" y="7468"/>
                    <a:pt x="37341" y="22405"/>
                    <a:pt x="62733" y="35847"/>
                  </a:cubicBezTo>
                  <a:cubicBezTo>
                    <a:pt x="65720" y="37341"/>
                    <a:pt x="68707" y="38835"/>
                    <a:pt x="70201" y="40328"/>
                  </a:cubicBezTo>
                  <a:cubicBezTo>
                    <a:pt x="70201" y="40328"/>
                    <a:pt x="70201" y="40328"/>
                    <a:pt x="71694" y="40328"/>
                  </a:cubicBezTo>
                  <a:cubicBezTo>
                    <a:pt x="74682" y="41822"/>
                    <a:pt x="76175" y="43316"/>
                    <a:pt x="79162" y="43316"/>
                  </a:cubicBezTo>
                  <a:cubicBezTo>
                    <a:pt x="79162" y="43316"/>
                    <a:pt x="79162" y="43316"/>
                    <a:pt x="79162" y="43316"/>
                  </a:cubicBezTo>
                  <a:cubicBezTo>
                    <a:pt x="79162" y="43316"/>
                    <a:pt x="79162" y="43316"/>
                    <a:pt x="79162" y="43316"/>
                  </a:cubicBezTo>
                  <a:cubicBezTo>
                    <a:pt x="110529" y="58252"/>
                    <a:pt x="143389" y="68707"/>
                    <a:pt x="161312" y="58252"/>
                  </a:cubicBezTo>
                  <a:lnTo>
                    <a:pt x="161312" y="89618"/>
                  </a:lnTo>
                  <a:cubicBezTo>
                    <a:pt x="152351" y="91112"/>
                    <a:pt x="141895" y="91112"/>
                    <a:pt x="132933" y="89618"/>
                  </a:cubicBezTo>
                  <a:cubicBezTo>
                    <a:pt x="117997" y="86631"/>
                    <a:pt x="104554" y="80656"/>
                    <a:pt x="91112" y="74682"/>
                  </a:cubicBezTo>
                  <a:cubicBezTo>
                    <a:pt x="86631" y="73188"/>
                    <a:pt x="82150" y="70201"/>
                    <a:pt x="79162" y="68707"/>
                  </a:cubicBezTo>
                  <a:lnTo>
                    <a:pt x="79162" y="49290"/>
                  </a:lnTo>
                  <a:lnTo>
                    <a:pt x="76175" y="68707"/>
                  </a:lnTo>
                  <a:lnTo>
                    <a:pt x="76175" y="68707"/>
                  </a:lnTo>
                  <a:lnTo>
                    <a:pt x="68707" y="122478"/>
                  </a:lnTo>
                  <a:cubicBezTo>
                    <a:pt x="67214" y="103061"/>
                    <a:pt x="65720" y="83644"/>
                    <a:pt x="64226" y="64226"/>
                  </a:cubicBezTo>
                  <a:cubicBezTo>
                    <a:pt x="64226" y="64226"/>
                    <a:pt x="64226" y="62733"/>
                    <a:pt x="64226" y="62733"/>
                  </a:cubicBezTo>
                  <a:cubicBezTo>
                    <a:pt x="43315" y="50784"/>
                    <a:pt x="22405" y="38835"/>
                    <a:pt x="1494" y="25392"/>
                  </a:cubicBezTo>
                  <a:cubicBezTo>
                    <a:pt x="2987" y="25392"/>
                    <a:pt x="1494" y="23898"/>
                    <a:pt x="0" y="23898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9" name="任意多边形: 形状 9888"/>
            <p:cNvSpPr/>
            <p:nvPr/>
          </p:nvSpPr>
          <p:spPr>
            <a:xfrm>
              <a:off x="8477447" y="2957455"/>
              <a:ext cx="104554" cy="298727"/>
            </a:xfrm>
            <a:custGeom>
              <a:avLst/>
              <a:gdLst>
                <a:gd name="connsiteX0" fmla="*/ 0 w 104554"/>
                <a:gd name="connsiteY0" fmla="*/ 286778 h 298726"/>
                <a:gd name="connsiteX1" fmla="*/ 10455 w 104554"/>
                <a:gd name="connsiteY1" fmla="*/ 292752 h 298726"/>
                <a:gd name="connsiteX2" fmla="*/ 103061 w 104554"/>
                <a:gd name="connsiteY2" fmla="*/ 295740 h 298726"/>
                <a:gd name="connsiteX3" fmla="*/ 106048 w 104554"/>
                <a:gd name="connsiteY3" fmla="*/ 280803 h 298726"/>
                <a:gd name="connsiteX4" fmla="*/ 113516 w 104554"/>
                <a:gd name="connsiteY4" fmla="*/ 158325 h 298726"/>
                <a:gd name="connsiteX5" fmla="*/ 77669 w 104554"/>
                <a:gd name="connsiteY5" fmla="*/ 0 h 298726"/>
                <a:gd name="connsiteX6" fmla="*/ 76175 w 104554"/>
                <a:gd name="connsiteY6" fmla="*/ 59745 h 298726"/>
                <a:gd name="connsiteX7" fmla="*/ 62732 w 104554"/>
                <a:gd name="connsiteY7" fmla="*/ 197160 h 298726"/>
                <a:gd name="connsiteX8" fmla="*/ 56758 w 104554"/>
                <a:gd name="connsiteY8" fmla="*/ 219564 h 298726"/>
                <a:gd name="connsiteX9" fmla="*/ 13443 w 104554"/>
                <a:gd name="connsiteY9" fmla="*/ 276322 h 298726"/>
                <a:gd name="connsiteX10" fmla="*/ 0 w 104554"/>
                <a:gd name="connsiteY10" fmla="*/ 286778 h 298726"/>
                <a:gd name="connsiteX11" fmla="*/ 0 w 104554"/>
                <a:gd name="connsiteY11" fmla="*/ 286778 h 29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554" h="298726">
                  <a:moveTo>
                    <a:pt x="0" y="286778"/>
                  </a:moveTo>
                  <a:cubicBezTo>
                    <a:pt x="2987" y="288271"/>
                    <a:pt x="7468" y="289765"/>
                    <a:pt x="10455" y="292752"/>
                  </a:cubicBezTo>
                  <a:cubicBezTo>
                    <a:pt x="50783" y="312170"/>
                    <a:pt x="92605" y="322625"/>
                    <a:pt x="103061" y="295740"/>
                  </a:cubicBezTo>
                  <a:cubicBezTo>
                    <a:pt x="104554" y="291259"/>
                    <a:pt x="106048" y="286778"/>
                    <a:pt x="106048" y="280803"/>
                  </a:cubicBezTo>
                  <a:lnTo>
                    <a:pt x="113516" y="158325"/>
                  </a:lnTo>
                  <a:cubicBezTo>
                    <a:pt x="107541" y="104554"/>
                    <a:pt x="94099" y="52277"/>
                    <a:pt x="77669" y="0"/>
                  </a:cubicBezTo>
                  <a:cubicBezTo>
                    <a:pt x="74682" y="19417"/>
                    <a:pt x="76175" y="40328"/>
                    <a:pt x="76175" y="59745"/>
                  </a:cubicBezTo>
                  <a:cubicBezTo>
                    <a:pt x="76175" y="106048"/>
                    <a:pt x="71694" y="152351"/>
                    <a:pt x="62732" y="197160"/>
                  </a:cubicBezTo>
                  <a:cubicBezTo>
                    <a:pt x="61239" y="204628"/>
                    <a:pt x="59745" y="212096"/>
                    <a:pt x="56758" y="219564"/>
                  </a:cubicBezTo>
                  <a:cubicBezTo>
                    <a:pt x="49290" y="241969"/>
                    <a:pt x="32860" y="262880"/>
                    <a:pt x="13443" y="276322"/>
                  </a:cubicBezTo>
                  <a:cubicBezTo>
                    <a:pt x="7468" y="277816"/>
                    <a:pt x="2987" y="280803"/>
                    <a:pt x="0" y="286778"/>
                  </a:cubicBezTo>
                  <a:cubicBezTo>
                    <a:pt x="0" y="285284"/>
                    <a:pt x="0" y="285284"/>
                    <a:pt x="0" y="286778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0" name="任意多边形: 形状 9889"/>
            <p:cNvSpPr/>
            <p:nvPr/>
          </p:nvSpPr>
          <p:spPr>
            <a:xfrm>
              <a:off x="8547189" y="2924136"/>
              <a:ext cx="74682" cy="164300"/>
            </a:xfrm>
            <a:custGeom>
              <a:avLst/>
              <a:gdLst>
                <a:gd name="connsiteX0" fmla="*/ 18383 w 74681"/>
                <a:gd name="connsiteY0" fmla="*/ 152810 h 164299"/>
                <a:gd name="connsiteX1" fmla="*/ 54230 w 74681"/>
                <a:gd name="connsiteY1" fmla="*/ 178202 h 164299"/>
                <a:gd name="connsiteX2" fmla="*/ 54230 w 74681"/>
                <a:gd name="connsiteY2" fmla="*/ 178202 h 164299"/>
                <a:gd name="connsiteX3" fmla="*/ 79622 w 74681"/>
                <a:gd name="connsiteY3" fmla="*/ 142354 h 164299"/>
                <a:gd name="connsiteX4" fmla="*/ 61698 w 74681"/>
                <a:gd name="connsiteY4" fmla="*/ 25851 h 164299"/>
                <a:gd name="connsiteX5" fmla="*/ 25851 w 74681"/>
                <a:gd name="connsiteY5" fmla="*/ 459 h 164299"/>
                <a:gd name="connsiteX6" fmla="*/ 25851 w 74681"/>
                <a:gd name="connsiteY6" fmla="*/ 459 h 164299"/>
                <a:gd name="connsiteX7" fmla="*/ 459 w 74681"/>
                <a:gd name="connsiteY7" fmla="*/ 36306 h 164299"/>
                <a:gd name="connsiteX8" fmla="*/ 18383 w 74681"/>
                <a:gd name="connsiteY8" fmla="*/ 152810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681" h="164299">
                  <a:moveTo>
                    <a:pt x="18383" y="152810"/>
                  </a:moveTo>
                  <a:cubicBezTo>
                    <a:pt x="21370" y="169240"/>
                    <a:pt x="36306" y="181189"/>
                    <a:pt x="54230" y="178202"/>
                  </a:cubicBezTo>
                  <a:lnTo>
                    <a:pt x="54230" y="178202"/>
                  </a:lnTo>
                  <a:cubicBezTo>
                    <a:pt x="70660" y="175214"/>
                    <a:pt x="82609" y="160278"/>
                    <a:pt x="79622" y="142354"/>
                  </a:cubicBezTo>
                  <a:lnTo>
                    <a:pt x="61698" y="25851"/>
                  </a:lnTo>
                  <a:cubicBezTo>
                    <a:pt x="58711" y="9421"/>
                    <a:pt x="43774" y="-2528"/>
                    <a:pt x="25851" y="459"/>
                  </a:cubicBezTo>
                  <a:lnTo>
                    <a:pt x="25851" y="459"/>
                  </a:lnTo>
                  <a:cubicBezTo>
                    <a:pt x="9421" y="3446"/>
                    <a:pt x="-2528" y="18383"/>
                    <a:pt x="459" y="36306"/>
                  </a:cubicBezTo>
                  <a:lnTo>
                    <a:pt x="18383" y="152810"/>
                  </a:lnTo>
                  <a:close/>
                </a:path>
              </a:pathLst>
            </a:custGeom>
            <a:solidFill>
              <a:srgbClr val="1934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1" name="任意多边形: 形状 9890"/>
            <p:cNvSpPr/>
            <p:nvPr/>
          </p:nvSpPr>
          <p:spPr>
            <a:xfrm>
              <a:off x="8402766" y="2940974"/>
              <a:ext cx="14936" cy="253918"/>
            </a:xfrm>
            <a:custGeom>
              <a:avLst/>
              <a:gdLst>
                <a:gd name="connsiteX0" fmla="*/ 0 w 14936"/>
                <a:gd name="connsiteY0" fmla="*/ 256956 h 253917"/>
                <a:gd name="connsiteX1" fmla="*/ 10455 w 14936"/>
                <a:gd name="connsiteY1" fmla="*/ 264424 h 253917"/>
                <a:gd name="connsiteX2" fmla="*/ 11949 w 14936"/>
                <a:gd name="connsiteY2" fmla="*/ 261437 h 253917"/>
                <a:gd name="connsiteX3" fmla="*/ 25392 w 14936"/>
                <a:gd name="connsiteY3" fmla="*/ 174806 h 253917"/>
                <a:gd name="connsiteX4" fmla="*/ 28379 w 14936"/>
                <a:gd name="connsiteY4" fmla="*/ 138959 h 253917"/>
                <a:gd name="connsiteX5" fmla="*/ 26885 w 14936"/>
                <a:gd name="connsiteY5" fmla="*/ 51 h 253917"/>
                <a:gd name="connsiteX6" fmla="*/ 13443 w 14936"/>
                <a:gd name="connsiteY6" fmla="*/ 161363 h 253917"/>
                <a:gd name="connsiteX7" fmla="*/ 1493 w 14936"/>
                <a:gd name="connsiteY7" fmla="*/ 249488 h 253917"/>
                <a:gd name="connsiteX8" fmla="*/ 1493 w 14936"/>
                <a:gd name="connsiteY8" fmla="*/ 249488 h 253917"/>
                <a:gd name="connsiteX9" fmla="*/ 0 w 14936"/>
                <a:gd name="connsiteY9" fmla="*/ 256956 h 253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53917">
                  <a:moveTo>
                    <a:pt x="0" y="256956"/>
                  </a:moveTo>
                  <a:cubicBezTo>
                    <a:pt x="0" y="256956"/>
                    <a:pt x="4481" y="259943"/>
                    <a:pt x="10455" y="264424"/>
                  </a:cubicBezTo>
                  <a:cubicBezTo>
                    <a:pt x="10455" y="262930"/>
                    <a:pt x="10455" y="262930"/>
                    <a:pt x="11949" y="261437"/>
                  </a:cubicBezTo>
                  <a:cubicBezTo>
                    <a:pt x="20911" y="233058"/>
                    <a:pt x="23898" y="204679"/>
                    <a:pt x="25392" y="174806"/>
                  </a:cubicBezTo>
                  <a:lnTo>
                    <a:pt x="28379" y="138959"/>
                  </a:lnTo>
                  <a:cubicBezTo>
                    <a:pt x="29873" y="127010"/>
                    <a:pt x="28379" y="-2937"/>
                    <a:pt x="26885" y="51"/>
                  </a:cubicBezTo>
                  <a:lnTo>
                    <a:pt x="13443" y="161363"/>
                  </a:lnTo>
                  <a:cubicBezTo>
                    <a:pt x="8961" y="186755"/>
                    <a:pt x="4481" y="216628"/>
                    <a:pt x="1493" y="249488"/>
                  </a:cubicBezTo>
                  <a:cubicBezTo>
                    <a:pt x="1493" y="249488"/>
                    <a:pt x="1493" y="249488"/>
                    <a:pt x="1493" y="249488"/>
                  </a:cubicBezTo>
                  <a:cubicBezTo>
                    <a:pt x="0" y="252475"/>
                    <a:pt x="0" y="253969"/>
                    <a:pt x="0" y="256956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2" name="任意多边形: 形状 9891"/>
            <p:cNvSpPr/>
            <p:nvPr/>
          </p:nvSpPr>
          <p:spPr>
            <a:xfrm>
              <a:off x="8456536" y="3044993"/>
              <a:ext cx="14936" cy="14936"/>
            </a:xfrm>
            <a:custGeom>
              <a:avLst/>
              <a:gdLst>
                <a:gd name="connsiteX0" fmla="*/ 0 w 0"/>
                <a:gd name="connsiteY0" fmla="*/ 3573 h 0"/>
                <a:gd name="connsiteX1" fmla="*/ 4481 w 0"/>
                <a:gd name="connsiteY1" fmla="*/ 11041 h 0"/>
                <a:gd name="connsiteX2" fmla="*/ 8962 w 0"/>
                <a:gd name="connsiteY2" fmla="*/ 8054 h 0"/>
                <a:gd name="connsiteX3" fmla="*/ 4481 w 0"/>
                <a:gd name="connsiteY3" fmla="*/ 586 h 0"/>
                <a:gd name="connsiteX4" fmla="*/ 0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573"/>
                  </a:moveTo>
                  <a:cubicBezTo>
                    <a:pt x="0" y="6560"/>
                    <a:pt x="1494" y="9548"/>
                    <a:pt x="4481" y="11041"/>
                  </a:cubicBezTo>
                  <a:cubicBezTo>
                    <a:pt x="7468" y="12535"/>
                    <a:pt x="8962" y="11041"/>
                    <a:pt x="8962" y="8054"/>
                  </a:cubicBezTo>
                  <a:cubicBezTo>
                    <a:pt x="8962" y="5067"/>
                    <a:pt x="7468" y="2079"/>
                    <a:pt x="4481" y="586"/>
                  </a:cubicBezTo>
                  <a:cubicBezTo>
                    <a:pt x="1494" y="-908"/>
                    <a:pt x="0" y="586"/>
                    <a:pt x="0" y="3573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3" name="任意多边形: 形状 9892"/>
            <p:cNvSpPr/>
            <p:nvPr/>
          </p:nvSpPr>
          <p:spPr>
            <a:xfrm>
              <a:off x="8456536" y="3110713"/>
              <a:ext cx="14936" cy="14936"/>
            </a:xfrm>
            <a:custGeom>
              <a:avLst/>
              <a:gdLst>
                <a:gd name="connsiteX0" fmla="*/ 0 w 0"/>
                <a:gd name="connsiteY0" fmla="*/ 3573 h 0"/>
                <a:gd name="connsiteX1" fmla="*/ 4481 w 0"/>
                <a:gd name="connsiteY1" fmla="*/ 11041 h 0"/>
                <a:gd name="connsiteX2" fmla="*/ 8962 w 0"/>
                <a:gd name="connsiteY2" fmla="*/ 8054 h 0"/>
                <a:gd name="connsiteX3" fmla="*/ 4481 w 0"/>
                <a:gd name="connsiteY3" fmla="*/ 586 h 0"/>
                <a:gd name="connsiteX4" fmla="*/ 0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573"/>
                  </a:moveTo>
                  <a:cubicBezTo>
                    <a:pt x="0" y="6560"/>
                    <a:pt x="1494" y="9548"/>
                    <a:pt x="4481" y="11041"/>
                  </a:cubicBezTo>
                  <a:cubicBezTo>
                    <a:pt x="7468" y="12535"/>
                    <a:pt x="8962" y="11041"/>
                    <a:pt x="8962" y="8054"/>
                  </a:cubicBezTo>
                  <a:cubicBezTo>
                    <a:pt x="8962" y="5067"/>
                    <a:pt x="7468" y="2080"/>
                    <a:pt x="4481" y="586"/>
                  </a:cubicBezTo>
                  <a:cubicBezTo>
                    <a:pt x="1494" y="-908"/>
                    <a:pt x="0" y="586"/>
                    <a:pt x="0" y="3573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4" name="任意多边形: 形状 9893"/>
            <p:cNvSpPr/>
            <p:nvPr/>
          </p:nvSpPr>
          <p:spPr>
            <a:xfrm>
              <a:off x="8456536" y="3175526"/>
              <a:ext cx="14936" cy="14936"/>
            </a:xfrm>
            <a:custGeom>
              <a:avLst/>
              <a:gdLst>
                <a:gd name="connsiteX0" fmla="*/ 0 w 0"/>
                <a:gd name="connsiteY0" fmla="*/ 2987 h 0"/>
                <a:gd name="connsiteX1" fmla="*/ 4481 w 0"/>
                <a:gd name="connsiteY1" fmla="*/ 10455 h 0"/>
                <a:gd name="connsiteX2" fmla="*/ 8962 w 0"/>
                <a:gd name="connsiteY2" fmla="*/ 7468 h 0"/>
                <a:gd name="connsiteX3" fmla="*/ 4481 w 0"/>
                <a:gd name="connsiteY3" fmla="*/ 0 h 0"/>
                <a:gd name="connsiteX4" fmla="*/ 0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2987"/>
                  </a:moveTo>
                  <a:cubicBezTo>
                    <a:pt x="0" y="5974"/>
                    <a:pt x="1494" y="8962"/>
                    <a:pt x="4481" y="10455"/>
                  </a:cubicBezTo>
                  <a:cubicBezTo>
                    <a:pt x="7468" y="11949"/>
                    <a:pt x="8962" y="10455"/>
                    <a:pt x="8962" y="7468"/>
                  </a:cubicBezTo>
                  <a:cubicBezTo>
                    <a:pt x="8962" y="4481"/>
                    <a:pt x="7468" y="1493"/>
                    <a:pt x="4481" y="0"/>
                  </a:cubicBezTo>
                  <a:cubicBezTo>
                    <a:pt x="1494" y="0"/>
                    <a:pt x="0" y="1493"/>
                    <a:pt x="0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5" name="任意多边形: 形状 9894"/>
            <p:cNvSpPr/>
            <p:nvPr/>
          </p:nvSpPr>
          <p:spPr>
            <a:xfrm>
              <a:off x="8496864" y="3027656"/>
              <a:ext cx="29873" cy="14936"/>
            </a:xfrm>
            <a:custGeom>
              <a:avLst/>
              <a:gdLst>
                <a:gd name="connsiteX0" fmla="*/ 0 w 29872"/>
                <a:gd name="connsiteY0" fmla="*/ 10456 h 14936"/>
                <a:gd name="connsiteX1" fmla="*/ 31366 w 29872"/>
                <a:gd name="connsiteY1" fmla="*/ 28379 h 14936"/>
                <a:gd name="connsiteX2" fmla="*/ 31366 w 29872"/>
                <a:gd name="connsiteY2" fmla="*/ 17924 h 14936"/>
                <a:gd name="connsiteX3" fmla="*/ 0 w 29872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0" y="10456"/>
                  </a:moveTo>
                  <a:lnTo>
                    <a:pt x="31366" y="28379"/>
                  </a:lnTo>
                  <a:lnTo>
                    <a:pt x="31366" y="179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54C6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6" name="任意多边形: 形状 9895"/>
            <p:cNvSpPr/>
            <p:nvPr/>
          </p:nvSpPr>
          <p:spPr>
            <a:xfrm>
              <a:off x="8537566" y="3196949"/>
              <a:ext cx="59745" cy="74682"/>
            </a:xfrm>
            <a:custGeom>
              <a:avLst/>
              <a:gdLst>
                <a:gd name="connsiteX0" fmla="*/ 60865 w 59745"/>
                <a:gd name="connsiteY0" fmla="*/ 57739 h 74681"/>
                <a:gd name="connsiteX1" fmla="*/ 53397 w 59745"/>
                <a:gd name="connsiteY1" fmla="*/ 66701 h 74681"/>
                <a:gd name="connsiteX2" fmla="*/ 13069 w 59745"/>
                <a:gd name="connsiteY2" fmla="*/ 71182 h 74681"/>
                <a:gd name="connsiteX3" fmla="*/ 23524 w 59745"/>
                <a:gd name="connsiteY3" fmla="*/ 60727 h 74681"/>
                <a:gd name="connsiteX4" fmla="*/ 20537 w 59745"/>
                <a:gd name="connsiteY4" fmla="*/ 39816 h 74681"/>
                <a:gd name="connsiteX5" fmla="*/ 17550 w 59745"/>
                <a:gd name="connsiteY5" fmla="*/ 56246 h 74681"/>
                <a:gd name="connsiteX6" fmla="*/ 4107 w 59745"/>
                <a:gd name="connsiteY6" fmla="*/ 65207 h 74681"/>
                <a:gd name="connsiteX7" fmla="*/ 2614 w 59745"/>
                <a:gd name="connsiteY7" fmla="*/ 65207 h 74681"/>
                <a:gd name="connsiteX8" fmla="*/ 1120 w 59745"/>
                <a:gd name="connsiteY8" fmla="*/ 63714 h 74681"/>
                <a:gd name="connsiteX9" fmla="*/ 1120 w 59745"/>
                <a:gd name="connsiteY9" fmla="*/ 54752 h 74681"/>
                <a:gd name="connsiteX10" fmla="*/ 4107 w 59745"/>
                <a:gd name="connsiteY10" fmla="*/ 48777 h 74681"/>
                <a:gd name="connsiteX11" fmla="*/ 5601 w 59745"/>
                <a:gd name="connsiteY11" fmla="*/ 39816 h 74681"/>
                <a:gd name="connsiteX12" fmla="*/ 20537 w 59745"/>
                <a:gd name="connsiteY12" fmla="*/ 6956 h 74681"/>
                <a:gd name="connsiteX13" fmla="*/ 26512 w 59745"/>
                <a:gd name="connsiteY13" fmla="*/ 2475 h 74681"/>
                <a:gd name="connsiteX14" fmla="*/ 42942 w 59745"/>
                <a:gd name="connsiteY14" fmla="*/ 981 h 74681"/>
                <a:gd name="connsiteX15" fmla="*/ 45929 w 59745"/>
                <a:gd name="connsiteY15" fmla="*/ 2475 h 74681"/>
                <a:gd name="connsiteX16" fmla="*/ 48916 w 59745"/>
                <a:gd name="connsiteY16" fmla="*/ 3968 h 74681"/>
                <a:gd name="connsiteX17" fmla="*/ 59372 w 59745"/>
                <a:gd name="connsiteY17" fmla="*/ 24879 h 74681"/>
                <a:gd name="connsiteX18" fmla="*/ 60865 w 59745"/>
                <a:gd name="connsiteY18" fmla="*/ 57739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9745" h="74681">
                  <a:moveTo>
                    <a:pt x="60865" y="57739"/>
                  </a:moveTo>
                  <a:cubicBezTo>
                    <a:pt x="59372" y="60727"/>
                    <a:pt x="54891" y="65207"/>
                    <a:pt x="53397" y="66701"/>
                  </a:cubicBezTo>
                  <a:cubicBezTo>
                    <a:pt x="44436" y="72676"/>
                    <a:pt x="17550" y="87612"/>
                    <a:pt x="13069" y="71182"/>
                  </a:cubicBezTo>
                  <a:cubicBezTo>
                    <a:pt x="11576" y="63714"/>
                    <a:pt x="23524" y="68195"/>
                    <a:pt x="23524" y="60727"/>
                  </a:cubicBezTo>
                  <a:cubicBezTo>
                    <a:pt x="23524" y="53258"/>
                    <a:pt x="20537" y="47284"/>
                    <a:pt x="20537" y="39816"/>
                  </a:cubicBezTo>
                  <a:cubicBezTo>
                    <a:pt x="20537" y="45790"/>
                    <a:pt x="20537" y="51765"/>
                    <a:pt x="17550" y="56246"/>
                  </a:cubicBezTo>
                  <a:cubicBezTo>
                    <a:pt x="14563" y="60727"/>
                    <a:pt x="10082" y="65207"/>
                    <a:pt x="4107" y="65207"/>
                  </a:cubicBezTo>
                  <a:cubicBezTo>
                    <a:pt x="4107" y="65207"/>
                    <a:pt x="2614" y="65207"/>
                    <a:pt x="2614" y="65207"/>
                  </a:cubicBezTo>
                  <a:cubicBezTo>
                    <a:pt x="2614" y="65207"/>
                    <a:pt x="2614" y="65207"/>
                    <a:pt x="1120" y="63714"/>
                  </a:cubicBezTo>
                  <a:cubicBezTo>
                    <a:pt x="-373" y="60727"/>
                    <a:pt x="-373" y="57739"/>
                    <a:pt x="1120" y="54752"/>
                  </a:cubicBezTo>
                  <a:cubicBezTo>
                    <a:pt x="2614" y="53258"/>
                    <a:pt x="4107" y="50271"/>
                    <a:pt x="4107" y="48777"/>
                  </a:cubicBezTo>
                  <a:cubicBezTo>
                    <a:pt x="5601" y="45790"/>
                    <a:pt x="5601" y="42803"/>
                    <a:pt x="5601" y="39816"/>
                  </a:cubicBezTo>
                  <a:cubicBezTo>
                    <a:pt x="7095" y="27867"/>
                    <a:pt x="11576" y="15918"/>
                    <a:pt x="20537" y="6956"/>
                  </a:cubicBezTo>
                  <a:cubicBezTo>
                    <a:pt x="22031" y="5462"/>
                    <a:pt x="23524" y="3968"/>
                    <a:pt x="26512" y="2475"/>
                  </a:cubicBezTo>
                  <a:cubicBezTo>
                    <a:pt x="30993" y="-513"/>
                    <a:pt x="36968" y="-513"/>
                    <a:pt x="42942" y="981"/>
                  </a:cubicBezTo>
                  <a:cubicBezTo>
                    <a:pt x="44436" y="981"/>
                    <a:pt x="45929" y="981"/>
                    <a:pt x="45929" y="2475"/>
                  </a:cubicBezTo>
                  <a:cubicBezTo>
                    <a:pt x="47423" y="2475"/>
                    <a:pt x="47423" y="3968"/>
                    <a:pt x="48916" y="3968"/>
                  </a:cubicBezTo>
                  <a:cubicBezTo>
                    <a:pt x="54891" y="9943"/>
                    <a:pt x="57878" y="17411"/>
                    <a:pt x="59372" y="24879"/>
                  </a:cubicBezTo>
                  <a:cubicBezTo>
                    <a:pt x="62359" y="32347"/>
                    <a:pt x="62359" y="53258"/>
                    <a:pt x="60865" y="5773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7" name="任意多边形: 形状 9896"/>
            <p:cNvSpPr/>
            <p:nvPr/>
          </p:nvSpPr>
          <p:spPr>
            <a:xfrm>
              <a:off x="8548081" y="3042135"/>
              <a:ext cx="74682" cy="164300"/>
            </a:xfrm>
            <a:custGeom>
              <a:avLst/>
              <a:gdLst>
                <a:gd name="connsiteX0" fmla="*/ 1061 w 74681"/>
                <a:gd name="connsiteY0" fmla="*/ 143846 h 164299"/>
                <a:gd name="connsiteX1" fmla="*/ 42882 w 74681"/>
                <a:gd name="connsiteY1" fmla="*/ 178200 h 164299"/>
                <a:gd name="connsiteX2" fmla="*/ 62300 w 74681"/>
                <a:gd name="connsiteY2" fmla="*/ 152808 h 164299"/>
                <a:gd name="connsiteX3" fmla="*/ 78730 w 74681"/>
                <a:gd name="connsiteY3" fmla="*/ 34811 h 164299"/>
                <a:gd name="connsiteX4" fmla="*/ 51844 w 74681"/>
                <a:gd name="connsiteY4" fmla="*/ 457 h 164299"/>
                <a:gd name="connsiteX5" fmla="*/ 51844 w 74681"/>
                <a:gd name="connsiteY5" fmla="*/ 457 h 164299"/>
                <a:gd name="connsiteX6" fmla="*/ 17491 w 74681"/>
                <a:gd name="connsiteY6" fmla="*/ 27343 h 164299"/>
                <a:gd name="connsiteX7" fmla="*/ 1061 w 74681"/>
                <a:gd name="connsiteY7" fmla="*/ 143846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164299">
                  <a:moveTo>
                    <a:pt x="1061" y="143846"/>
                  </a:moveTo>
                  <a:cubicBezTo>
                    <a:pt x="-7901" y="184175"/>
                    <a:pt x="42882" y="178200"/>
                    <a:pt x="42882" y="178200"/>
                  </a:cubicBezTo>
                  <a:cubicBezTo>
                    <a:pt x="54831" y="176706"/>
                    <a:pt x="59312" y="169238"/>
                    <a:pt x="62300" y="152808"/>
                  </a:cubicBezTo>
                  <a:lnTo>
                    <a:pt x="78730" y="34811"/>
                  </a:lnTo>
                  <a:cubicBezTo>
                    <a:pt x="81717" y="18381"/>
                    <a:pt x="69768" y="1951"/>
                    <a:pt x="51844" y="457"/>
                  </a:cubicBezTo>
                  <a:lnTo>
                    <a:pt x="51844" y="457"/>
                  </a:lnTo>
                  <a:cubicBezTo>
                    <a:pt x="35414" y="-2530"/>
                    <a:pt x="18984" y="9419"/>
                    <a:pt x="17491" y="27343"/>
                  </a:cubicBezTo>
                  <a:lnTo>
                    <a:pt x="1061" y="143846"/>
                  </a:lnTo>
                  <a:close/>
                </a:path>
              </a:pathLst>
            </a:custGeom>
            <a:solidFill>
              <a:srgbClr val="1934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8" name="任意多边形: 形状 9897"/>
            <p:cNvSpPr/>
            <p:nvPr/>
          </p:nvSpPr>
          <p:spPr>
            <a:xfrm>
              <a:off x="8472966" y="2859809"/>
              <a:ext cx="59745" cy="29873"/>
            </a:xfrm>
            <a:custGeom>
              <a:avLst/>
              <a:gdLst>
                <a:gd name="connsiteX0" fmla="*/ 1494 w 59745"/>
                <a:gd name="connsiteY0" fmla="*/ 24458 h 29872"/>
                <a:gd name="connsiteX1" fmla="*/ 8962 w 59745"/>
                <a:gd name="connsiteY1" fmla="*/ 31926 h 29872"/>
                <a:gd name="connsiteX2" fmla="*/ 53771 w 59745"/>
                <a:gd name="connsiteY2" fmla="*/ 31926 h 29872"/>
                <a:gd name="connsiteX3" fmla="*/ 53771 w 59745"/>
                <a:gd name="connsiteY3" fmla="*/ 6535 h 29872"/>
                <a:gd name="connsiteX4" fmla="*/ 44809 w 59745"/>
                <a:gd name="connsiteY4" fmla="*/ 2054 h 29872"/>
                <a:gd name="connsiteX5" fmla="*/ 38835 w 59745"/>
                <a:gd name="connsiteY5" fmla="*/ 560 h 29872"/>
                <a:gd name="connsiteX6" fmla="*/ 8962 w 59745"/>
                <a:gd name="connsiteY6" fmla="*/ 5041 h 29872"/>
                <a:gd name="connsiteX7" fmla="*/ 0 w 59745"/>
                <a:gd name="connsiteY7" fmla="*/ 14003 h 29872"/>
                <a:gd name="connsiteX8" fmla="*/ 1494 w 59745"/>
                <a:gd name="connsiteY8" fmla="*/ 24458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9872">
                  <a:moveTo>
                    <a:pt x="1494" y="24458"/>
                  </a:moveTo>
                  <a:cubicBezTo>
                    <a:pt x="2987" y="27446"/>
                    <a:pt x="5974" y="30433"/>
                    <a:pt x="8962" y="31926"/>
                  </a:cubicBezTo>
                  <a:cubicBezTo>
                    <a:pt x="20911" y="39395"/>
                    <a:pt x="41822" y="39395"/>
                    <a:pt x="53771" y="31926"/>
                  </a:cubicBezTo>
                  <a:cubicBezTo>
                    <a:pt x="65720" y="24458"/>
                    <a:pt x="65720" y="12509"/>
                    <a:pt x="53771" y="6535"/>
                  </a:cubicBezTo>
                  <a:cubicBezTo>
                    <a:pt x="50783" y="5041"/>
                    <a:pt x="47796" y="3547"/>
                    <a:pt x="44809" y="2054"/>
                  </a:cubicBezTo>
                  <a:cubicBezTo>
                    <a:pt x="43315" y="2054"/>
                    <a:pt x="41822" y="560"/>
                    <a:pt x="38835" y="560"/>
                  </a:cubicBezTo>
                  <a:cubicBezTo>
                    <a:pt x="28379" y="-933"/>
                    <a:pt x="16430" y="560"/>
                    <a:pt x="8962" y="5041"/>
                  </a:cubicBezTo>
                  <a:cubicBezTo>
                    <a:pt x="4481" y="8028"/>
                    <a:pt x="1494" y="11015"/>
                    <a:pt x="0" y="14003"/>
                  </a:cubicBezTo>
                  <a:cubicBezTo>
                    <a:pt x="0" y="18484"/>
                    <a:pt x="0" y="21471"/>
                    <a:pt x="1494" y="24458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9" name="任意多边形: 形状 9898"/>
            <p:cNvSpPr/>
            <p:nvPr/>
          </p:nvSpPr>
          <p:spPr>
            <a:xfrm>
              <a:off x="8472966" y="2796142"/>
              <a:ext cx="59745" cy="74682"/>
            </a:xfrm>
            <a:custGeom>
              <a:avLst/>
              <a:gdLst>
                <a:gd name="connsiteX0" fmla="*/ 0 w 59745"/>
                <a:gd name="connsiteY0" fmla="*/ 0 h 74681"/>
                <a:gd name="connsiteX1" fmla="*/ 64226 w 59745"/>
                <a:gd name="connsiteY1" fmla="*/ 0 h 74681"/>
                <a:gd name="connsiteX2" fmla="*/ 64226 w 59745"/>
                <a:gd name="connsiteY2" fmla="*/ 82150 h 74681"/>
                <a:gd name="connsiteX3" fmla="*/ 0 w 59745"/>
                <a:gd name="connsiteY3" fmla="*/ 8215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74681">
                  <a:moveTo>
                    <a:pt x="0" y="0"/>
                  </a:moveTo>
                  <a:lnTo>
                    <a:pt x="64226" y="0"/>
                  </a:lnTo>
                  <a:lnTo>
                    <a:pt x="64226" y="82150"/>
                  </a:lnTo>
                  <a:lnTo>
                    <a:pt x="0" y="82150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0" name="任意多边形: 形状 9899"/>
            <p:cNvSpPr/>
            <p:nvPr/>
          </p:nvSpPr>
          <p:spPr>
            <a:xfrm>
              <a:off x="8447626" y="2737510"/>
              <a:ext cx="74682" cy="119491"/>
            </a:xfrm>
            <a:custGeom>
              <a:avLst/>
              <a:gdLst>
                <a:gd name="connsiteX0" fmla="*/ 77618 w 74681"/>
                <a:gd name="connsiteY0" fmla="*/ 64607 h 119490"/>
                <a:gd name="connsiteX1" fmla="*/ 74631 w 74681"/>
                <a:gd name="connsiteY1" fmla="*/ 91492 h 119490"/>
                <a:gd name="connsiteX2" fmla="*/ 62681 w 74681"/>
                <a:gd name="connsiteY2" fmla="*/ 115390 h 119490"/>
                <a:gd name="connsiteX3" fmla="*/ 25341 w 74681"/>
                <a:gd name="connsiteY3" fmla="*/ 127340 h 119490"/>
                <a:gd name="connsiteX4" fmla="*/ 16379 w 74681"/>
                <a:gd name="connsiteY4" fmla="*/ 124352 h 119490"/>
                <a:gd name="connsiteX5" fmla="*/ 7417 w 74681"/>
                <a:gd name="connsiteY5" fmla="*/ 107922 h 119490"/>
                <a:gd name="connsiteX6" fmla="*/ 1442 w 74681"/>
                <a:gd name="connsiteY6" fmla="*/ 31747 h 119490"/>
                <a:gd name="connsiteX7" fmla="*/ 2936 w 74681"/>
                <a:gd name="connsiteY7" fmla="*/ 19798 h 119490"/>
                <a:gd name="connsiteX8" fmla="*/ 28328 w 74681"/>
                <a:gd name="connsiteY8" fmla="*/ 381 h 119490"/>
                <a:gd name="connsiteX9" fmla="*/ 61188 w 74681"/>
                <a:gd name="connsiteY9" fmla="*/ 7849 h 119490"/>
                <a:gd name="connsiteX10" fmla="*/ 68656 w 74681"/>
                <a:gd name="connsiteY10" fmla="*/ 12330 h 119490"/>
                <a:gd name="connsiteX11" fmla="*/ 74631 w 74681"/>
                <a:gd name="connsiteY11" fmla="*/ 19798 h 119490"/>
                <a:gd name="connsiteX12" fmla="*/ 77618 w 74681"/>
                <a:gd name="connsiteY12" fmla="*/ 64607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77618" y="64607"/>
                  </a:moveTo>
                  <a:cubicBezTo>
                    <a:pt x="77618" y="73569"/>
                    <a:pt x="76124" y="82531"/>
                    <a:pt x="74631" y="91492"/>
                  </a:cubicBezTo>
                  <a:cubicBezTo>
                    <a:pt x="73137" y="100454"/>
                    <a:pt x="68656" y="109416"/>
                    <a:pt x="62681" y="115390"/>
                  </a:cubicBezTo>
                  <a:cubicBezTo>
                    <a:pt x="53719" y="125846"/>
                    <a:pt x="38783" y="130327"/>
                    <a:pt x="25341" y="127340"/>
                  </a:cubicBezTo>
                  <a:cubicBezTo>
                    <a:pt x="22354" y="127340"/>
                    <a:pt x="19366" y="125846"/>
                    <a:pt x="16379" y="124352"/>
                  </a:cubicBezTo>
                  <a:cubicBezTo>
                    <a:pt x="11898" y="121365"/>
                    <a:pt x="8910" y="113897"/>
                    <a:pt x="7417" y="107922"/>
                  </a:cubicBezTo>
                  <a:cubicBezTo>
                    <a:pt x="-51" y="82531"/>
                    <a:pt x="-1545" y="57139"/>
                    <a:pt x="1442" y="31747"/>
                  </a:cubicBezTo>
                  <a:cubicBezTo>
                    <a:pt x="1442" y="27266"/>
                    <a:pt x="1442" y="24279"/>
                    <a:pt x="2936" y="19798"/>
                  </a:cubicBezTo>
                  <a:cubicBezTo>
                    <a:pt x="5923" y="9343"/>
                    <a:pt x="17872" y="1874"/>
                    <a:pt x="28328" y="381"/>
                  </a:cubicBezTo>
                  <a:cubicBezTo>
                    <a:pt x="40277" y="-1113"/>
                    <a:pt x="50732" y="1874"/>
                    <a:pt x="61188" y="7849"/>
                  </a:cubicBezTo>
                  <a:cubicBezTo>
                    <a:pt x="64175" y="9343"/>
                    <a:pt x="67163" y="10836"/>
                    <a:pt x="68656" y="12330"/>
                  </a:cubicBezTo>
                  <a:cubicBezTo>
                    <a:pt x="70150" y="13823"/>
                    <a:pt x="71643" y="16811"/>
                    <a:pt x="74631" y="19798"/>
                  </a:cubicBezTo>
                  <a:cubicBezTo>
                    <a:pt x="77618" y="22785"/>
                    <a:pt x="79111" y="49671"/>
                    <a:pt x="77618" y="6460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1" name="任意多边形: 形状 9900"/>
            <p:cNvSpPr/>
            <p:nvPr/>
          </p:nvSpPr>
          <p:spPr>
            <a:xfrm>
              <a:off x="8447626" y="2746472"/>
              <a:ext cx="74682" cy="119491"/>
            </a:xfrm>
            <a:custGeom>
              <a:avLst/>
              <a:gdLst>
                <a:gd name="connsiteX0" fmla="*/ 77618 w 74681"/>
                <a:gd name="connsiteY0" fmla="*/ 64607 h 119490"/>
                <a:gd name="connsiteX1" fmla="*/ 74631 w 74681"/>
                <a:gd name="connsiteY1" fmla="*/ 91492 h 119490"/>
                <a:gd name="connsiteX2" fmla="*/ 62681 w 74681"/>
                <a:gd name="connsiteY2" fmla="*/ 115390 h 119490"/>
                <a:gd name="connsiteX3" fmla="*/ 25341 w 74681"/>
                <a:gd name="connsiteY3" fmla="*/ 127340 h 119490"/>
                <a:gd name="connsiteX4" fmla="*/ 16379 w 74681"/>
                <a:gd name="connsiteY4" fmla="*/ 124352 h 119490"/>
                <a:gd name="connsiteX5" fmla="*/ 7417 w 74681"/>
                <a:gd name="connsiteY5" fmla="*/ 107922 h 119490"/>
                <a:gd name="connsiteX6" fmla="*/ 1442 w 74681"/>
                <a:gd name="connsiteY6" fmla="*/ 31747 h 119490"/>
                <a:gd name="connsiteX7" fmla="*/ 2936 w 74681"/>
                <a:gd name="connsiteY7" fmla="*/ 19798 h 119490"/>
                <a:gd name="connsiteX8" fmla="*/ 28328 w 74681"/>
                <a:gd name="connsiteY8" fmla="*/ 381 h 119490"/>
                <a:gd name="connsiteX9" fmla="*/ 61188 w 74681"/>
                <a:gd name="connsiteY9" fmla="*/ 7849 h 119490"/>
                <a:gd name="connsiteX10" fmla="*/ 68656 w 74681"/>
                <a:gd name="connsiteY10" fmla="*/ 12330 h 119490"/>
                <a:gd name="connsiteX11" fmla="*/ 74631 w 74681"/>
                <a:gd name="connsiteY11" fmla="*/ 19798 h 119490"/>
                <a:gd name="connsiteX12" fmla="*/ 77618 w 74681"/>
                <a:gd name="connsiteY12" fmla="*/ 64607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77618" y="64607"/>
                  </a:moveTo>
                  <a:cubicBezTo>
                    <a:pt x="77618" y="73569"/>
                    <a:pt x="76124" y="82531"/>
                    <a:pt x="74631" y="91492"/>
                  </a:cubicBezTo>
                  <a:cubicBezTo>
                    <a:pt x="73137" y="100454"/>
                    <a:pt x="68656" y="109416"/>
                    <a:pt x="62681" y="115390"/>
                  </a:cubicBezTo>
                  <a:cubicBezTo>
                    <a:pt x="53719" y="125846"/>
                    <a:pt x="38783" y="130327"/>
                    <a:pt x="25341" y="127340"/>
                  </a:cubicBezTo>
                  <a:cubicBezTo>
                    <a:pt x="22354" y="127340"/>
                    <a:pt x="19366" y="125846"/>
                    <a:pt x="16379" y="124352"/>
                  </a:cubicBezTo>
                  <a:cubicBezTo>
                    <a:pt x="11898" y="121365"/>
                    <a:pt x="8910" y="113897"/>
                    <a:pt x="7417" y="107922"/>
                  </a:cubicBezTo>
                  <a:cubicBezTo>
                    <a:pt x="-51" y="82531"/>
                    <a:pt x="-1545" y="57139"/>
                    <a:pt x="1442" y="31747"/>
                  </a:cubicBezTo>
                  <a:cubicBezTo>
                    <a:pt x="1442" y="27266"/>
                    <a:pt x="1442" y="24279"/>
                    <a:pt x="2936" y="19798"/>
                  </a:cubicBezTo>
                  <a:cubicBezTo>
                    <a:pt x="5923" y="9342"/>
                    <a:pt x="17872" y="1874"/>
                    <a:pt x="28328" y="381"/>
                  </a:cubicBezTo>
                  <a:cubicBezTo>
                    <a:pt x="40277" y="-1113"/>
                    <a:pt x="50732" y="1874"/>
                    <a:pt x="61188" y="7849"/>
                  </a:cubicBezTo>
                  <a:cubicBezTo>
                    <a:pt x="64175" y="9342"/>
                    <a:pt x="67163" y="10836"/>
                    <a:pt x="68656" y="12330"/>
                  </a:cubicBezTo>
                  <a:cubicBezTo>
                    <a:pt x="70150" y="13823"/>
                    <a:pt x="71643" y="16811"/>
                    <a:pt x="74631" y="19798"/>
                  </a:cubicBezTo>
                  <a:cubicBezTo>
                    <a:pt x="77618" y="22785"/>
                    <a:pt x="79111" y="51164"/>
                    <a:pt x="77618" y="6460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2" name="任意多边形: 形状 9901"/>
            <p:cNvSpPr/>
            <p:nvPr/>
          </p:nvSpPr>
          <p:spPr>
            <a:xfrm>
              <a:off x="8473340" y="2805104"/>
              <a:ext cx="44809" cy="74682"/>
            </a:xfrm>
            <a:custGeom>
              <a:avLst/>
              <a:gdLst>
                <a:gd name="connsiteX0" fmla="*/ 1120 w 44809"/>
                <a:gd name="connsiteY0" fmla="*/ 79163 h 74681"/>
                <a:gd name="connsiteX1" fmla="*/ 38461 w 44809"/>
                <a:gd name="connsiteY1" fmla="*/ 67214 h 74681"/>
                <a:gd name="connsiteX2" fmla="*/ 45929 w 44809"/>
                <a:gd name="connsiteY2" fmla="*/ 56758 h 74681"/>
                <a:gd name="connsiteX3" fmla="*/ 50410 w 44809"/>
                <a:gd name="connsiteY3" fmla="*/ 43315 h 74681"/>
                <a:gd name="connsiteX4" fmla="*/ 53397 w 44809"/>
                <a:gd name="connsiteY4" fmla="*/ 16430 h 74681"/>
                <a:gd name="connsiteX5" fmla="*/ 53397 w 44809"/>
                <a:gd name="connsiteY5" fmla="*/ 0 h 74681"/>
                <a:gd name="connsiteX6" fmla="*/ 53397 w 44809"/>
                <a:gd name="connsiteY6" fmla="*/ 5974 h 74681"/>
                <a:gd name="connsiteX7" fmla="*/ 50410 w 44809"/>
                <a:gd name="connsiteY7" fmla="*/ 32860 h 74681"/>
                <a:gd name="connsiteX8" fmla="*/ 39955 w 44809"/>
                <a:gd name="connsiteY8" fmla="*/ 55264 h 74681"/>
                <a:gd name="connsiteX9" fmla="*/ 38461 w 44809"/>
                <a:gd name="connsiteY9" fmla="*/ 56758 h 74681"/>
                <a:gd name="connsiteX10" fmla="*/ 1120 w 44809"/>
                <a:gd name="connsiteY10" fmla="*/ 68707 h 74681"/>
                <a:gd name="connsiteX11" fmla="*/ 1120 w 44809"/>
                <a:gd name="connsiteY11" fmla="*/ 68707 h 74681"/>
                <a:gd name="connsiteX12" fmla="*/ 1120 w 44809"/>
                <a:gd name="connsiteY12" fmla="*/ 79163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09" h="74681">
                  <a:moveTo>
                    <a:pt x="1120" y="79163"/>
                  </a:moveTo>
                  <a:cubicBezTo>
                    <a:pt x="14563" y="82150"/>
                    <a:pt x="28006" y="77669"/>
                    <a:pt x="38461" y="67214"/>
                  </a:cubicBezTo>
                  <a:cubicBezTo>
                    <a:pt x="41449" y="64226"/>
                    <a:pt x="42942" y="61239"/>
                    <a:pt x="45929" y="56758"/>
                  </a:cubicBezTo>
                  <a:cubicBezTo>
                    <a:pt x="48917" y="52277"/>
                    <a:pt x="50410" y="47796"/>
                    <a:pt x="50410" y="43315"/>
                  </a:cubicBezTo>
                  <a:cubicBezTo>
                    <a:pt x="51904" y="34354"/>
                    <a:pt x="53397" y="25392"/>
                    <a:pt x="53397" y="16430"/>
                  </a:cubicBezTo>
                  <a:cubicBezTo>
                    <a:pt x="53397" y="11949"/>
                    <a:pt x="53397" y="5974"/>
                    <a:pt x="53397" y="0"/>
                  </a:cubicBezTo>
                  <a:cubicBezTo>
                    <a:pt x="53397" y="2987"/>
                    <a:pt x="53397" y="4481"/>
                    <a:pt x="53397" y="5974"/>
                  </a:cubicBezTo>
                  <a:cubicBezTo>
                    <a:pt x="53397" y="14936"/>
                    <a:pt x="51904" y="23898"/>
                    <a:pt x="50410" y="32860"/>
                  </a:cubicBezTo>
                  <a:cubicBezTo>
                    <a:pt x="48917" y="41822"/>
                    <a:pt x="45929" y="49290"/>
                    <a:pt x="39955" y="55264"/>
                  </a:cubicBezTo>
                  <a:cubicBezTo>
                    <a:pt x="39955" y="55264"/>
                    <a:pt x="38461" y="56758"/>
                    <a:pt x="38461" y="56758"/>
                  </a:cubicBezTo>
                  <a:cubicBezTo>
                    <a:pt x="29499" y="67214"/>
                    <a:pt x="14563" y="71694"/>
                    <a:pt x="1120" y="68707"/>
                  </a:cubicBezTo>
                  <a:cubicBezTo>
                    <a:pt x="1120" y="68707"/>
                    <a:pt x="1120" y="68707"/>
                    <a:pt x="1120" y="68707"/>
                  </a:cubicBezTo>
                  <a:cubicBezTo>
                    <a:pt x="-373" y="73188"/>
                    <a:pt x="-373" y="76175"/>
                    <a:pt x="1120" y="79163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3" name="任意多边形: 形状 9902"/>
            <p:cNvSpPr/>
            <p:nvPr/>
          </p:nvSpPr>
          <p:spPr>
            <a:xfrm>
              <a:off x="8446081" y="2728929"/>
              <a:ext cx="104554" cy="119491"/>
            </a:xfrm>
            <a:custGeom>
              <a:avLst/>
              <a:gdLst>
                <a:gd name="connsiteX0" fmla="*/ 74682 w 104554"/>
                <a:gd name="connsiteY0" fmla="*/ 79163 h 119490"/>
                <a:gd name="connsiteX1" fmla="*/ 83644 w 104554"/>
                <a:gd name="connsiteY1" fmla="*/ 74682 h 119490"/>
                <a:gd name="connsiteX2" fmla="*/ 79162 w 104554"/>
                <a:gd name="connsiteY2" fmla="*/ 119491 h 119490"/>
                <a:gd name="connsiteX3" fmla="*/ 80656 w 104554"/>
                <a:gd name="connsiteY3" fmla="*/ 125465 h 119490"/>
                <a:gd name="connsiteX4" fmla="*/ 85137 w 104554"/>
                <a:gd name="connsiteY4" fmla="*/ 126959 h 119490"/>
                <a:gd name="connsiteX5" fmla="*/ 100073 w 104554"/>
                <a:gd name="connsiteY5" fmla="*/ 117997 h 119490"/>
                <a:gd name="connsiteX6" fmla="*/ 106048 w 104554"/>
                <a:gd name="connsiteY6" fmla="*/ 101567 h 119490"/>
                <a:gd name="connsiteX7" fmla="*/ 109035 w 104554"/>
                <a:gd name="connsiteY7" fmla="*/ 79163 h 119490"/>
                <a:gd name="connsiteX8" fmla="*/ 107541 w 104554"/>
                <a:gd name="connsiteY8" fmla="*/ 32860 h 119490"/>
                <a:gd name="connsiteX9" fmla="*/ 85137 w 104554"/>
                <a:gd name="connsiteY9" fmla="*/ 7468 h 119490"/>
                <a:gd name="connsiteX10" fmla="*/ 49290 w 104554"/>
                <a:gd name="connsiteY10" fmla="*/ 0 h 119490"/>
                <a:gd name="connsiteX11" fmla="*/ 20911 w 104554"/>
                <a:gd name="connsiteY11" fmla="*/ 7468 h 119490"/>
                <a:gd name="connsiteX12" fmla="*/ 1494 w 104554"/>
                <a:gd name="connsiteY12" fmla="*/ 29873 h 119490"/>
                <a:gd name="connsiteX13" fmla="*/ 0 w 104554"/>
                <a:gd name="connsiteY13" fmla="*/ 41822 h 119490"/>
                <a:gd name="connsiteX14" fmla="*/ 17923 w 104554"/>
                <a:gd name="connsiteY14" fmla="*/ 56758 h 119490"/>
                <a:gd name="connsiteX15" fmla="*/ 58252 w 104554"/>
                <a:gd name="connsiteY15" fmla="*/ 53771 h 119490"/>
                <a:gd name="connsiteX16" fmla="*/ 65720 w 104554"/>
                <a:gd name="connsiteY16" fmla="*/ 50784 h 119490"/>
                <a:gd name="connsiteX17" fmla="*/ 73188 w 104554"/>
                <a:gd name="connsiteY17" fmla="*/ 53771 h 119490"/>
                <a:gd name="connsiteX18" fmla="*/ 74682 w 104554"/>
                <a:gd name="connsiteY18" fmla="*/ 58252 h 119490"/>
                <a:gd name="connsiteX19" fmla="*/ 74682 w 104554"/>
                <a:gd name="connsiteY19" fmla="*/ 79163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4554" h="119490">
                  <a:moveTo>
                    <a:pt x="74682" y="79163"/>
                  </a:moveTo>
                  <a:cubicBezTo>
                    <a:pt x="74682" y="79163"/>
                    <a:pt x="80656" y="76175"/>
                    <a:pt x="83644" y="74682"/>
                  </a:cubicBezTo>
                  <a:cubicBezTo>
                    <a:pt x="79162" y="89618"/>
                    <a:pt x="77669" y="104554"/>
                    <a:pt x="79162" y="119491"/>
                  </a:cubicBezTo>
                  <a:cubicBezTo>
                    <a:pt x="79162" y="120984"/>
                    <a:pt x="79162" y="123972"/>
                    <a:pt x="80656" y="125465"/>
                  </a:cubicBezTo>
                  <a:cubicBezTo>
                    <a:pt x="82150" y="126959"/>
                    <a:pt x="83644" y="126959"/>
                    <a:pt x="85137" y="126959"/>
                  </a:cubicBezTo>
                  <a:cubicBezTo>
                    <a:pt x="91112" y="126959"/>
                    <a:pt x="97086" y="123972"/>
                    <a:pt x="100073" y="117997"/>
                  </a:cubicBezTo>
                  <a:cubicBezTo>
                    <a:pt x="103061" y="113516"/>
                    <a:pt x="104554" y="107542"/>
                    <a:pt x="106048" y="101567"/>
                  </a:cubicBezTo>
                  <a:cubicBezTo>
                    <a:pt x="107541" y="94099"/>
                    <a:pt x="109035" y="86631"/>
                    <a:pt x="109035" y="79163"/>
                  </a:cubicBezTo>
                  <a:cubicBezTo>
                    <a:pt x="110529" y="64226"/>
                    <a:pt x="113516" y="47796"/>
                    <a:pt x="107541" y="32860"/>
                  </a:cubicBezTo>
                  <a:cubicBezTo>
                    <a:pt x="103061" y="22405"/>
                    <a:pt x="95593" y="13443"/>
                    <a:pt x="85137" y="7468"/>
                  </a:cubicBezTo>
                  <a:cubicBezTo>
                    <a:pt x="74682" y="1494"/>
                    <a:pt x="61239" y="0"/>
                    <a:pt x="49290" y="0"/>
                  </a:cubicBezTo>
                  <a:cubicBezTo>
                    <a:pt x="38835" y="0"/>
                    <a:pt x="29873" y="1494"/>
                    <a:pt x="20911" y="7468"/>
                  </a:cubicBezTo>
                  <a:cubicBezTo>
                    <a:pt x="11949" y="11949"/>
                    <a:pt x="4481" y="19417"/>
                    <a:pt x="1494" y="29873"/>
                  </a:cubicBezTo>
                  <a:cubicBezTo>
                    <a:pt x="0" y="34354"/>
                    <a:pt x="0" y="38835"/>
                    <a:pt x="0" y="41822"/>
                  </a:cubicBezTo>
                  <a:cubicBezTo>
                    <a:pt x="2987" y="49290"/>
                    <a:pt x="10455" y="53771"/>
                    <a:pt x="17923" y="56758"/>
                  </a:cubicBezTo>
                  <a:cubicBezTo>
                    <a:pt x="31366" y="59745"/>
                    <a:pt x="46303" y="58252"/>
                    <a:pt x="58252" y="53771"/>
                  </a:cubicBezTo>
                  <a:cubicBezTo>
                    <a:pt x="61239" y="52277"/>
                    <a:pt x="62732" y="50784"/>
                    <a:pt x="65720" y="50784"/>
                  </a:cubicBezTo>
                  <a:cubicBezTo>
                    <a:pt x="68707" y="50784"/>
                    <a:pt x="71694" y="50784"/>
                    <a:pt x="73188" y="53771"/>
                  </a:cubicBezTo>
                  <a:cubicBezTo>
                    <a:pt x="73188" y="55265"/>
                    <a:pt x="74682" y="56758"/>
                    <a:pt x="74682" y="58252"/>
                  </a:cubicBezTo>
                  <a:cubicBezTo>
                    <a:pt x="74682" y="61239"/>
                    <a:pt x="74682" y="79163"/>
                    <a:pt x="74682" y="79163"/>
                  </a:cubicBezTo>
                  <a:close/>
                </a:path>
              </a:pathLst>
            </a:custGeom>
            <a:solidFill>
              <a:srgbClr val="F392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4" name="任意多边形: 形状 9903"/>
            <p:cNvSpPr/>
            <p:nvPr/>
          </p:nvSpPr>
          <p:spPr>
            <a:xfrm>
              <a:off x="8518605" y="2796142"/>
              <a:ext cx="14936" cy="29873"/>
            </a:xfrm>
            <a:custGeom>
              <a:avLst/>
              <a:gdLst>
                <a:gd name="connsiteX0" fmla="*/ 11120 w 14936"/>
                <a:gd name="connsiteY0" fmla="*/ 0 h 29872"/>
                <a:gd name="connsiteX1" fmla="*/ 3651 w 14936"/>
                <a:gd name="connsiteY1" fmla="*/ 5975 h 29872"/>
                <a:gd name="connsiteX2" fmla="*/ 664 w 14936"/>
                <a:gd name="connsiteY2" fmla="*/ 17924 h 29872"/>
                <a:gd name="connsiteX3" fmla="*/ 664 w 14936"/>
                <a:gd name="connsiteY3" fmla="*/ 32860 h 29872"/>
                <a:gd name="connsiteX4" fmla="*/ 3651 w 14936"/>
                <a:gd name="connsiteY4" fmla="*/ 35847 h 29872"/>
                <a:gd name="connsiteX5" fmla="*/ 9626 w 14936"/>
                <a:gd name="connsiteY5" fmla="*/ 34354 h 29872"/>
                <a:gd name="connsiteX6" fmla="*/ 12613 w 14936"/>
                <a:gd name="connsiteY6" fmla="*/ 28379 h 29872"/>
                <a:gd name="connsiteX7" fmla="*/ 17094 w 14936"/>
                <a:gd name="connsiteY7" fmla="*/ 10456 h 29872"/>
                <a:gd name="connsiteX8" fmla="*/ 17094 w 14936"/>
                <a:gd name="connsiteY8" fmla="*/ 2987 h 29872"/>
                <a:gd name="connsiteX9" fmla="*/ 11120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11120" y="0"/>
                  </a:moveTo>
                  <a:cubicBezTo>
                    <a:pt x="8132" y="0"/>
                    <a:pt x="5145" y="2987"/>
                    <a:pt x="3651" y="5975"/>
                  </a:cubicBezTo>
                  <a:cubicBezTo>
                    <a:pt x="2158" y="8962"/>
                    <a:pt x="664" y="13443"/>
                    <a:pt x="664" y="17924"/>
                  </a:cubicBezTo>
                  <a:cubicBezTo>
                    <a:pt x="664" y="22405"/>
                    <a:pt x="-830" y="28379"/>
                    <a:pt x="664" y="32860"/>
                  </a:cubicBezTo>
                  <a:cubicBezTo>
                    <a:pt x="664" y="34354"/>
                    <a:pt x="2158" y="35847"/>
                    <a:pt x="3651" y="35847"/>
                  </a:cubicBezTo>
                  <a:cubicBezTo>
                    <a:pt x="5145" y="37341"/>
                    <a:pt x="8132" y="35847"/>
                    <a:pt x="9626" y="34354"/>
                  </a:cubicBezTo>
                  <a:cubicBezTo>
                    <a:pt x="11120" y="32860"/>
                    <a:pt x="12613" y="31366"/>
                    <a:pt x="12613" y="28379"/>
                  </a:cubicBezTo>
                  <a:cubicBezTo>
                    <a:pt x="14106" y="22405"/>
                    <a:pt x="15600" y="16430"/>
                    <a:pt x="17094" y="10456"/>
                  </a:cubicBezTo>
                  <a:cubicBezTo>
                    <a:pt x="17094" y="7468"/>
                    <a:pt x="17094" y="5975"/>
                    <a:pt x="17094" y="2987"/>
                  </a:cubicBezTo>
                  <a:cubicBezTo>
                    <a:pt x="15600" y="2987"/>
                    <a:pt x="14106" y="1494"/>
                    <a:pt x="11120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5" name="任意多边形: 形状 9904"/>
            <p:cNvSpPr/>
            <p:nvPr/>
          </p:nvSpPr>
          <p:spPr>
            <a:xfrm>
              <a:off x="8656683" y="4390875"/>
              <a:ext cx="44809" cy="44809"/>
            </a:xfrm>
            <a:custGeom>
              <a:avLst/>
              <a:gdLst>
                <a:gd name="connsiteX0" fmla="*/ 0 w 44809"/>
                <a:gd name="connsiteY0" fmla="*/ 4949 h 44809"/>
                <a:gd name="connsiteX1" fmla="*/ 23898 w 44809"/>
                <a:gd name="connsiteY1" fmla="*/ 1962 h 44809"/>
                <a:gd name="connsiteX2" fmla="*/ 38834 w 44809"/>
                <a:gd name="connsiteY2" fmla="*/ 19886 h 44809"/>
                <a:gd name="connsiteX3" fmla="*/ 44809 w 44809"/>
                <a:gd name="connsiteY3" fmla="*/ 31835 h 44809"/>
                <a:gd name="connsiteX4" fmla="*/ 56758 w 44809"/>
                <a:gd name="connsiteY4" fmla="*/ 43784 h 44809"/>
                <a:gd name="connsiteX5" fmla="*/ 47796 w 44809"/>
                <a:gd name="connsiteY5" fmla="*/ 49758 h 44809"/>
                <a:gd name="connsiteX6" fmla="*/ 34353 w 44809"/>
                <a:gd name="connsiteY6" fmla="*/ 39303 h 44809"/>
                <a:gd name="connsiteX7" fmla="*/ 20911 w 44809"/>
                <a:gd name="connsiteY7" fmla="*/ 34822 h 44809"/>
                <a:gd name="connsiteX8" fmla="*/ 10455 w 44809"/>
                <a:gd name="connsiteY8" fmla="*/ 21380 h 44809"/>
                <a:gd name="connsiteX9" fmla="*/ 0 w 44809"/>
                <a:gd name="connsiteY9" fmla="*/ 4949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09" h="44809">
                  <a:moveTo>
                    <a:pt x="0" y="4949"/>
                  </a:moveTo>
                  <a:cubicBezTo>
                    <a:pt x="7468" y="-1025"/>
                    <a:pt x="14936" y="-1025"/>
                    <a:pt x="23898" y="1962"/>
                  </a:cubicBezTo>
                  <a:cubicBezTo>
                    <a:pt x="31366" y="4949"/>
                    <a:pt x="35847" y="12418"/>
                    <a:pt x="38834" y="19886"/>
                  </a:cubicBezTo>
                  <a:cubicBezTo>
                    <a:pt x="40328" y="24367"/>
                    <a:pt x="41822" y="28848"/>
                    <a:pt x="44809" y="31835"/>
                  </a:cubicBezTo>
                  <a:cubicBezTo>
                    <a:pt x="47796" y="36316"/>
                    <a:pt x="55264" y="37810"/>
                    <a:pt x="56758" y="43784"/>
                  </a:cubicBezTo>
                  <a:cubicBezTo>
                    <a:pt x="58252" y="49758"/>
                    <a:pt x="52277" y="52746"/>
                    <a:pt x="47796" y="49758"/>
                  </a:cubicBezTo>
                  <a:cubicBezTo>
                    <a:pt x="37341" y="45278"/>
                    <a:pt x="35847" y="40797"/>
                    <a:pt x="34353" y="39303"/>
                  </a:cubicBezTo>
                  <a:cubicBezTo>
                    <a:pt x="31366" y="36316"/>
                    <a:pt x="25392" y="37810"/>
                    <a:pt x="20911" y="34822"/>
                  </a:cubicBezTo>
                  <a:cubicBezTo>
                    <a:pt x="16430" y="31835"/>
                    <a:pt x="11949" y="25860"/>
                    <a:pt x="10455" y="21380"/>
                  </a:cubicBezTo>
                  <a:lnTo>
                    <a:pt x="0" y="4949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6" name="任意多边形: 形状 9905"/>
            <p:cNvSpPr/>
            <p:nvPr/>
          </p:nvSpPr>
          <p:spPr>
            <a:xfrm>
              <a:off x="8646519" y="4392837"/>
              <a:ext cx="44809" cy="74682"/>
            </a:xfrm>
            <a:custGeom>
              <a:avLst/>
              <a:gdLst>
                <a:gd name="connsiteX0" fmla="*/ 19126 w 44809"/>
                <a:gd name="connsiteY0" fmla="*/ 70201 h 74681"/>
                <a:gd name="connsiteX1" fmla="*/ 29582 w 44809"/>
                <a:gd name="connsiteY1" fmla="*/ 82150 h 74681"/>
                <a:gd name="connsiteX2" fmla="*/ 43024 w 44809"/>
                <a:gd name="connsiteY2" fmla="*/ 85137 h 74681"/>
                <a:gd name="connsiteX3" fmla="*/ 53480 w 44809"/>
                <a:gd name="connsiteY3" fmla="*/ 74682 h 74681"/>
                <a:gd name="connsiteX4" fmla="*/ 53480 w 44809"/>
                <a:gd name="connsiteY4" fmla="*/ 62733 h 74681"/>
                <a:gd name="connsiteX5" fmla="*/ 50492 w 44809"/>
                <a:gd name="connsiteY5" fmla="*/ 46303 h 74681"/>
                <a:gd name="connsiteX6" fmla="*/ 44518 w 44809"/>
                <a:gd name="connsiteY6" fmla="*/ 31366 h 74681"/>
                <a:gd name="connsiteX7" fmla="*/ 16139 w 44809"/>
                <a:gd name="connsiteY7" fmla="*/ 0 h 74681"/>
                <a:gd name="connsiteX8" fmla="*/ 1203 w 44809"/>
                <a:gd name="connsiteY8" fmla="*/ 17924 h 74681"/>
                <a:gd name="connsiteX9" fmla="*/ 5683 w 44809"/>
                <a:gd name="connsiteY9" fmla="*/ 40328 h 74681"/>
                <a:gd name="connsiteX10" fmla="*/ 10164 w 44809"/>
                <a:gd name="connsiteY10" fmla="*/ 59745 h 74681"/>
                <a:gd name="connsiteX11" fmla="*/ 19126 w 44809"/>
                <a:gd name="connsiteY11" fmla="*/ 7020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809" h="74681">
                  <a:moveTo>
                    <a:pt x="19126" y="70201"/>
                  </a:moveTo>
                  <a:cubicBezTo>
                    <a:pt x="19126" y="77669"/>
                    <a:pt x="25101" y="83644"/>
                    <a:pt x="29582" y="82150"/>
                  </a:cubicBezTo>
                  <a:cubicBezTo>
                    <a:pt x="31075" y="86631"/>
                    <a:pt x="40037" y="91112"/>
                    <a:pt x="43024" y="85137"/>
                  </a:cubicBezTo>
                  <a:cubicBezTo>
                    <a:pt x="47505" y="88125"/>
                    <a:pt x="53480" y="80657"/>
                    <a:pt x="53480" y="74682"/>
                  </a:cubicBezTo>
                  <a:cubicBezTo>
                    <a:pt x="53480" y="65720"/>
                    <a:pt x="53480" y="65720"/>
                    <a:pt x="53480" y="62733"/>
                  </a:cubicBezTo>
                  <a:cubicBezTo>
                    <a:pt x="53480" y="56758"/>
                    <a:pt x="51986" y="50784"/>
                    <a:pt x="50492" y="46303"/>
                  </a:cubicBezTo>
                  <a:cubicBezTo>
                    <a:pt x="48999" y="40328"/>
                    <a:pt x="47505" y="35848"/>
                    <a:pt x="44518" y="31366"/>
                  </a:cubicBezTo>
                  <a:cubicBezTo>
                    <a:pt x="35556" y="19418"/>
                    <a:pt x="29582" y="5975"/>
                    <a:pt x="16139" y="0"/>
                  </a:cubicBezTo>
                  <a:cubicBezTo>
                    <a:pt x="10164" y="2987"/>
                    <a:pt x="4190" y="5975"/>
                    <a:pt x="1203" y="17924"/>
                  </a:cubicBezTo>
                  <a:cubicBezTo>
                    <a:pt x="-1785" y="26886"/>
                    <a:pt x="1203" y="32860"/>
                    <a:pt x="5683" y="40328"/>
                  </a:cubicBezTo>
                  <a:cubicBezTo>
                    <a:pt x="10164" y="47796"/>
                    <a:pt x="10164" y="50784"/>
                    <a:pt x="10164" y="59745"/>
                  </a:cubicBezTo>
                  <a:cubicBezTo>
                    <a:pt x="11658" y="70201"/>
                    <a:pt x="17633" y="73188"/>
                    <a:pt x="19126" y="70201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7" name="任意多边形: 形状 9906"/>
            <p:cNvSpPr/>
            <p:nvPr/>
          </p:nvSpPr>
          <p:spPr>
            <a:xfrm>
              <a:off x="8561544" y="4128917"/>
              <a:ext cx="89618" cy="164300"/>
            </a:xfrm>
            <a:custGeom>
              <a:avLst/>
              <a:gdLst>
                <a:gd name="connsiteX0" fmla="*/ 90659 w 89618"/>
                <a:gd name="connsiteY0" fmla="*/ 138455 h 164299"/>
                <a:gd name="connsiteX1" fmla="*/ 68254 w 89618"/>
                <a:gd name="connsiteY1" fmla="*/ 175796 h 164299"/>
                <a:gd name="connsiteX2" fmla="*/ 68254 w 89618"/>
                <a:gd name="connsiteY2" fmla="*/ 175796 h 164299"/>
                <a:gd name="connsiteX3" fmla="*/ 30913 w 89618"/>
                <a:gd name="connsiteY3" fmla="*/ 153391 h 164299"/>
                <a:gd name="connsiteX4" fmla="*/ 1041 w 89618"/>
                <a:gd name="connsiteY4" fmla="*/ 38382 h 164299"/>
                <a:gd name="connsiteX5" fmla="*/ 23445 w 89618"/>
                <a:gd name="connsiteY5" fmla="*/ 1041 h 164299"/>
                <a:gd name="connsiteX6" fmla="*/ 23445 w 89618"/>
                <a:gd name="connsiteY6" fmla="*/ 1041 h 164299"/>
                <a:gd name="connsiteX7" fmla="*/ 60786 w 89618"/>
                <a:gd name="connsiteY7" fmla="*/ 23445 h 164299"/>
                <a:gd name="connsiteX8" fmla="*/ 90659 w 89618"/>
                <a:gd name="connsiteY8" fmla="*/ 138455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164299">
                  <a:moveTo>
                    <a:pt x="90659" y="138455"/>
                  </a:moveTo>
                  <a:cubicBezTo>
                    <a:pt x="95140" y="154885"/>
                    <a:pt x="84684" y="171315"/>
                    <a:pt x="68254" y="175796"/>
                  </a:cubicBezTo>
                  <a:lnTo>
                    <a:pt x="68254" y="175796"/>
                  </a:lnTo>
                  <a:cubicBezTo>
                    <a:pt x="51824" y="180277"/>
                    <a:pt x="35395" y="169821"/>
                    <a:pt x="30913" y="153391"/>
                  </a:cubicBezTo>
                  <a:lnTo>
                    <a:pt x="1041" y="38382"/>
                  </a:lnTo>
                  <a:cubicBezTo>
                    <a:pt x="-3440" y="21952"/>
                    <a:pt x="7015" y="5522"/>
                    <a:pt x="23445" y="1041"/>
                  </a:cubicBezTo>
                  <a:lnTo>
                    <a:pt x="23445" y="1041"/>
                  </a:lnTo>
                  <a:cubicBezTo>
                    <a:pt x="39875" y="-3440"/>
                    <a:pt x="56305" y="7015"/>
                    <a:pt x="60786" y="23445"/>
                  </a:cubicBezTo>
                  <a:lnTo>
                    <a:pt x="90659" y="138455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8" name="任意多边形: 形状 9907"/>
            <p:cNvSpPr/>
            <p:nvPr/>
          </p:nvSpPr>
          <p:spPr>
            <a:xfrm>
              <a:off x="8592094" y="4244604"/>
              <a:ext cx="89618" cy="149363"/>
            </a:xfrm>
            <a:custGeom>
              <a:avLst/>
              <a:gdLst>
                <a:gd name="connsiteX0" fmla="*/ 85501 w 89618"/>
                <a:gd name="connsiteY0" fmla="*/ 130310 h 149363"/>
                <a:gd name="connsiteX1" fmla="*/ 89981 w 89618"/>
                <a:gd name="connsiteY1" fmla="*/ 152714 h 149363"/>
                <a:gd name="connsiteX2" fmla="*/ 55628 w 89618"/>
                <a:gd name="connsiteY2" fmla="*/ 161676 h 149363"/>
                <a:gd name="connsiteX3" fmla="*/ 48160 w 89618"/>
                <a:gd name="connsiteY3" fmla="*/ 143752 h 149363"/>
                <a:gd name="connsiteX4" fmla="*/ 1857 w 89618"/>
                <a:gd name="connsiteY4" fmla="*/ 40692 h 149363"/>
                <a:gd name="connsiteX5" fmla="*/ 21274 w 89618"/>
                <a:gd name="connsiteY5" fmla="*/ 1857 h 149363"/>
                <a:gd name="connsiteX6" fmla="*/ 21274 w 89618"/>
                <a:gd name="connsiteY6" fmla="*/ 1857 h 149363"/>
                <a:gd name="connsiteX7" fmla="*/ 60109 w 89618"/>
                <a:gd name="connsiteY7" fmla="*/ 21274 h 149363"/>
                <a:gd name="connsiteX8" fmla="*/ 85501 w 89618"/>
                <a:gd name="connsiteY8" fmla="*/ 130310 h 14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149363">
                  <a:moveTo>
                    <a:pt x="85501" y="130310"/>
                  </a:moveTo>
                  <a:cubicBezTo>
                    <a:pt x="89981" y="140765"/>
                    <a:pt x="91475" y="148233"/>
                    <a:pt x="89981" y="152714"/>
                  </a:cubicBezTo>
                  <a:cubicBezTo>
                    <a:pt x="88488" y="158689"/>
                    <a:pt x="60109" y="167651"/>
                    <a:pt x="55628" y="161676"/>
                  </a:cubicBezTo>
                  <a:cubicBezTo>
                    <a:pt x="52641" y="157195"/>
                    <a:pt x="49654" y="151220"/>
                    <a:pt x="48160" y="143752"/>
                  </a:cubicBezTo>
                  <a:lnTo>
                    <a:pt x="1857" y="40692"/>
                  </a:lnTo>
                  <a:cubicBezTo>
                    <a:pt x="-4117" y="24262"/>
                    <a:pt x="4844" y="6338"/>
                    <a:pt x="21274" y="1857"/>
                  </a:cubicBezTo>
                  <a:lnTo>
                    <a:pt x="21274" y="1857"/>
                  </a:lnTo>
                  <a:cubicBezTo>
                    <a:pt x="37704" y="-4117"/>
                    <a:pt x="55628" y="4844"/>
                    <a:pt x="60109" y="21274"/>
                  </a:cubicBezTo>
                  <a:lnTo>
                    <a:pt x="85501" y="130310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9" name="任意多边形: 形状 9908"/>
            <p:cNvSpPr/>
            <p:nvPr/>
          </p:nvSpPr>
          <p:spPr>
            <a:xfrm>
              <a:off x="8461764" y="4879762"/>
              <a:ext cx="89618" cy="44809"/>
            </a:xfrm>
            <a:custGeom>
              <a:avLst/>
              <a:gdLst>
                <a:gd name="connsiteX0" fmla="*/ 6721 w 89618"/>
                <a:gd name="connsiteY0" fmla="*/ 4481 h 44809"/>
                <a:gd name="connsiteX1" fmla="*/ 6721 w 89618"/>
                <a:gd name="connsiteY1" fmla="*/ 23898 h 44809"/>
                <a:gd name="connsiteX2" fmla="*/ 58999 w 89618"/>
                <a:gd name="connsiteY2" fmla="*/ 53771 h 44809"/>
                <a:gd name="connsiteX3" fmla="*/ 93352 w 89618"/>
                <a:gd name="connsiteY3" fmla="*/ 53771 h 44809"/>
                <a:gd name="connsiteX4" fmla="*/ 93352 w 89618"/>
                <a:gd name="connsiteY4" fmla="*/ 53771 h 44809"/>
                <a:gd name="connsiteX5" fmla="*/ 93352 w 89618"/>
                <a:gd name="connsiteY5" fmla="*/ 34354 h 44809"/>
                <a:gd name="connsiteX6" fmla="*/ 41075 w 89618"/>
                <a:gd name="connsiteY6" fmla="*/ 4481 h 44809"/>
                <a:gd name="connsiteX7" fmla="*/ 6721 w 89618"/>
                <a:gd name="connsiteY7" fmla="*/ 4481 h 44809"/>
                <a:gd name="connsiteX8" fmla="*/ 6721 w 89618"/>
                <a:gd name="connsiteY8" fmla="*/ 448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4481"/>
                  </a:moveTo>
                  <a:cubicBezTo>
                    <a:pt x="-2240" y="10456"/>
                    <a:pt x="-2240" y="17924"/>
                    <a:pt x="6721" y="23898"/>
                  </a:cubicBezTo>
                  <a:lnTo>
                    <a:pt x="58999" y="53771"/>
                  </a:lnTo>
                  <a:cubicBezTo>
                    <a:pt x="67961" y="59745"/>
                    <a:pt x="82897" y="59745"/>
                    <a:pt x="93352" y="53771"/>
                  </a:cubicBezTo>
                  <a:lnTo>
                    <a:pt x="93352" y="53771"/>
                  </a:lnTo>
                  <a:cubicBezTo>
                    <a:pt x="102314" y="47796"/>
                    <a:pt x="102314" y="40328"/>
                    <a:pt x="93352" y="34354"/>
                  </a:cubicBezTo>
                  <a:lnTo>
                    <a:pt x="41075" y="4481"/>
                  </a:lnTo>
                  <a:cubicBezTo>
                    <a:pt x="30620" y="-1494"/>
                    <a:pt x="15683" y="-1494"/>
                    <a:pt x="6721" y="4481"/>
                  </a:cubicBezTo>
                  <a:lnTo>
                    <a:pt x="6721" y="4481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0" name="任意多边形: 形状 9909"/>
            <p:cNvSpPr/>
            <p:nvPr/>
          </p:nvSpPr>
          <p:spPr>
            <a:xfrm>
              <a:off x="8461017" y="4849889"/>
              <a:ext cx="89618" cy="74682"/>
            </a:xfrm>
            <a:custGeom>
              <a:avLst/>
              <a:gdLst>
                <a:gd name="connsiteX0" fmla="*/ 56758 w 89618"/>
                <a:gd name="connsiteY0" fmla="*/ 2987 h 74681"/>
                <a:gd name="connsiteX1" fmla="*/ 17923 w 89618"/>
                <a:gd name="connsiteY1" fmla="*/ 0 h 74681"/>
                <a:gd name="connsiteX2" fmla="*/ 0 w 89618"/>
                <a:gd name="connsiteY2" fmla="*/ 43315 h 74681"/>
                <a:gd name="connsiteX3" fmla="*/ 100073 w 89618"/>
                <a:gd name="connsiteY3" fmla="*/ 76175 h 74681"/>
                <a:gd name="connsiteX4" fmla="*/ 67214 w 89618"/>
                <a:gd name="connsiteY4" fmla="*/ 29873 h 74681"/>
                <a:gd name="connsiteX5" fmla="*/ 56758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56758" y="2987"/>
                  </a:moveTo>
                  <a:lnTo>
                    <a:pt x="17923" y="0"/>
                  </a:lnTo>
                  <a:cubicBezTo>
                    <a:pt x="8962" y="11949"/>
                    <a:pt x="2987" y="23898"/>
                    <a:pt x="0" y="43315"/>
                  </a:cubicBezTo>
                  <a:lnTo>
                    <a:pt x="100073" y="76175"/>
                  </a:lnTo>
                  <a:cubicBezTo>
                    <a:pt x="103061" y="62733"/>
                    <a:pt x="86631" y="43315"/>
                    <a:pt x="67214" y="29873"/>
                  </a:cubicBezTo>
                  <a:cubicBezTo>
                    <a:pt x="59745" y="23898"/>
                    <a:pt x="64226" y="10456"/>
                    <a:pt x="56758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1" name="任意多边形: 形状 9910"/>
            <p:cNvSpPr/>
            <p:nvPr/>
          </p:nvSpPr>
          <p:spPr>
            <a:xfrm>
              <a:off x="8575280" y="4814042"/>
              <a:ext cx="89618" cy="44809"/>
            </a:xfrm>
            <a:custGeom>
              <a:avLst/>
              <a:gdLst>
                <a:gd name="connsiteX0" fmla="*/ 6721 w 89618"/>
                <a:gd name="connsiteY0" fmla="*/ 4481 h 44809"/>
                <a:gd name="connsiteX1" fmla="*/ 6721 w 89618"/>
                <a:gd name="connsiteY1" fmla="*/ 23898 h 44809"/>
                <a:gd name="connsiteX2" fmla="*/ 58999 w 89618"/>
                <a:gd name="connsiteY2" fmla="*/ 53771 h 44809"/>
                <a:gd name="connsiteX3" fmla="*/ 93352 w 89618"/>
                <a:gd name="connsiteY3" fmla="*/ 53771 h 44809"/>
                <a:gd name="connsiteX4" fmla="*/ 93352 w 89618"/>
                <a:gd name="connsiteY4" fmla="*/ 53771 h 44809"/>
                <a:gd name="connsiteX5" fmla="*/ 93352 w 89618"/>
                <a:gd name="connsiteY5" fmla="*/ 34354 h 44809"/>
                <a:gd name="connsiteX6" fmla="*/ 41075 w 89618"/>
                <a:gd name="connsiteY6" fmla="*/ 4481 h 44809"/>
                <a:gd name="connsiteX7" fmla="*/ 6721 w 89618"/>
                <a:gd name="connsiteY7" fmla="*/ 4481 h 44809"/>
                <a:gd name="connsiteX8" fmla="*/ 6721 w 89618"/>
                <a:gd name="connsiteY8" fmla="*/ 448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4481"/>
                  </a:moveTo>
                  <a:cubicBezTo>
                    <a:pt x="-2240" y="10456"/>
                    <a:pt x="-2240" y="17924"/>
                    <a:pt x="6721" y="23898"/>
                  </a:cubicBezTo>
                  <a:lnTo>
                    <a:pt x="58999" y="53771"/>
                  </a:lnTo>
                  <a:cubicBezTo>
                    <a:pt x="67960" y="59745"/>
                    <a:pt x="82896" y="59745"/>
                    <a:pt x="93352" y="53771"/>
                  </a:cubicBezTo>
                  <a:lnTo>
                    <a:pt x="93352" y="53771"/>
                  </a:lnTo>
                  <a:cubicBezTo>
                    <a:pt x="102314" y="47797"/>
                    <a:pt x="102314" y="40328"/>
                    <a:pt x="93352" y="34354"/>
                  </a:cubicBezTo>
                  <a:lnTo>
                    <a:pt x="41075" y="4481"/>
                  </a:lnTo>
                  <a:cubicBezTo>
                    <a:pt x="30619" y="-1494"/>
                    <a:pt x="15683" y="-1494"/>
                    <a:pt x="6721" y="4481"/>
                  </a:cubicBezTo>
                  <a:lnTo>
                    <a:pt x="6721" y="4481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2" name="任意多边形: 形状 9911"/>
            <p:cNvSpPr/>
            <p:nvPr/>
          </p:nvSpPr>
          <p:spPr>
            <a:xfrm>
              <a:off x="8574534" y="4784170"/>
              <a:ext cx="89618" cy="74682"/>
            </a:xfrm>
            <a:custGeom>
              <a:avLst/>
              <a:gdLst>
                <a:gd name="connsiteX0" fmla="*/ 56758 w 89618"/>
                <a:gd name="connsiteY0" fmla="*/ 2987 h 74681"/>
                <a:gd name="connsiteX1" fmla="*/ 17923 w 89618"/>
                <a:gd name="connsiteY1" fmla="*/ 0 h 74681"/>
                <a:gd name="connsiteX2" fmla="*/ 0 w 89618"/>
                <a:gd name="connsiteY2" fmla="*/ 43315 h 74681"/>
                <a:gd name="connsiteX3" fmla="*/ 100073 w 89618"/>
                <a:gd name="connsiteY3" fmla="*/ 76175 h 74681"/>
                <a:gd name="connsiteX4" fmla="*/ 67214 w 89618"/>
                <a:gd name="connsiteY4" fmla="*/ 29873 h 74681"/>
                <a:gd name="connsiteX5" fmla="*/ 56758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56758" y="2987"/>
                  </a:moveTo>
                  <a:lnTo>
                    <a:pt x="17923" y="0"/>
                  </a:lnTo>
                  <a:cubicBezTo>
                    <a:pt x="8961" y="11949"/>
                    <a:pt x="2987" y="23898"/>
                    <a:pt x="0" y="43315"/>
                  </a:cubicBezTo>
                  <a:lnTo>
                    <a:pt x="100073" y="76175"/>
                  </a:lnTo>
                  <a:cubicBezTo>
                    <a:pt x="103061" y="62733"/>
                    <a:pt x="86631" y="43315"/>
                    <a:pt x="67214" y="29873"/>
                  </a:cubicBezTo>
                  <a:cubicBezTo>
                    <a:pt x="59745" y="23898"/>
                    <a:pt x="64226" y="10456"/>
                    <a:pt x="56758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3" name="任意多边形: 形状 9912"/>
            <p:cNvSpPr/>
            <p:nvPr/>
          </p:nvSpPr>
          <p:spPr>
            <a:xfrm>
              <a:off x="8544661" y="4380888"/>
              <a:ext cx="104554" cy="224045"/>
            </a:xfrm>
            <a:custGeom>
              <a:avLst/>
              <a:gdLst>
                <a:gd name="connsiteX0" fmla="*/ 110529 w 104554"/>
                <a:gd name="connsiteY0" fmla="*/ 216577 h 224045"/>
                <a:gd name="connsiteX1" fmla="*/ 28379 w 104554"/>
                <a:gd name="connsiteY1" fmla="*/ 227033 h 224045"/>
                <a:gd name="connsiteX2" fmla="*/ 26885 w 104554"/>
                <a:gd name="connsiteY2" fmla="*/ 210603 h 224045"/>
                <a:gd name="connsiteX3" fmla="*/ 13443 w 104554"/>
                <a:gd name="connsiteY3" fmla="*/ 109035 h 224045"/>
                <a:gd name="connsiteX4" fmla="*/ 0 w 104554"/>
                <a:gd name="connsiteY4" fmla="*/ 11949 h 224045"/>
                <a:gd name="connsiteX5" fmla="*/ 82150 w 104554"/>
                <a:gd name="connsiteY5" fmla="*/ 0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554" h="224045">
                  <a:moveTo>
                    <a:pt x="110529" y="216577"/>
                  </a:moveTo>
                  <a:lnTo>
                    <a:pt x="28379" y="227033"/>
                  </a:lnTo>
                  <a:lnTo>
                    <a:pt x="26885" y="210603"/>
                  </a:lnTo>
                  <a:lnTo>
                    <a:pt x="13443" y="109035"/>
                  </a:lnTo>
                  <a:lnTo>
                    <a:pt x="0" y="11949"/>
                  </a:lnTo>
                  <a:lnTo>
                    <a:pt x="82150" y="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4" name="任意多边形: 形状 9913"/>
            <p:cNvSpPr/>
            <p:nvPr/>
          </p:nvSpPr>
          <p:spPr>
            <a:xfrm>
              <a:off x="8556610" y="4473494"/>
              <a:ext cx="14936" cy="104554"/>
            </a:xfrm>
            <a:custGeom>
              <a:avLst/>
              <a:gdLst>
                <a:gd name="connsiteX0" fmla="*/ 28379 w 14936"/>
                <a:gd name="connsiteY0" fmla="*/ 0 h 104554"/>
                <a:gd name="connsiteX1" fmla="*/ 17924 w 14936"/>
                <a:gd name="connsiteY1" fmla="*/ 59745 h 104554"/>
                <a:gd name="connsiteX2" fmla="*/ 13443 w 14936"/>
                <a:gd name="connsiteY2" fmla="*/ 117997 h 104554"/>
                <a:gd name="connsiteX3" fmla="*/ 0 w 14936"/>
                <a:gd name="connsiteY3" fmla="*/ 16430 h 104554"/>
                <a:gd name="connsiteX4" fmla="*/ 2987 w 14936"/>
                <a:gd name="connsiteY4" fmla="*/ 13443 h 104554"/>
                <a:gd name="connsiteX5" fmla="*/ 28379 w 14936"/>
                <a:gd name="connsiteY5" fmla="*/ 0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 h="104554">
                  <a:moveTo>
                    <a:pt x="28379" y="0"/>
                  </a:moveTo>
                  <a:cubicBezTo>
                    <a:pt x="20911" y="19417"/>
                    <a:pt x="19417" y="40328"/>
                    <a:pt x="17924" y="59745"/>
                  </a:cubicBezTo>
                  <a:cubicBezTo>
                    <a:pt x="16430" y="79162"/>
                    <a:pt x="14936" y="98579"/>
                    <a:pt x="13443" y="117997"/>
                  </a:cubicBezTo>
                  <a:lnTo>
                    <a:pt x="0" y="16430"/>
                  </a:lnTo>
                  <a:cubicBezTo>
                    <a:pt x="1494" y="14936"/>
                    <a:pt x="2987" y="14936"/>
                    <a:pt x="2987" y="13443"/>
                  </a:cubicBezTo>
                  <a:cubicBezTo>
                    <a:pt x="13443" y="8961"/>
                    <a:pt x="20911" y="4481"/>
                    <a:pt x="28379" y="0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5" name="任意多边形: 形状 9914"/>
            <p:cNvSpPr/>
            <p:nvPr/>
          </p:nvSpPr>
          <p:spPr>
            <a:xfrm>
              <a:off x="8566692" y="4769980"/>
              <a:ext cx="74682" cy="44809"/>
            </a:xfrm>
            <a:custGeom>
              <a:avLst/>
              <a:gdLst>
                <a:gd name="connsiteX0" fmla="*/ 70574 w 74681"/>
                <a:gd name="connsiteY0" fmla="*/ 6721 h 44809"/>
                <a:gd name="connsiteX1" fmla="*/ 70574 w 74681"/>
                <a:gd name="connsiteY1" fmla="*/ 39582 h 44809"/>
                <a:gd name="connsiteX2" fmla="*/ 12323 w 74681"/>
                <a:gd name="connsiteY2" fmla="*/ 39582 h 44809"/>
                <a:gd name="connsiteX3" fmla="*/ 12323 w 74681"/>
                <a:gd name="connsiteY3" fmla="*/ 6721 h 44809"/>
                <a:gd name="connsiteX4" fmla="*/ 70574 w 74681"/>
                <a:gd name="connsiteY4" fmla="*/ 672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70574" y="6721"/>
                  </a:moveTo>
                  <a:cubicBezTo>
                    <a:pt x="87004" y="15683"/>
                    <a:pt x="87004" y="30620"/>
                    <a:pt x="70574" y="39582"/>
                  </a:cubicBezTo>
                  <a:cubicBezTo>
                    <a:pt x="54144" y="48543"/>
                    <a:pt x="28753" y="48543"/>
                    <a:pt x="12323" y="39582"/>
                  </a:cubicBezTo>
                  <a:cubicBezTo>
                    <a:pt x="-4108" y="30620"/>
                    <a:pt x="-4108" y="15683"/>
                    <a:pt x="12323" y="6721"/>
                  </a:cubicBezTo>
                  <a:cubicBezTo>
                    <a:pt x="28753" y="-2240"/>
                    <a:pt x="55638" y="-2240"/>
                    <a:pt x="70574" y="672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6" name="任意多边形: 形状 9915"/>
            <p:cNvSpPr/>
            <p:nvPr/>
          </p:nvSpPr>
          <p:spPr>
            <a:xfrm>
              <a:off x="8567745" y="4556907"/>
              <a:ext cx="89618" cy="238981"/>
            </a:xfrm>
            <a:custGeom>
              <a:avLst/>
              <a:gdLst>
                <a:gd name="connsiteX0" fmla="*/ 814 w 89618"/>
                <a:gd name="connsiteY0" fmla="*/ 236225 h 238981"/>
                <a:gd name="connsiteX1" fmla="*/ 6789 w 89618"/>
                <a:gd name="connsiteY1" fmla="*/ 51014 h 238981"/>
                <a:gd name="connsiteX2" fmla="*/ 23219 w 89618"/>
                <a:gd name="connsiteY2" fmla="*/ 12180 h 238981"/>
                <a:gd name="connsiteX3" fmla="*/ 57572 w 89618"/>
                <a:gd name="connsiteY3" fmla="*/ 230 h 238981"/>
                <a:gd name="connsiteX4" fmla="*/ 88939 w 89618"/>
                <a:gd name="connsiteY4" fmla="*/ 40559 h 238981"/>
                <a:gd name="connsiteX5" fmla="*/ 82964 w 89618"/>
                <a:gd name="connsiteY5" fmla="*/ 236225 h 238981"/>
                <a:gd name="connsiteX6" fmla="*/ 59066 w 89618"/>
                <a:gd name="connsiteY6" fmla="*/ 236225 h 238981"/>
                <a:gd name="connsiteX7" fmla="*/ 814 w 89618"/>
                <a:gd name="connsiteY7" fmla="*/ 236225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618" h="238981">
                  <a:moveTo>
                    <a:pt x="814" y="236225"/>
                  </a:moveTo>
                  <a:cubicBezTo>
                    <a:pt x="-2173" y="174986"/>
                    <a:pt x="3801" y="58482"/>
                    <a:pt x="6789" y="51014"/>
                  </a:cubicBezTo>
                  <a:cubicBezTo>
                    <a:pt x="11270" y="43546"/>
                    <a:pt x="15750" y="16660"/>
                    <a:pt x="23219" y="12180"/>
                  </a:cubicBezTo>
                  <a:cubicBezTo>
                    <a:pt x="33674" y="4711"/>
                    <a:pt x="45623" y="-1263"/>
                    <a:pt x="57572" y="230"/>
                  </a:cubicBezTo>
                  <a:cubicBezTo>
                    <a:pt x="72509" y="1724"/>
                    <a:pt x="85951" y="27116"/>
                    <a:pt x="88939" y="40559"/>
                  </a:cubicBezTo>
                  <a:cubicBezTo>
                    <a:pt x="91926" y="55495"/>
                    <a:pt x="84458" y="227263"/>
                    <a:pt x="82964" y="236225"/>
                  </a:cubicBezTo>
                  <a:cubicBezTo>
                    <a:pt x="81471" y="245187"/>
                    <a:pt x="68028" y="233237"/>
                    <a:pt x="59066" y="236225"/>
                  </a:cubicBezTo>
                  <a:lnTo>
                    <a:pt x="814" y="236225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7" name="任意多边形: 形状 9916"/>
            <p:cNvSpPr/>
            <p:nvPr/>
          </p:nvSpPr>
          <p:spPr>
            <a:xfrm>
              <a:off x="8478941" y="4434659"/>
              <a:ext cx="74682" cy="209109"/>
            </a:xfrm>
            <a:custGeom>
              <a:avLst/>
              <a:gdLst>
                <a:gd name="connsiteX0" fmla="*/ 0 w 74681"/>
                <a:gd name="connsiteY0" fmla="*/ 0 h 209108"/>
                <a:gd name="connsiteX1" fmla="*/ 82150 w 74681"/>
                <a:gd name="connsiteY1" fmla="*/ 0 h 209108"/>
                <a:gd name="connsiteX2" fmla="*/ 82150 w 74681"/>
                <a:gd name="connsiteY2" fmla="*/ 218071 h 209108"/>
                <a:gd name="connsiteX3" fmla="*/ 0 w 74681"/>
                <a:gd name="connsiteY3" fmla="*/ 218071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209108">
                  <a:moveTo>
                    <a:pt x="0" y="0"/>
                  </a:moveTo>
                  <a:lnTo>
                    <a:pt x="82150" y="0"/>
                  </a:lnTo>
                  <a:lnTo>
                    <a:pt x="82150" y="218071"/>
                  </a:lnTo>
                  <a:lnTo>
                    <a:pt x="0" y="218071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8" name="任意多边形: 形状 9917"/>
            <p:cNvSpPr/>
            <p:nvPr/>
          </p:nvSpPr>
          <p:spPr>
            <a:xfrm>
              <a:off x="8449068" y="4122137"/>
              <a:ext cx="179236" cy="328600"/>
            </a:xfrm>
            <a:custGeom>
              <a:avLst/>
              <a:gdLst>
                <a:gd name="connsiteX0" fmla="*/ 0 w 179236"/>
                <a:gd name="connsiteY0" fmla="*/ 73541 h 328599"/>
                <a:gd name="connsiteX1" fmla="*/ 5975 w 179236"/>
                <a:gd name="connsiteY1" fmla="*/ 273688 h 328599"/>
                <a:gd name="connsiteX2" fmla="*/ 53771 w 179236"/>
                <a:gd name="connsiteY2" fmla="*/ 333433 h 328599"/>
                <a:gd name="connsiteX3" fmla="*/ 95593 w 179236"/>
                <a:gd name="connsiteY3" fmla="*/ 325965 h 328599"/>
                <a:gd name="connsiteX4" fmla="*/ 126959 w 179236"/>
                <a:gd name="connsiteY4" fmla="*/ 308041 h 328599"/>
                <a:gd name="connsiteX5" fmla="*/ 129946 w 179236"/>
                <a:gd name="connsiteY5" fmla="*/ 306548 h 328599"/>
                <a:gd name="connsiteX6" fmla="*/ 144883 w 179236"/>
                <a:gd name="connsiteY6" fmla="*/ 297586 h 328599"/>
                <a:gd name="connsiteX7" fmla="*/ 149363 w 179236"/>
                <a:gd name="connsiteY7" fmla="*/ 294598 h 328599"/>
                <a:gd name="connsiteX8" fmla="*/ 179236 w 179236"/>
                <a:gd name="connsiteY8" fmla="*/ 242321 h 328599"/>
                <a:gd name="connsiteX9" fmla="*/ 177743 w 179236"/>
                <a:gd name="connsiteY9" fmla="*/ 227385 h 328599"/>
                <a:gd name="connsiteX10" fmla="*/ 176249 w 179236"/>
                <a:gd name="connsiteY10" fmla="*/ 196018 h 328599"/>
                <a:gd name="connsiteX11" fmla="*/ 170275 w 179236"/>
                <a:gd name="connsiteY11" fmla="*/ 109388 h 328599"/>
                <a:gd name="connsiteX12" fmla="*/ 170275 w 179236"/>
                <a:gd name="connsiteY12" fmla="*/ 103413 h 328599"/>
                <a:gd name="connsiteX13" fmla="*/ 168781 w 179236"/>
                <a:gd name="connsiteY13" fmla="*/ 78021 h 328599"/>
                <a:gd name="connsiteX14" fmla="*/ 167287 w 179236"/>
                <a:gd name="connsiteY14" fmla="*/ 57111 h 328599"/>
                <a:gd name="connsiteX15" fmla="*/ 167287 w 179236"/>
                <a:gd name="connsiteY15" fmla="*/ 57111 h 328599"/>
                <a:gd name="connsiteX16" fmla="*/ 120984 w 179236"/>
                <a:gd name="connsiteY16" fmla="*/ 3340 h 328599"/>
                <a:gd name="connsiteX17" fmla="*/ 61239 w 179236"/>
                <a:gd name="connsiteY17" fmla="*/ 12302 h 328599"/>
                <a:gd name="connsiteX18" fmla="*/ 0 w 179236"/>
                <a:gd name="connsiteY18" fmla="*/ 73541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9236" h="328599">
                  <a:moveTo>
                    <a:pt x="0" y="73541"/>
                  </a:moveTo>
                  <a:lnTo>
                    <a:pt x="5975" y="273688"/>
                  </a:lnTo>
                  <a:cubicBezTo>
                    <a:pt x="5975" y="303560"/>
                    <a:pt x="28379" y="327459"/>
                    <a:pt x="53771" y="333433"/>
                  </a:cubicBezTo>
                  <a:cubicBezTo>
                    <a:pt x="67214" y="336420"/>
                    <a:pt x="82150" y="334927"/>
                    <a:pt x="95593" y="325965"/>
                  </a:cubicBezTo>
                  <a:lnTo>
                    <a:pt x="126959" y="308041"/>
                  </a:lnTo>
                  <a:lnTo>
                    <a:pt x="129946" y="306548"/>
                  </a:lnTo>
                  <a:lnTo>
                    <a:pt x="144883" y="297586"/>
                  </a:lnTo>
                  <a:lnTo>
                    <a:pt x="149363" y="294598"/>
                  </a:lnTo>
                  <a:cubicBezTo>
                    <a:pt x="167287" y="284143"/>
                    <a:pt x="179236" y="264726"/>
                    <a:pt x="179236" y="242321"/>
                  </a:cubicBezTo>
                  <a:lnTo>
                    <a:pt x="177743" y="227385"/>
                  </a:lnTo>
                  <a:lnTo>
                    <a:pt x="176249" y="196018"/>
                  </a:lnTo>
                  <a:lnTo>
                    <a:pt x="170275" y="109388"/>
                  </a:lnTo>
                  <a:lnTo>
                    <a:pt x="170275" y="103413"/>
                  </a:lnTo>
                  <a:lnTo>
                    <a:pt x="168781" y="78021"/>
                  </a:lnTo>
                  <a:cubicBezTo>
                    <a:pt x="168781" y="70553"/>
                    <a:pt x="167287" y="64579"/>
                    <a:pt x="167287" y="57111"/>
                  </a:cubicBezTo>
                  <a:lnTo>
                    <a:pt x="167287" y="57111"/>
                  </a:lnTo>
                  <a:cubicBezTo>
                    <a:pt x="161313" y="30225"/>
                    <a:pt x="143389" y="10808"/>
                    <a:pt x="120984" y="3340"/>
                  </a:cubicBezTo>
                  <a:cubicBezTo>
                    <a:pt x="103061" y="-2635"/>
                    <a:pt x="82150" y="-1141"/>
                    <a:pt x="61239" y="12302"/>
                  </a:cubicBezTo>
                  <a:cubicBezTo>
                    <a:pt x="34354" y="28732"/>
                    <a:pt x="13443" y="49643"/>
                    <a:pt x="0" y="7354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9" name="任意多边形: 形状 9918"/>
            <p:cNvSpPr/>
            <p:nvPr/>
          </p:nvSpPr>
          <p:spPr>
            <a:xfrm>
              <a:off x="8477447" y="4216589"/>
              <a:ext cx="89618" cy="238981"/>
            </a:xfrm>
            <a:custGeom>
              <a:avLst/>
              <a:gdLst>
                <a:gd name="connsiteX0" fmla="*/ 98580 w 89618"/>
                <a:gd name="connsiteY0" fmla="*/ 213590 h 238981"/>
                <a:gd name="connsiteX1" fmla="*/ 65720 w 89618"/>
                <a:gd name="connsiteY1" fmla="*/ 231513 h 238981"/>
                <a:gd name="connsiteX2" fmla="*/ 23898 w 89618"/>
                <a:gd name="connsiteY2" fmla="*/ 238981 h 238981"/>
                <a:gd name="connsiteX3" fmla="*/ 19417 w 89618"/>
                <a:gd name="connsiteY3" fmla="*/ 219564 h 238981"/>
                <a:gd name="connsiteX4" fmla="*/ 4481 w 89618"/>
                <a:gd name="connsiteY4" fmla="*/ 141895 h 238981"/>
                <a:gd name="connsiteX5" fmla="*/ 0 w 89618"/>
                <a:gd name="connsiteY5" fmla="*/ 107542 h 238981"/>
                <a:gd name="connsiteX6" fmla="*/ 4481 w 89618"/>
                <a:gd name="connsiteY6" fmla="*/ 65720 h 238981"/>
                <a:gd name="connsiteX7" fmla="*/ 13443 w 89618"/>
                <a:gd name="connsiteY7" fmla="*/ 19417 h 238981"/>
                <a:gd name="connsiteX8" fmla="*/ 20911 w 89618"/>
                <a:gd name="connsiteY8" fmla="*/ 0 h 238981"/>
                <a:gd name="connsiteX9" fmla="*/ 25392 w 89618"/>
                <a:gd name="connsiteY9" fmla="*/ 92606 h 238981"/>
                <a:gd name="connsiteX10" fmla="*/ 26885 w 89618"/>
                <a:gd name="connsiteY10" fmla="*/ 112023 h 238981"/>
                <a:gd name="connsiteX11" fmla="*/ 31366 w 89618"/>
                <a:gd name="connsiteY11" fmla="*/ 134427 h 238981"/>
                <a:gd name="connsiteX12" fmla="*/ 98580 w 89618"/>
                <a:gd name="connsiteY12" fmla="*/ 213590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618" h="238981">
                  <a:moveTo>
                    <a:pt x="98580" y="213590"/>
                  </a:moveTo>
                  <a:lnTo>
                    <a:pt x="65720" y="231513"/>
                  </a:lnTo>
                  <a:cubicBezTo>
                    <a:pt x="52277" y="238981"/>
                    <a:pt x="37341" y="240475"/>
                    <a:pt x="23898" y="238981"/>
                  </a:cubicBezTo>
                  <a:cubicBezTo>
                    <a:pt x="22405" y="233007"/>
                    <a:pt x="20911" y="227033"/>
                    <a:pt x="19417" y="219564"/>
                  </a:cubicBezTo>
                  <a:cubicBezTo>
                    <a:pt x="14936" y="194172"/>
                    <a:pt x="8961" y="167287"/>
                    <a:pt x="4481" y="141895"/>
                  </a:cubicBezTo>
                  <a:cubicBezTo>
                    <a:pt x="1493" y="129946"/>
                    <a:pt x="0" y="119491"/>
                    <a:pt x="0" y="107542"/>
                  </a:cubicBezTo>
                  <a:cubicBezTo>
                    <a:pt x="0" y="94099"/>
                    <a:pt x="2987" y="79162"/>
                    <a:pt x="4481" y="65720"/>
                  </a:cubicBezTo>
                  <a:cubicBezTo>
                    <a:pt x="7468" y="50783"/>
                    <a:pt x="10455" y="35847"/>
                    <a:pt x="13443" y="19417"/>
                  </a:cubicBezTo>
                  <a:cubicBezTo>
                    <a:pt x="14936" y="13443"/>
                    <a:pt x="16430" y="5974"/>
                    <a:pt x="20911" y="0"/>
                  </a:cubicBezTo>
                  <a:cubicBezTo>
                    <a:pt x="22405" y="31366"/>
                    <a:pt x="23898" y="61239"/>
                    <a:pt x="25392" y="92606"/>
                  </a:cubicBezTo>
                  <a:cubicBezTo>
                    <a:pt x="25392" y="98580"/>
                    <a:pt x="25392" y="106048"/>
                    <a:pt x="26885" y="112023"/>
                  </a:cubicBezTo>
                  <a:cubicBezTo>
                    <a:pt x="28379" y="119491"/>
                    <a:pt x="29873" y="126959"/>
                    <a:pt x="31366" y="134427"/>
                  </a:cubicBezTo>
                  <a:cubicBezTo>
                    <a:pt x="41822" y="164300"/>
                    <a:pt x="50783" y="215083"/>
                    <a:pt x="98580" y="213590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0" name="任意多边形: 形状 9919"/>
            <p:cNvSpPr/>
            <p:nvPr/>
          </p:nvSpPr>
          <p:spPr>
            <a:xfrm>
              <a:off x="8429537" y="4188096"/>
              <a:ext cx="59745" cy="179236"/>
            </a:xfrm>
            <a:custGeom>
              <a:avLst/>
              <a:gdLst>
                <a:gd name="connsiteX0" fmla="*/ 61353 w 59745"/>
                <a:gd name="connsiteY0" fmla="*/ 150971 h 179236"/>
                <a:gd name="connsiteX1" fmla="*/ 28493 w 59745"/>
                <a:gd name="connsiteY1" fmla="*/ 179350 h 179236"/>
                <a:gd name="connsiteX2" fmla="*/ 28493 w 59745"/>
                <a:gd name="connsiteY2" fmla="*/ 179350 h 179236"/>
                <a:gd name="connsiteX3" fmla="*/ 114 w 59745"/>
                <a:gd name="connsiteY3" fmla="*/ 146490 h 179236"/>
                <a:gd name="connsiteX4" fmla="*/ 10569 w 59745"/>
                <a:gd name="connsiteY4" fmla="*/ 28493 h 179236"/>
                <a:gd name="connsiteX5" fmla="*/ 44923 w 59745"/>
                <a:gd name="connsiteY5" fmla="*/ 114 h 179236"/>
                <a:gd name="connsiteX6" fmla="*/ 44923 w 59745"/>
                <a:gd name="connsiteY6" fmla="*/ 114 h 179236"/>
                <a:gd name="connsiteX7" fmla="*/ 73302 w 59745"/>
                <a:gd name="connsiteY7" fmla="*/ 32973 h 179236"/>
                <a:gd name="connsiteX8" fmla="*/ 61353 w 59745"/>
                <a:gd name="connsiteY8" fmla="*/ 150971 h 17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79236">
                  <a:moveTo>
                    <a:pt x="61353" y="150971"/>
                  </a:moveTo>
                  <a:cubicBezTo>
                    <a:pt x="59859" y="167400"/>
                    <a:pt x="44923" y="180843"/>
                    <a:pt x="28493" y="179350"/>
                  </a:cubicBezTo>
                  <a:lnTo>
                    <a:pt x="28493" y="179350"/>
                  </a:lnTo>
                  <a:cubicBezTo>
                    <a:pt x="12062" y="177856"/>
                    <a:pt x="-1380" y="162920"/>
                    <a:pt x="114" y="146490"/>
                  </a:cubicBezTo>
                  <a:lnTo>
                    <a:pt x="10569" y="28493"/>
                  </a:lnTo>
                  <a:cubicBezTo>
                    <a:pt x="12062" y="12062"/>
                    <a:pt x="26999" y="-1380"/>
                    <a:pt x="44923" y="114"/>
                  </a:cubicBezTo>
                  <a:lnTo>
                    <a:pt x="44923" y="114"/>
                  </a:lnTo>
                  <a:cubicBezTo>
                    <a:pt x="61353" y="1607"/>
                    <a:pt x="74795" y="16544"/>
                    <a:pt x="73302" y="32973"/>
                  </a:cubicBezTo>
                  <a:lnTo>
                    <a:pt x="61353" y="150971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1" name="任意多边形: 形状 9920"/>
            <p:cNvSpPr/>
            <p:nvPr/>
          </p:nvSpPr>
          <p:spPr>
            <a:xfrm>
              <a:off x="8456536" y="4833460"/>
              <a:ext cx="74682" cy="44809"/>
            </a:xfrm>
            <a:custGeom>
              <a:avLst/>
              <a:gdLst>
                <a:gd name="connsiteX0" fmla="*/ 80656 w 74681"/>
                <a:gd name="connsiteY0" fmla="*/ 23898 h 44809"/>
                <a:gd name="connsiteX1" fmla="*/ 40328 w 74681"/>
                <a:gd name="connsiteY1" fmla="*/ 47796 h 44809"/>
                <a:gd name="connsiteX2" fmla="*/ 0 w 74681"/>
                <a:gd name="connsiteY2" fmla="*/ 23898 h 44809"/>
                <a:gd name="connsiteX3" fmla="*/ 40328 w 74681"/>
                <a:gd name="connsiteY3" fmla="*/ 0 h 44809"/>
                <a:gd name="connsiteX4" fmla="*/ 80656 w 74681"/>
                <a:gd name="connsiteY4" fmla="*/ 23898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80656" y="23898"/>
                  </a:moveTo>
                  <a:cubicBezTo>
                    <a:pt x="80656" y="37097"/>
                    <a:pt x="62601" y="47796"/>
                    <a:pt x="40328" y="47796"/>
                  </a:cubicBezTo>
                  <a:cubicBezTo>
                    <a:pt x="18055" y="47796"/>
                    <a:pt x="0" y="37097"/>
                    <a:pt x="0" y="23898"/>
                  </a:cubicBezTo>
                  <a:cubicBezTo>
                    <a:pt x="0" y="10699"/>
                    <a:pt x="18055" y="0"/>
                    <a:pt x="40328" y="0"/>
                  </a:cubicBezTo>
                  <a:cubicBezTo>
                    <a:pt x="62601" y="0"/>
                    <a:pt x="80656" y="10699"/>
                    <a:pt x="80656" y="23898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2" name="任意多边形: 形状 9921"/>
            <p:cNvSpPr/>
            <p:nvPr/>
          </p:nvSpPr>
          <p:spPr>
            <a:xfrm>
              <a:off x="8456536" y="4623556"/>
              <a:ext cx="104554" cy="238981"/>
            </a:xfrm>
            <a:custGeom>
              <a:avLst/>
              <a:gdLst>
                <a:gd name="connsiteX0" fmla="*/ 0 w 104554"/>
                <a:gd name="connsiteY0" fmla="*/ 233801 h 238981"/>
                <a:gd name="connsiteX1" fmla="*/ 22405 w 104554"/>
                <a:gd name="connsiteY1" fmla="*/ 30667 h 238981"/>
                <a:gd name="connsiteX2" fmla="*/ 41822 w 104554"/>
                <a:gd name="connsiteY2" fmla="*/ 9756 h 238981"/>
                <a:gd name="connsiteX3" fmla="*/ 77669 w 104554"/>
                <a:gd name="connsiteY3" fmla="*/ 794 h 238981"/>
                <a:gd name="connsiteX4" fmla="*/ 106048 w 104554"/>
                <a:gd name="connsiteY4" fmla="*/ 30667 h 238981"/>
                <a:gd name="connsiteX5" fmla="*/ 83644 w 104554"/>
                <a:gd name="connsiteY5" fmla="*/ 233801 h 238981"/>
                <a:gd name="connsiteX6" fmla="*/ 71695 w 104554"/>
                <a:gd name="connsiteY6" fmla="*/ 244257 h 238981"/>
                <a:gd name="connsiteX7" fmla="*/ 0 w 104554"/>
                <a:gd name="connsiteY7" fmla="*/ 233801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554" h="238981">
                  <a:moveTo>
                    <a:pt x="0" y="233801"/>
                  </a:moveTo>
                  <a:cubicBezTo>
                    <a:pt x="1494" y="172562"/>
                    <a:pt x="17924" y="36642"/>
                    <a:pt x="22405" y="30667"/>
                  </a:cubicBezTo>
                  <a:cubicBezTo>
                    <a:pt x="26886" y="23199"/>
                    <a:pt x="34354" y="14238"/>
                    <a:pt x="41822" y="9756"/>
                  </a:cubicBezTo>
                  <a:cubicBezTo>
                    <a:pt x="52277" y="3782"/>
                    <a:pt x="64227" y="-2193"/>
                    <a:pt x="77669" y="794"/>
                  </a:cubicBezTo>
                  <a:cubicBezTo>
                    <a:pt x="92606" y="3782"/>
                    <a:pt x="103061" y="15731"/>
                    <a:pt x="106048" y="30667"/>
                  </a:cubicBezTo>
                  <a:cubicBezTo>
                    <a:pt x="107542" y="45603"/>
                    <a:pt x="86631" y="226333"/>
                    <a:pt x="83644" y="233801"/>
                  </a:cubicBezTo>
                  <a:cubicBezTo>
                    <a:pt x="80657" y="242763"/>
                    <a:pt x="80657" y="241270"/>
                    <a:pt x="71695" y="244257"/>
                  </a:cubicBezTo>
                  <a:lnTo>
                    <a:pt x="0" y="233801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3" name="任意多边形: 形状 9922"/>
            <p:cNvSpPr/>
            <p:nvPr/>
          </p:nvSpPr>
          <p:spPr>
            <a:xfrm>
              <a:off x="8467504" y="4460051"/>
              <a:ext cx="44809" cy="89618"/>
            </a:xfrm>
            <a:custGeom>
              <a:avLst/>
              <a:gdLst>
                <a:gd name="connsiteX0" fmla="*/ 981 w 44809"/>
                <a:gd name="connsiteY0" fmla="*/ 47796 h 89618"/>
                <a:gd name="connsiteX1" fmla="*/ 3968 w 44809"/>
                <a:gd name="connsiteY1" fmla="*/ 59745 h 89618"/>
                <a:gd name="connsiteX2" fmla="*/ 9943 w 44809"/>
                <a:gd name="connsiteY2" fmla="*/ 67214 h 89618"/>
                <a:gd name="connsiteX3" fmla="*/ 26373 w 44809"/>
                <a:gd name="connsiteY3" fmla="*/ 83644 h 89618"/>
                <a:gd name="connsiteX4" fmla="*/ 30854 w 44809"/>
                <a:gd name="connsiteY4" fmla="*/ 88125 h 89618"/>
                <a:gd name="connsiteX5" fmla="*/ 45790 w 44809"/>
                <a:gd name="connsiteY5" fmla="*/ 92606 h 89618"/>
                <a:gd name="connsiteX6" fmla="*/ 50271 w 44809"/>
                <a:gd name="connsiteY6" fmla="*/ 91112 h 89618"/>
                <a:gd name="connsiteX7" fmla="*/ 51765 w 44809"/>
                <a:gd name="connsiteY7" fmla="*/ 89618 h 89618"/>
                <a:gd name="connsiteX8" fmla="*/ 47284 w 44809"/>
                <a:gd name="connsiteY8" fmla="*/ 79163 h 89618"/>
                <a:gd name="connsiteX9" fmla="*/ 41309 w 44809"/>
                <a:gd name="connsiteY9" fmla="*/ 58252 h 89618"/>
                <a:gd name="connsiteX10" fmla="*/ 39816 w 44809"/>
                <a:gd name="connsiteY10" fmla="*/ 35848 h 89618"/>
                <a:gd name="connsiteX11" fmla="*/ 42803 w 44809"/>
                <a:gd name="connsiteY11" fmla="*/ 50784 h 89618"/>
                <a:gd name="connsiteX12" fmla="*/ 56245 w 44809"/>
                <a:gd name="connsiteY12" fmla="*/ 58252 h 89618"/>
                <a:gd name="connsiteX13" fmla="*/ 57739 w 44809"/>
                <a:gd name="connsiteY13" fmla="*/ 58252 h 89618"/>
                <a:gd name="connsiteX14" fmla="*/ 57739 w 44809"/>
                <a:gd name="connsiteY14" fmla="*/ 56758 h 89618"/>
                <a:gd name="connsiteX15" fmla="*/ 57739 w 44809"/>
                <a:gd name="connsiteY15" fmla="*/ 47796 h 89618"/>
                <a:gd name="connsiteX16" fmla="*/ 54752 w 44809"/>
                <a:gd name="connsiteY16" fmla="*/ 41822 h 89618"/>
                <a:gd name="connsiteX17" fmla="*/ 53258 w 44809"/>
                <a:gd name="connsiteY17" fmla="*/ 34354 h 89618"/>
                <a:gd name="connsiteX18" fmla="*/ 36828 w 44809"/>
                <a:gd name="connsiteY18" fmla="*/ 4481 h 89618"/>
                <a:gd name="connsiteX19" fmla="*/ 30854 w 44809"/>
                <a:gd name="connsiteY19" fmla="*/ 1494 h 89618"/>
                <a:gd name="connsiteX20" fmla="*/ 15918 w 44809"/>
                <a:gd name="connsiteY20" fmla="*/ 0 h 89618"/>
                <a:gd name="connsiteX21" fmla="*/ 12930 w 44809"/>
                <a:gd name="connsiteY21" fmla="*/ 1494 h 89618"/>
                <a:gd name="connsiteX22" fmla="*/ 11436 w 44809"/>
                <a:gd name="connsiteY22" fmla="*/ 2987 h 89618"/>
                <a:gd name="connsiteX23" fmla="*/ 2475 w 44809"/>
                <a:gd name="connsiteY23" fmla="*/ 23898 h 89618"/>
                <a:gd name="connsiteX24" fmla="*/ 981 w 44809"/>
                <a:gd name="connsiteY24" fmla="*/ 47796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4809" h="89618">
                  <a:moveTo>
                    <a:pt x="981" y="47796"/>
                  </a:moveTo>
                  <a:cubicBezTo>
                    <a:pt x="981" y="52277"/>
                    <a:pt x="2475" y="56758"/>
                    <a:pt x="3968" y="59745"/>
                  </a:cubicBezTo>
                  <a:cubicBezTo>
                    <a:pt x="5462" y="62733"/>
                    <a:pt x="6956" y="64227"/>
                    <a:pt x="9943" y="67214"/>
                  </a:cubicBezTo>
                  <a:cubicBezTo>
                    <a:pt x="15918" y="73188"/>
                    <a:pt x="20398" y="77669"/>
                    <a:pt x="26373" y="83644"/>
                  </a:cubicBezTo>
                  <a:cubicBezTo>
                    <a:pt x="27866" y="85137"/>
                    <a:pt x="29360" y="86631"/>
                    <a:pt x="30854" y="88125"/>
                  </a:cubicBezTo>
                  <a:cubicBezTo>
                    <a:pt x="35335" y="91112"/>
                    <a:pt x="39816" y="92606"/>
                    <a:pt x="45790" y="92606"/>
                  </a:cubicBezTo>
                  <a:cubicBezTo>
                    <a:pt x="47284" y="92606"/>
                    <a:pt x="48777" y="92606"/>
                    <a:pt x="50271" y="91112"/>
                  </a:cubicBezTo>
                  <a:cubicBezTo>
                    <a:pt x="50271" y="91112"/>
                    <a:pt x="51765" y="89618"/>
                    <a:pt x="51765" y="89618"/>
                  </a:cubicBezTo>
                  <a:cubicBezTo>
                    <a:pt x="51765" y="85137"/>
                    <a:pt x="50271" y="82150"/>
                    <a:pt x="47284" y="79163"/>
                  </a:cubicBezTo>
                  <a:cubicBezTo>
                    <a:pt x="42803" y="73188"/>
                    <a:pt x="41309" y="65720"/>
                    <a:pt x="41309" y="58252"/>
                  </a:cubicBezTo>
                  <a:cubicBezTo>
                    <a:pt x="39816" y="50784"/>
                    <a:pt x="39816" y="43316"/>
                    <a:pt x="39816" y="35848"/>
                  </a:cubicBezTo>
                  <a:cubicBezTo>
                    <a:pt x="39816" y="41822"/>
                    <a:pt x="41309" y="46303"/>
                    <a:pt x="42803" y="50784"/>
                  </a:cubicBezTo>
                  <a:cubicBezTo>
                    <a:pt x="45790" y="55265"/>
                    <a:pt x="50271" y="59745"/>
                    <a:pt x="56245" y="58252"/>
                  </a:cubicBezTo>
                  <a:cubicBezTo>
                    <a:pt x="56245" y="58252"/>
                    <a:pt x="57739" y="58252"/>
                    <a:pt x="57739" y="58252"/>
                  </a:cubicBezTo>
                  <a:cubicBezTo>
                    <a:pt x="57739" y="58252"/>
                    <a:pt x="57739" y="58252"/>
                    <a:pt x="57739" y="56758"/>
                  </a:cubicBezTo>
                  <a:cubicBezTo>
                    <a:pt x="59233" y="53771"/>
                    <a:pt x="59233" y="50784"/>
                    <a:pt x="57739" y="47796"/>
                  </a:cubicBezTo>
                  <a:cubicBezTo>
                    <a:pt x="56245" y="46303"/>
                    <a:pt x="54752" y="44809"/>
                    <a:pt x="54752" y="41822"/>
                  </a:cubicBezTo>
                  <a:cubicBezTo>
                    <a:pt x="53258" y="38835"/>
                    <a:pt x="53258" y="35848"/>
                    <a:pt x="53258" y="34354"/>
                  </a:cubicBezTo>
                  <a:cubicBezTo>
                    <a:pt x="51765" y="22405"/>
                    <a:pt x="45790" y="11949"/>
                    <a:pt x="36828" y="4481"/>
                  </a:cubicBezTo>
                  <a:cubicBezTo>
                    <a:pt x="35335" y="2987"/>
                    <a:pt x="33841" y="1494"/>
                    <a:pt x="30854" y="1494"/>
                  </a:cubicBezTo>
                  <a:cubicBezTo>
                    <a:pt x="26373" y="0"/>
                    <a:pt x="20398" y="0"/>
                    <a:pt x="15918" y="0"/>
                  </a:cubicBezTo>
                  <a:cubicBezTo>
                    <a:pt x="14424" y="0"/>
                    <a:pt x="12930" y="0"/>
                    <a:pt x="12930" y="1494"/>
                  </a:cubicBezTo>
                  <a:cubicBezTo>
                    <a:pt x="11436" y="1494"/>
                    <a:pt x="11436" y="2987"/>
                    <a:pt x="11436" y="2987"/>
                  </a:cubicBezTo>
                  <a:cubicBezTo>
                    <a:pt x="6956" y="8962"/>
                    <a:pt x="3968" y="16430"/>
                    <a:pt x="2475" y="23898"/>
                  </a:cubicBezTo>
                  <a:cubicBezTo>
                    <a:pt x="-513" y="32860"/>
                    <a:pt x="-513" y="40328"/>
                    <a:pt x="981" y="47796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4" name="任意多边形: 形状 9923"/>
            <p:cNvSpPr/>
            <p:nvPr/>
          </p:nvSpPr>
          <p:spPr>
            <a:xfrm>
              <a:off x="8429142" y="4307192"/>
              <a:ext cx="59745" cy="164300"/>
            </a:xfrm>
            <a:custGeom>
              <a:avLst/>
              <a:gdLst>
                <a:gd name="connsiteX0" fmla="*/ 72203 w 59745"/>
                <a:gd name="connsiteY0" fmla="*/ 136429 h 164299"/>
                <a:gd name="connsiteX1" fmla="*/ 73697 w 59745"/>
                <a:gd name="connsiteY1" fmla="*/ 158834 h 164299"/>
                <a:gd name="connsiteX2" fmla="*/ 39343 w 59745"/>
                <a:gd name="connsiteY2" fmla="*/ 163315 h 164299"/>
                <a:gd name="connsiteX3" fmla="*/ 33369 w 59745"/>
                <a:gd name="connsiteY3" fmla="*/ 143898 h 164299"/>
                <a:gd name="connsiteX4" fmla="*/ 509 w 59745"/>
                <a:gd name="connsiteY4" fmla="*/ 36356 h 164299"/>
                <a:gd name="connsiteX5" fmla="*/ 24407 w 59745"/>
                <a:gd name="connsiteY5" fmla="*/ 509 h 164299"/>
                <a:gd name="connsiteX6" fmla="*/ 24407 w 59745"/>
                <a:gd name="connsiteY6" fmla="*/ 509 h 164299"/>
                <a:gd name="connsiteX7" fmla="*/ 60254 w 59745"/>
                <a:gd name="connsiteY7" fmla="*/ 24407 h 164299"/>
                <a:gd name="connsiteX8" fmla="*/ 72203 w 59745"/>
                <a:gd name="connsiteY8" fmla="*/ 136429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64299">
                  <a:moveTo>
                    <a:pt x="72203" y="136429"/>
                  </a:moveTo>
                  <a:cubicBezTo>
                    <a:pt x="75190" y="148378"/>
                    <a:pt x="75190" y="154353"/>
                    <a:pt x="73697" y="158834"/>
                  </a:cubicBezTo>
                  <a:cubicBezTo>
                    <a:pt x="72203" y="164808"/>
                    <a:pt x="42330" y="169289"/>
                    <a:pt x="39343" y="163315"/>
                  </a:cubicBezTo>
                  <a:cubicBezTo>
                    <a:pt x="36356" y="158834"/>
                    <a:pt x="34862" y="151366"/>
                    <a:pt x="33369" y="143898"/>
                  </a:cubicBezTo>
                  <a:lnTo>
                    <a:pt x="509" y="36356"/>
                  </a:lnTo>
                  <a:cubicBezTo>
                    <a:pt x="-2479" y="19926"/>
                    <a:pt x="7977" y="3496"/>
                    <a:pt x="24407" y="509"/>
                  </a:cubicBezTo>
                  <a:lnTo>
                    <a:pt x="24407" y="509"/>
                  </a:lnTo>
                  <a:cubicBezTo>
                    <a:pt x="40837" y="-2479"/>
                    <a:pt x="57267" y="7977"/>
                    <a:pt x="60254" y="24407"/>
                  </a:cubicBezTo>
                  <a:lnTo>
                    <a:pt x="72203" y="136429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5" name="任意多边形: 形状 9924"/>
            <p:cNvSpPr/>
            <p:nvPr/>
          </p:nvSpPr>
          <p:spPr>
            <a:xfrm>
              <a:off x="8522256" y="4256917"/>
              <a:ext cx="29873" cy="14936"/>
            </a:xfrm>
            <a:custGeom>
              <a:avLst/>
              <a:gdLst>
                <a:gd name="connsiteX0" fmla="*/ 32860 w 29872"/>
                <a:gd name="connsiteY0" fmla="*/ 10455 h 14936"/>
                <a:gd name="connsiteX1" fmla="*/ 0 w 29872"/>
                <a:gd name="connsiteY1" fmla="*/ 26885 h 14936"/>
                <a:gd name="connsiteX2" fmla="*/ 1493 w 29872"/>
                <a:gd name="connsiteY2" fmla="*/ 17923 h 14936"/>
                <a:gd name="connsiteX3" fmla="*/ 34353 w 29872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32860" y="10455"/>
                  </a:moveTo>
                  <a:lnTo>
                    <a:pt x="0" y="26885"/>
                  </a:lnTo>
                  <a:lnTo>
                    <a:pt x="1493" y="17923"/>
                  </a:lnTo>
                  <a:lnTo>
                    <a:pt x="34353" y="0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6" name="任意多边形: 形状 9925"/>
            <p:cNvSpPr/>
            <p:nvPr/>
          </p:nvSpPr>
          <p:spPr>
            <a:xfrm>
              <a:off x="8556610" y="4161324"/>
              <a:ext cx="29873" cy="253918"/>
            </a:xfrm>
            <a:custGeom>
              <a:avLst/>
              <a:gdLst>
                <a:gd name="connsiteX0" fmla="*/ 23898 w 29872"/>
                <a:gd name="connsiteY0" fmla="*/ 265867 h 253917"/>
                <a:gd name="connsiteX1" fmla="*/ 38835 w 29872"/>
                <a:gd name="connsiteY1" fmla="*/ 256905 h 253917"/>
                <a:gd name="connsiteX2" fmla="*/ 17924 w 29872"/>
                <a:gd name="connsiteY2" fmla="*/ 0 h 253917"/>
                <a:gd name="connsiteX3" fmla="*/ 0 w 29872"/>
                <a:gd name="connsiteY3" fmla="*/ 5975 h 253917"/>
                <a:gd name="connsiteX4" fmla="*/ 23898 w 29872"/>
                <a:gd name="connsiteY4" fmla="*/ 265867 h 253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72" h="253917">
                  <a:moveTo>
                    <a:pt x="23898" y="265867"/>
                  </a:moveTo>
                  <a:lnTo>
                    <a:pt x="38835" y="256905"/>
                  </a:lnTo>
                  <a:cubicBezTo>
                    <a:pt x="41822" y="206122"/>
                    <a:pt x="26885" y="100074"/>
                    <a:pt x="17924" y="0"/>
                  </a:cubicBezTo>
                  <a:lnTo>
                    <a:pt x="0" y="5975"/>
                  </a:lnTo>
                  <a:cubicBezTo>
                    <a:pt x="10456" y="107542"/>
                    <a:pt x="25392" y="215084"/>
                    <a:pt x="23898" y="265867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7" name="任意多边形: 形状 9926"/>
            <p:cNvSpPr/>
            <p:nvPr/>
          </p:nvSpPr>
          <p:spPr>
            <a:xfrm>
              <a:off x="8501719" y="4123983"/>
              <a:ext cx="74682" cy="74682"/>
            </a:xfrm>
            <a:custGeom>
              <a:avLst/>
              <a:gdLst>
                <a:gd name="connsiteX0" fmla="*/ 14563 w 74681"/>
                <a:gd name="connsiteY0" fmla="*/ 2987 h 74681"/>
                <a:gd name="connsiteX1" fmla="*/ 1120 w 74681"/>
                <a:gd name="connsiteY1" fmla="*/ 20911 h 74681"/>
                <a:gd name="connsiteX2" fmla="*/ 1120 w 74681"/>
                <a:gd name="connsiteY2" fmla="*/ 29873 h 74681"/>
                <a:gd name="connsiteX3" fmla="*/ 16057 w 74681"/>
                <a:gd name="connsiteY3" fmla="*/ 50784 h 74681"/>
                <a:gd name="connsiteX4" fmla="*/ 50411 w 74681"/>
                <a:gd name="connsiteY4" fmla="*/ 77669 h 74681"/>
                <a:gd name="connsiteX5" fmla="*/ 66840 w 74681"/>
                <a:gd name="connsiteY5" fmla="*/ 43316 h 74681"/>
                <a:gd name="connsiteX6" fmla="*/ 86258 w 74681"/>
                <a:gd name="connsiteY6" fmla="*/ 61239 h 74681"/>
                <a:gd name="connsiteX7" fmla="*/ 86258 w 74681"/>
                <a:gd name="connsiteY7" fmla="*/ 31366 h 74681"/>
                <a:gd name="connsiteX8" fmla="*/ 69828 w 74681"/>
                <a:gd name="connsiteY8" fmla="*/ 5975 h 74681"/>
                <a:gd name="connsiteX9" fmla="*/ 44436 w 74681"/>
                <a:gd name="connsiteY9" fmla="*/ 0 h 74681"/>
                <a:gd name="connsiteX10" fmla="*/ 19044 w 74681"/>
                <a:gd name="connsiteY10" fmla="*/ 5975 h 74681"/>
                <a:gd name="connsiteX11" fmla="*/ 14563 w 74681"/>
                <a:gd name="connsiteY11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74681">
                  <a:moveTo>
                    <a:pt x="14563" y="2987"/>
                  </a:moveTo>
                  <a:cubicBezTo>
                    <a:pt x="11576" y="8962"/>
                    <a:pt x="4108" y="17924"/>
                    <a:pt x="1120" y="20911"/>
                  </a:cubicBezTo>
                  <a:cubicBezTo>
                    <a:pt x="-373" y="23898"/>
                    <a:pt x="-373" y="26886"/>
                    <a:pt x="1120" y="29873"/>
                  </a:cubicBezTo>
                  <a:cubicBezTo>
                    <a:pt x="4108" y="38835"/>
                    <a:pt x="8588" y="44809"/>
                    <a:pt x="16057" y="50784"/>
                  </a:cubicBezTo>
                  <a:cubicBezTo>
                    <a:pt x="28006" y="59745"/>
                    <a:pt x="38461" y="68707"/>
                    <a:pt x="50411" y="77669"/>
                  </a:cubicBezTo>
                  <a:cubicBezTo>
                    <a:pt x="56385" y="67214"/>
                    <a:pt x="62359" y="55265"/>
                    <a:pt x="66840" y="43316"/>
                  </a:cubicBezTo>
                  <a:cubicBezTo>
                    <a:pt x="72815" y="49290"/>
                    <a:pt x="80283" y="55265"/>
                    <a:pt x="86258" y="61239"/>
                  </a:cubicBezTo>
                  <a:cubicBezTo>
                    <a:pt x="87751" y="50784"/>
                    <a:pt x="87751" y="40328"/>
                    <a:pt x="86258" y="31366"/>
                  </a:cubicBezTo>
                  <a:cubicBezTo>
                    <a:pt x="84764" y="20911"/>
                    <a:pt x="78789" y="11949"/>
                    <a:pt x="69828" y="5975"/>
                  </a:cubicBezTo>
                  <a:cubicBezTo>
                    <a:pt x="62359" y="1494"/>
                    <a:pt x="53397" y="0"/>
                    <a:pt x="44436" y="0"/>
                  </a:cubicBezTo>
                  <a:cubicBezTo>
                    <a:pt x="35474" y="0"/>
                    <a:pt x="26512" y="2987"/>
                    <a:pt x="19044" y="5975"/>
                  </a:cubicBezTo>
                  <a:cubicBezTo>
                    <a:pt x="16057" y="4481"/>
                    <a:pt x="14563" y="1494"/>
                    <a:pt x="14563" y="2987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8" name="任意多边形: 形状 9927"/>
            <p:cNvSpPr/>
            <p:nvPr/>
          </p:nvSpPr>
          <p:spPr>
            <a:xfrm>
              <a:off x="8513294" y="4123423"/>
              <a:ext cx="59745" cy="29873"/>
            </a:xfrm>
            <a:custGeom>
              <a:avLst/>
              <a:gdLst>
                <a:gd name="connsiteX0" fmla="*/ 61239 w 59745"/>
                <a:gd name="connsiteY0" fmla="*/ 24458 h 29872"/>
                <a:gd name="connsiteX1" fmla="*/ 53771 w 59745"/>
                <a:gd name="connsiteY1" fmla="*/ 31926 h 29872"/>
                <a:gd name="connsiteX2" fmla="*/ 8962 w 59745"/>
                <a:gd name="connsiteY2" fmla="*/ 31926 h 29872"/>
                <a:gd name="connsiteX3" fmla="*/ 8962 w 59745"/>
                <a:gd name="connsiteY3" fmla="*/ 6535 h 29872"/>
                <a:gd name="connsiteX4" fmla="*/ 17923 w 59745"/>
                <a:gd name="connsiteY4" fmla="*/ 2054 h 29872"/>
                <a:gd name="connsiteX5" fmla="*/ 23898 w 59745"/>
                <a:gd name="connsiteY5" fmla="*/ 560 h 29872"/>
                <a:gd name="connsiteX6" fmla="*/ 53771 w 59745"/>
                <a:gd name="connsiteY6" fmla="*/ 5041 h 29872"/>
                <a:gd name="connsiteX7" fmla="*/ 62732 w 59745"/>
                <a:gd name="connsiteY7" fmla="*/ 14003 h 29872"/>
                <a:gd name="connsiteX8" fmla="*/ 61239 w 59745"/>
                <a:gd name="connsiteY8" fmla="*/ 24458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9872">
                  <a:moveTo>
                    <a:pt x="61239" y="24458"/>
                  </a:moveTo>
                  <a:cubicBezTo>
                    <a:pt x="59745" y="27446"/>
                    <a:pt x="56758" y="30433"/>
                    <a:pt x="53771" y="31926"/>
                  </a:cubicBezTo>
                  <a:cubicBezTo>
                    <a:pt x="41822" y="39395"/>
                    <a:pt x="20911" y="39395"/>
                    <a:pt x="8962" y="31926"/>
                  </a:cubicBezTo>
                  <a:cubicBezTo>
                    <a:pt x="-2987" y="24458"/>
                    <a:pt x="-2987" y="12509"/>
                    <a:pt x="8962" y="6535"/>
                  </a:cubicBezTo>
                  <a:cubicBezTo>
                    <a:pt x="11949" y="5041"/>
                    <a:pt x="14936" y="3547"/>
                    <a:pt x="17923" y="2054"/>
                  </a:cubicBezTo>
                  <a:cubicBezTo>
                    <a:pt x="19417" y="2054"/>
                    <a:pt x="20911" y="560"/>
                    <a:pt x="23898" y="560"/>
                  </a:cubicBezTo>
                  <a:cubicBezTo>
                    <a:pt x="34354" y="-933"/>
                    <a:pt x="46303" y="560"/>
                    <a:pt x="53771" y="5041"/>
                  </a:cubicBezTo>
                  <a:cubicBezTo>
                    <a:pt x="58252" y="8028"/>
                    <a:pt x="61239" y="11016"/>
                    <a:pt x="62732" y="14003"/>
                  </a:cubicBezTo>
                  <a:cubicBezTo>
                    <a:pt x="62732" y="18484"/>
                    <a:pt x="62732" y="21471"/>
                    <a:pt x="61239" y="24458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9" name="任意多边形: 形状 9928"/>
            <p:cNvSpPr/>
            <p:nvPr/>
          </p:nvSpPr>
          <p:spPr>
            <a:xfrm>
              <a:off x="8511801" y="4059757"/>
              <a:ext cx="59745" cy="74682"/>
            </a:xfrm>
            <a:custGeom>
              <a:avLst/>
              <a:gdLst>
                <a:gd name="connsiteX0" fmla="*/ 0 w 59745"/>
                <a:gd name="connsiteY0" fmla="*/ 0 h 74681"/>
                <a:gd name="connsiteX1" fmla="*/ 64226 w 59745"/>
                <a:gd name="connsiteY1" fmla="*/ 0 h 74681"/>
                <a:gd name="connsiteX2" fmla="*/ 64226 w 59745"/>
                <a:gd name="connsiteY2" fmla="*/ 82150 h 74681"/>
                <a:gd name="connsiteX3" fmla="*/ 0 w 59745"/>
                <a:gd name="connsiteY3" fmla="*/ 8215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74681">
                  <a:moveTo>
                    <a:pt x="0" y="0"/>
                  </a:moveTo>
                  <a:lnTo>
                    <a:pt x="64226" y="0"/>
                  </a:lnTo>
                  <a:lnTo>
                    <a:pt x="64226" y="82150"/>
                  </a:lnTo>
                  <a:lnTo>
                    <a:pt x="0" y="82150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0" name="任意多边形: 形状 9929"/>
            <p:cNvSpPr/>
            <p:nvPr/>
          </p:nvSpPr>
          <p:spPr>
            <a:xfrm>
              <a:off x="8522256" y="4001125"/>
              <a:ext cx="74682" cy="119491"/>
            </a:xfrm>
            <a:custGeom>
              <a:avLst/>
              <a:gdLst>
                <a:gd name="connsiteX0" fmla="*/ 0 w 74681"/>
                <a:gd name="connsiteY0" fmla="*/ 64607 h 119490"/>
                <a:gd name="connsiteX1" fmla="*/ 2987 w 74681"/>
                <a:gd name="connsiteY1" fmla="*/ 91492 h 119490"/>
                <a:gd name="connsiteX2" fmla="*/ 14936 w 74681"/>
                <a:gd name="connsiteY2" fmla="*/ 115390 h 119490"/>
                <a:gd name="connsiteX3" fmla="*/ 52277 w 74681"/>
                <a:gd name="connsiteY3" fmla="*/ 127340 h 119490"/>
                <a:gd name="connsiteX4" fmla="*/ 61239 w 74681"/>
                <a:gd name="connsiteY4" fmla="*/ 124352 h 119490"/>
                <a:gd name="connsiteX5" fmla="*/ 70201 w 74681"/>
                <a:gd name="connsiteY5" fmla="*/ 107922 h 119490"/>
                <a:gd name="connsiteX6" fmla="*/ 76175 w 74681"/>
                <a:gd name="connsiteY6" fmla="*/ 31747 h 119490"/>
                <a:gd name="connsiteX7" fmla="*/ 74682 w 74681"/>
                <a:gd name="connsiteY7" fmla="*/ 19798 h 119490"/>
                <a:gd name="connsiteX8" fmla="*/ 49290 w 74681"/>
                <a:gd name="connsiteY8" fmla="*/ 381 h 119490"/>
                <a:gd name="connsiteX9" fmla="*/ 16430 w 74681"/>
                <a:gd name="connsiteY9" fmla="*/ 7849 h 119490"/>
                <a:gd name="connsiteX10" fmla="*/ 8961 w 74681"/>
                <a:gd name="connsiteY10" fmla="*/ 12330 h 119490"/>
                <a:gd name="connsiteX11" fmla="*/ 2987 w 74681"/>
                <a:gd name="connsiteY11" fmla="*/ 19798 h 119490"/>
                <a:gd name="connsiteX12" fmla="*/ 0 w 74681"/>
                <a:gd name="connsiteY12" fmla="*/ 64607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0" y="64607"/>
                  </a:moveTo>
                  <a:cubicBezTo>
                    <a:pt x="0" y="73569"/>
                    <a:pt x="1493" y="82531"/>
                    <a:pt x="2987" y="91492"/>
                  </a:cubicBezTo>
                  <a:cubicBezTo>
                    <a:pt x="4481" y="100454"/>
                    <a:pt x="8961" y="109416"/>
                    <a:pt x="14936" y="115390"/>
                  </a:cubicBezTo>
                  <a:cubicBezTo>
                    <a:pt x="23898" y="125846"/>
                    <a:pt x="38834" y="130327"/>
                    <a:pt x="52277" y="127340"/>
                  </a:cubicBezTo>
                  <a:cubicBezTo>
                    <a:pt x="55264" y="127340"/>
                    <a:pt x="58252" y="125846"/>
                    <a:pt x="61239" y="124352"/>
                  </a:cubicBezTo>
                  <a:cubicBezTo>
                    <a:pt x="65720" y="121365"/>
                    <a:pt x="68707" y="113897"/>
                    <a:pt x="70201" y="107922"/>
                  </a:cubicBezTo>
                  <a:cubicBezTo>
                    <a:pt x="77669" y="82531"/>
                    <a:pt x="79162" y="57139"/>
                    <a:pt x="76175" y="31747"/>
                  </a:cubicBezTo>
                  <a:cubicBezTo>
                    <a:pt x="76175" y="27266"/>
                    <a:pt x="76175" y="24279"/>
                    <a:pt x="74682" y="19798"/>
                  </a:cubicBezTo>
                  <a:cubicBezTo>
                    <a:pt x="71694" y="9343"/>
                    <a:pt x="59745" y="1874"/>
                    <a:pt x="49290" y="381"/>
                  </a:cubicBezTo>
                  <a:cubicBezTo>
                    <a:pt x="37341" y="-1113"/>
                    <a:pt x="26885" y="1874"/>
                    <a:pt x="16430" y="7849"/>
                  </a:cubicBezTo>
                  <a:cubicBezTo>
                    <a:pt x="13443" y="9343"/>
                    <a:pt x="10455" y="10836"/>
                    <a:pt x="8961" y="12330"/>
                  </a:cubicBezTo>
                  <a:cubicBezTo>
                    <a:pt x="7468" y="13823"/>
                    <a:pt x="5974" y="16811"/>
                    <a:pt x="2987" y="19798"/>
                  </a:cubicBezTo>
                  <a:cubicBezTo>
                    <a:pt x="1493" y="22785"/>
                    <a:pt x="0" y="49670"/>
                    <a:pt x="0" y="6460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1" name="任意多边形: 形状 9930"/>
            <p:cNvSpPr/>
            <p:nvPr/>
          </p:nvSpPr>
          <p:spPr>
            <a:xfrm>
              <a:off x="8522256" y="4010087"/>
              <a:ext cx="74682" cy="119491"/>
            </a:xfrm>
            <a:custGeom>
              <a:avLst/>
              <a:gdLst>
                <a:gd name="connsiteX0" fmla="*/ 0 w 74681"/>
                <a:gd name="connsiteY0" fmla="*/ 64607 h 119490"/>
                <a:gd name="connsiteX1" fmla="*/ 2987 w 74681"/>
                <a:gd name="connsiteY1" fmla="*/ 91492 h 119490"/>
                <a:gd name="connsiteX2" fmla="*/ 14936 w 74681"/>
                <a:gd name="connsiteY2" fmla="*/ 115390 h 119490"/>
                <a:gd name="connsiteX3" fmla="*/ 52277 w 74681"/>
                <a:gd name="connsiteY3" fmla="*/ 127340 h 119490"/>
                <a:gd name="connsiteX4" fmla="*/ 61239 w 74681"/>
                <a:gd name="connsiteY4" fmla="*/ 124352 h 119490"/>
                <a:gd name="connsiteX5" fmla="*/ 70201 w 74681"/>
                <a:gd name="connsiteY5" fmla="*/ 107922 h 119490"/>
                <a:gd name="connsiteX6" fmla="*/ 76175 w 74681"/>
                <a:gd name="connsiteY6" fmla="*/ 31747 h 119490"/>
                <a:gd name="connsiteX7" fmla="*/ 74682 w 74681"/>
                <a:gd name="connsiteY7" fmla="*/ 19798 h 119490"/>
                <a:gd name="connsiteX8" fmla="*/ 49290 w 74681"/>
                <a:gd name="connsiteY8" fmla="*/ 381 h 119490"/>
                <a:gd name="connsiteX9" fmla="*/ 16430 w 74681"/>
                <a:gd name="connsiteY9" fmla="*/ 7849 h 119490"/>
                <a:gd name="connsiteX10" fmla="*/ 8961 w 74681"/>
                <a:gd name="connsiteY10" fmla="*/ 12330 h 119490"/>
                <a:gd name="connsiteX11" fmla="*/ 2987 w 74681"/>
                <a:gd name="connsiteY11" fmla="*/ 19798 h 119490"/>
                <a:gd name="connsiteX12" fmla="*/ 0 w 74681"/>
                <a:gd name="connsiteY12" fmla="*/ 64607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0" y="64607"/>
                  </a:moveTo>
                  <a:cubicBezTo>
                    <a:pt x="0" y="73569"/>
                    <a:pt x="1493" y="82531"/>
                    <a:pt x="2987" y="91492"/>
                  </a:cubicBezTo>
                  <a:cubicBezTo>
                    <a:pt x="4481" y="100454"/>
                    <a:pt x="8961" y="109416"/>
                    <a:pt x="14936" y="115390"/>
                  </a:cubicBezTo>
                  <a:cubicBezTo>
                    <a:pt x="23898" y="125846"/>
                    <a:pt x="38834" y="130327"/>
                    <a:pt x="52277" y="127340"/>
                  </a:cubicBezTo>
                  <a:cubicBezTo>
                    <a:pt x="55264" y="127340"/>
                    <a:pt x="58252" y="125846"/>
                    <a:pt x="61239" y="124352"/>
                  </a:cubicBezTo>
                  <a:cubicBezTo>
                    <a:pt x="65720" y="121365"/>
                    <a:pt x="68707" y="113897"/>
                    <a:pt x="70201" y="107922"/>
                  </a:cubicBezTo>
                  <a:cubicBezTo>
                    <a:pt x="77669" y="82531"/>
                    <a:pt x="79162" y="57139"/>
                    <a:pt x="76175" y="31747"/>
                  </a:cubicBezTo>
                  <a:cubicBezTo>
                    <a:pt x="76175" y="27266"/>
                    <a:pt x="76175" y="24278"/>
                    <a:pt x="74682" y="19798"/>
                  </a:cubicBezTo>
                  <a:cubicBezTo>
                    <a:pt x="71694" y="9342"/>
                    <a:pt x="59745" y="1874"/>
                    <a:pt x="49290" y="381"/>
                  </a:cubicBezTo>
                  <a:cubicBezTo>
                    <a:pt x="37341" y="-1113"/>
                    <a:pt x="26885" y="1874"/>
                    <a:pt x="16430" y="7849"/>
                  </a:cubicBezTo>
                  <a:cubicBezTo>
                    <a:pt x="13443" y="9342"/>
                    <a:pt x="10455" y="10836"/>
                    <a:pt x="8961" y="12330"/>
                  </a:cubicBezTo>
                  <a:cubicBezTo>
                    <a:pt x="7468" y="13823"/>
                    <a:pt x="5974" y="16810"/>
                    <a:pt x="2987" y="19798"/>
                  </a:cubicBezTo>
                  <a:cubicBezTo>
                    <a:pt x="1493" y="22785"/>
                    <a:pt x="0" y="51164"/>
                    <a:pt x="0" y="6460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2" name="任意多边形: 形状 9931"/>
            <p:cNvSpPr/>
            <p:nvPr/>
          </p:nvSpPr>
          <p:spPr>
            <a:xfrm>
              <a:off x="8522256" y="4068719"/>
              <a:ext cx="44809" cy="74682"/>
            </a:xfrm>
            <a:custGeom>
              <a:avLst/>
              <a:gdLst>
                <a:gd name="connsiteX0" fmla="*/ 52277 w 44809"/>
                <a:gd name="connsiteY0" fmla="*/ 79162 h 74681"/>
                <a:gd name="connsiteX1" fmla="*/ 14936 w 44809"/>
                <a:gd name="connsiteY1" fmla="*/ 67214 h 74681"/>
                <a:gd name="connsiteX2" fmla="*/ 7468 w 44809"/>
                <a:gd name="connsiteY2" fmla="*/ 56758 h 74681"/>
                <a:gd name="connsiteX3" fmla="*/ 2987 w 44809"/>
                <a:gd name="connsiteY3" fmla="*/ 43315 h 74681"/>
                <a:gd name="connsiteX4" fmla="*/ 0 w 44809"/>
                <a:gd name="connsiteY4" fmla="*/ 16430 h 74681"/>
                <a:gd name="connsiteX5" fmla="*/ 0 w 44809"/>
                <a:gd name="connsiteY5" fmla="*/ 0 h 74681"/>
                <a:gd name="connsiteX6" fmla="*/ 0 w 44809"/>
                <a:gd name="connsiteY6" fmla="*/ 5974 h 74681"/>
                <a:gd name="connsiteX7" fmla="*/ 2987 w 44809"/>
                <a:gd name="connsiteY7" fmla="*/ 32860 h 74681"/>
                <a:gd name="connsiteX8" fmla="*/ 13443 w 44809"/>
                <a:gd name="connsiteY8" fmla="*/ 55264 h 74681"/>
                <a:gd name="connsiteX9" fmla="*/ 14936 w 44809"/>
                <a:gd name="connsiteY9" fmla="*/ 56758 h 74681"/>
                <a:gd name="connsiteX10" fmla="*/ 52277 w 44809"/>
                <a:gd name="connsiteY10" fmla="*/ 68707 h 74681"/>
                <a:gd name="connsiteX11" fmla="*/ 52277 w 44809"/>
                <a:gd name="connsiteY11" fmla="*/ 68707 h 74681"/>
                <a:gd name="connsiteX12" fmla="*/ 52277 w 44809"/>
                <a:gd name="connsiteY12" fmla="*/ 79162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09" h="74681">
                  <a:moveTo>
                    <a:pt x="52277" y="79162"/>
                  </a:moveTo>
                  <a:cubicBezTo>
                    <a:pt x="38834" y="82150"/>
                    <a:pt x="25392" y="77669"/>
                    <a:pt x="14936" y="67214"/>
                  </a:cubicBezTo>
                  <a:cubicBezTo>
                    <a:pt x="11949" y="64226"/>
                    <a:pt x="10455" y="61239"/>
                    <a:pt x="7468" y="56758"/>
                  </a:cubicBezTo>
                  <a:cubicBezTo>
                    <a:pt x="4481" y="52277"/>
                    <a:pt x="2987" y="47796"/>
                    <a:pt x="2987" y="43315"/>
                  </a:cubicBezTo>
                  <a:cubicBezTo>
                    <a:pt x="1493" y="34353"/>
                    <a:pt x="0" y="25392"/>
                    <a:pt x="0" y="16430"/>
                  </a:cubicBezTo>
                  <a:cubicBezTo>
                    <a:pt x="0" y="11949"/>
                    <a:pt x="0" y="5974"/>
                    <a:pt x="0" y="0"/>
                  </a:cubicBezTo>
                  <a:cubicBezTo>
                    <a:pt x="0" y="2987"/>
                    <a:pt x="0" y="4481"/>
                    <a:pt x="0" y="5974"/>
                  </a:cubicBezTo>
                  <a:cubicBezTo>
                    <a:pt x="0" y="14936"/>
                    <a:pt x="1493" y="23898"/>
                    <a:pt x="2987" y="32860"/>
                  </a:cubicBezTo>
                  <a:cubicBezTo>
                    <a:pt x="4481" y="41822"/>
                    <a:pt x="7468" y="49290"/>
                    <a:pt x="13443" y="55264"/>
                  </a:cubicBezTo>
                  <a:cubicBezTo>
                    <a:pt x="13443" y="55264"/>
                    <a:pt x="14936" y="56758"/>
                    <a:pt x="14936" y="56758"/>
                  </a:cubicBezTo>
                  <a:cubicBezTo>
                    <a:pt x="23898" y="67214"/>
                    <a:pt x="38834" y="71694"/>
                    <a:pt x="52277" y="68707"/>
                  </a:cubicBezTo>
                  <a:cubicBezTo>
                    <a:pt x="52277" y="68707"/>
                    <a:pt x="52277" y="68707"/>
                    <a:pt x="52277" y="68707"/>
                  </a:cubicBezTo>
                  <a:cubicBezTo>
                    <a:pt x="53770" y="73188"/>
                    <a:pt x="53770" y="76175"/>
                    <a:pt x="52277" y="79162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3" name="任意多边形: 形状 9932"/>
            <p:cNvSpPr/>
            <p:nvPr/>
          </p:nvSpPr>
          <p:spPr>
            <a:xfrm>
              <a:off x="8490303" y="3992543"/>
              <a:ext cx="104554" cy="119491"/>
            </a:xfrm>
            <a:custGeom>
              <a:avLst/>
              <a:gdLst>
                <a:gd name="connsiteX0" fmla="*/ 36434 w 104554"/>
                <a:gd name="connsiteY0" fmla="*/ 79162 h 119490"/>
                <a:gd name="connsiteX1" fmla="*/ 27472 w 104554"/>
                <a:gd name="connsiteY1" fmla="*/ 74682 h 119490"/>
                <a:gd name="connsiteX2" fmla="*/ 31953 w 104554"/>
                <a:gd name="connsiteY2" fmla="*/ 119491 h 119490"/>
                <a:gd name="connsiteX3" fmla="*/ 30460 w 104554"/>
                <a:gd name="connsiteY3" fmla="*/ 125465 h 119490"/>
                <a:gd name="connsiteX4" fmla="*/ 25979 w 104554"/>
                <a:gd name="connsiteY4" fmla="*/ 126959 h 119490"/>
                <a:gd name="connsiteX5" fmla="*/ 11042 w 104554"/>
                <a:gd name="connsiteY5" fmla="*/ 117997 h 119490"/>
                <a:gd name="connsiteX6" fmla="*/ 5068 w 104554"/>
                <a:gd name="connsiteY6" fmla="*/ 101567 h 119490"/>
                <a:gd name="connsiteX7" fmla="*/ 2081 w 104554"/>
                <a:gd name="connsiteY7" fmla="*/ 79162 h 119490"/>
                <a:gd name="connsiteX8" fmla="*/ 3574 w 104554"/>
                <a:gd name="connsiteY8" fmla="*/ 32860 h 119490"/>
                <a:gd name="connsiteX9" fmla="*/ 25979 w 104554"/>
                <a:gd name="connsiteY9" fmla="*/ 7468 h 119490"/>
                <a:gd name="connsiteX10" fmla="*/ 61826 w 104554"/>
                <a:gd name="connsiteY10" fmla="*/ 0 h 119490"/>
                <a:gd name="connsiteX11" fmla="*/ 90205 w 104554"/>
                <a:gd name="connsiteY11" fmla="*/ 7468 h 119490"/>
                <a:gd name="connsiteX12" fmla="*/ 109622 w 104554"/>
                <a:gd name="connsiteY12" fmla="*/ 29873 h 119490"/>
                <a:gd name="connsiteX13" fmla="*/ 111116 w 104554"/>
                <a:gd name="connsiteY13" fmla="*/ 41822 h 119490"/>
                <a:gd name="connsiteX14" fmla="*/ 93192 w 104554"/>
                <a:gd name="connsiteY14" fmla="*/ 56758 h 119490"/>
                <a:gd name="connsiteX15" fmla="*/ 52864 w 104554"/>
                <a:gd name="connsiteY15" fmla="*/ 53771 h 119490"/>
                <a:gd name="connsiteX16" fmla="*/ 45396 w 104554"/>
                <a:gd name="connsiteY16" fmla="*/ 50783 h 119490"/>
                <a:gd name="connsiteX17" fmla="*/ 37928 w 104554"/>
                <a:gd name="connsiteY17" fmla="*/ 53771 h 119490"/>
                <a:gd name="connsiteX18" fmla="*/ 36434 w 104554"/>
                <a:gd name="connsiteY18" fmla="*/ 58252 h 119490"/>
                <a:gd name="connsiteX19" fmla="*/ 36434 w 104554"/>
                <a:gd name="connsiteY19" fmla="*/ 79162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4554" h="119490">
                  <a:moveTo>
                    <a:pt x="36434" y="79162"/>
                  </a:moveTo>
                  <a:cubicBezTo>
                    <a:pt x="36434" y="79162"/>
                    <a:pt x="30460" y="76175"/>
                    <a:pt x="27472" y="74682"/>
                  </a:cubicBezTo>
                  <a:cubicBezTo>
                    <a:pt x="31953" y="89618"/>
                    <a:pt x="33447" y="104554"/>
                    <a:pt x="31953" y="119491"/>
                  </a:cubicBezTo>
                  <a:cubicBezTo>
                    <a:pt x="31953" y="120984"/>
                    <a:pt x="31953" y="123971"/>
                    <a:pt x="30460" y="125465"/>
                  </a:cubicBezTo>
                  <a:cubicBezTo>
                    <a:pt x="28966" y="126959"/>
                    <a:pt x="27472" y="126959"/>
                    <a:pt x="25979" y="126959"/>
                  </a:cubicBezTo>
                  <a:cubicBezTo>
                    <a:pt x="20004" y="126959"/>
                    <a:pt x="14030" y="123971"/>
                    <a:pt x="11042" y="117997"/>
                  </a:cubicBezTo>
                  <a:cubicBezTo>
                    <a:pt x="8055" y="113516"/>
                    <a:pt x="6561" y="107542"/>
                    <a:pt x="5068" y="101567"/>
                  </a:cubicBezTo>
                  <a:cubicBezTo>
                    <a:pt x="3574" y="94099"/>
                    <a:pt x="2081" y="86631"/>
                    <a:pt x="2081" y="79162"/>
                  </a:cubicBezTo>
                  <a:cubicBezTo>
                    <a:pt x="587" y="64226"/>
                    <a:pt x="-2400" y="47796"/>
                    <a:pt x="3574" y="32860"/>
                  </a:cubicBezTo>
                  <a:cubicBezTo>
                    <a:pt x="8055" y="22405"/>
                    <a:pt x="15523" y="13443"/>
                    <a:pt x="25979" y="7468"/>
                  </a:cubicBezTo>
                  <a:cubicBezTo>
                    <a:pt x="36434" y="1494"/>
                    <a:pt x="49877" y="0"/>
                    <a:pt x="61826" y="0"/>
                  </a:cubicBezTo>
                  <a:cubicBezTo>
                    <a:pt x="72281" y="0"/>
                    <a:pt x="81243" y="1494"/>
                    <a:pt x="90205" y="7468"/>
                  </a:cubicBezTo>
                  <a:cubicBezTo>
                    <a:pt x="99167" y="11949"/>
                    <a:pt x="106635" y="19417"/>
                    <a:pt x="109622" y="29873"/>
                  </a:cubicBezTo>
                  <a:cubicBezTo>
                    <a:pt x="111116" y="34353"/>
                    <a:pt x="111116" y="38835"/>
                    <a:pt x="111116" y="41822"/>
                  </a:cubicBezTo>
                  <a:cubicBezTo>
                    <a:pt x="108128" y="49290"/>
                    <a:pt x="100660" y="53771"/>
                    <a:pt x="93192" y="56758"/>
                  </a:cubicBezTo>
                  <a:cubicBezTo>
                    <a:pt x="79749" y="59745"/>
                    <a:pt x="64813" y="58252"/>
                    <a:pt x="52864" y="53771"/>
                  </a:cubicBezTo>
                  <a:cubicBezTo>
                    <a:pt x="49877" y="52277"/>
                    <a:pt x="48383" y="50783"/>
                    <a:pt x="45396" y="50783"/>
                  </a:cubicBezTo>
                  <a:cubicBezTo>
                    <a:pt x="42409" y="50783"/>
                    <a:pt x="39422" y="50783"/>
                    <a:pt x="37928" y="53771"/>
                  </a:cubicBezTo>
                  <a:cubicBezTo>
                    <a:pt x="37928" y="55265"/>
                    <a:pt x="36434" y="56758"/>
                    <a:pt x="36434" y="58252"/>
                  </a:cubicBezTo>
                  <a:cubicBezTo>
                    <a:pt x="36434" y="61239"/>
                    <a:pt x="37928" y="79162"/>
                    <a:pt x="36434" y="79162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4" name="任意多边形: 形状 9933"/>
            <p:cNvSpPr/>
            <p:nvPr/>
          </p:nvSpPr>
          <p:spPr>
            <a:xfrm>
              <a:off x="8511801" y="4059757"/>
              <a:ext cx="14936" cy="29873"/>
            </a:xfrm>
            <a:custGeom>
              <a:avLst/>
              <a:gdLst>
                <a:gd name="connsiteX0" fmla="*/ 5974 w 14936"/>
                <a:gd name="connsiteY0" fmla="*/ 0 h 29872"/>
                <a:gd name="connsiteX1" fmla="*/ 13443 w 14936"/>
                <a:gd name="connsiteY1" fmla="*/ 5974 h 29872"/>
                <a:gd name="connsiteX2" fmla="*/ 16430 w 14936"/>
                <a:gd name="connsiteY2" fmla="*/ 17924 h 29872"/>
                <a:gd name="connsiteX3" fmla="*/ 16430 w 14936"/>
                <a:gd name="connsiteY3" fmla="*/ 32860 h 29872"/>
                <a:gd name="connsiteX4" fmla="*/ 13443 w 14936"/>
                <a:gd name="connsiteY4" fmla="*/ 35847 h 29872"/>
                <a:gd name="connsiteX5" fmla="*/ 7468 w 14936"/>
                <a:gd name="connsiteY5" fmla="*/ 34353 h 29872"/>
                <a:gd name="connsiteX6" fmla="*/ 4481 w 14936"/>
                <a:gd name="connsiteY6" fmla="*/ 28379 h 29872"/>
                <a:gd name="connsiteX7" fmla="*/ 0 w 14936"/>
                <a:gd name="connsiteY7" fmla="*/ 10456 h 29872"/>
                <a:gd name="connsiteX8" fmla="*/ 0 w 14936"/>
                <a:gd name="connsiteY8" fmla="*/ 2987 h 29872"/>
                <a:gd name="connsiteX9" fmla="*/ 5974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5974" y="0"/>
                  </a:moveTo>
                  <a:cubicBezTo>
                    <a:pt x="8962" y="0"/>
                    <a:pt x="11949" y="2987"/>
                    <a:pt x="13443" y="5974"/>
                  </a:cubicBezTo>
                  <a:cubicBezTo>
                    <a:pt x="14936" y="8962"/>
                    <a:pt x="16430" y="13443"/>
                    <a:pt x="16430" y="17924"/>
                  </a:cubicBezTo>
                  <a:cubicBezTo>
                    <a:pt x="16430" y="22405"/>
                    <a:pt x="17924" y="28379"/>
                    <a:pt x="16430" y="32860"/>
                  </a:cubicBezTo>
                  <a:cubicBezTo>
                    <a:pt x="16430" y="34353"/>
                    <a:pt x="14936" y="35847"/>
                    <a:pt x="13443" y="35847"/>
                  </a:cubicBezTo>
                  <a:cubicBezTo>
                    <a:pt x="11949" y="37341"/>
                    <a:pt x="8962" y="35847"/>
                    <a:pt x="7468" y="34353"/>
                  </a:cubicBezTo>
                  <a:cubicBezTo>
                    <a:pt x="5974" y="32860"/>
                    <a:pt x="4481" y="31366"/>
                    <a:pt x="4481" y="28379"/>
                  </a:cubicBezTo>
                  <a:cubicBezTo>
                    <a:pt x="2987" y="22405"/>
                    <a:pt x="1494" y="16430"/>
                    <a:pt x="0" y="10456"/>
                  </a:cubicBezTo>
                  <a:cubicBezTo>
                    <a:pt x="0" y="7468"/>
                    <a:pt x="0" y="5974"/>
                    <a:pt x="0" y="2987"/>
                  </a:cubicBezTo>
                  <a:cubicBezTo>
                    <a:pt x="1494" y="2987"/>
                    <a:pt x="4481" y="1494"/>
                    <a:pt x="5974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5" name="任意多边形: 形状 9934"/>
            <p:cNvSpPr/>
            <p:nvPr/>
          </p:nvSpPr>
          <p:spPr>
            <a:xfrm>
              <a:off x="8567065" y="4200159"/>
              <a:ext cx="14936" cy="14936"/>
            </a:xfrm>
            <a:custGeom>
              <a:avLst/>
              <a:gdLst>
                <a:gd name="connsiteX0" fmla="*/ 8961 w 0"/>
                <a:gd name="connsiteY0" fmla="*/ 2987 h 0"/>
                <a:gd name="connsiteX1" fmla="*/ 4481 w 0"/>
                <a:gd name="connsiteY1" fmla="*/ 10456 h 0"/>
                <a:gd name="connsiteX2" fmla="*/ 0 w 0"/>
                <a:gd name="connsiteY2" fmla="*/ 7468 h 0"/>
                <a:gd name="connsiteX3" fmla="*/ 4481 w 0"/>
                <a:gd name="connsiteY3" fmla="*/ 0 h 0"/>
                <a:gd name="connsiteX4" fmla="*/ 8961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1" y="2987"/>
                  </a:moveTo>
                  <a:cubicBezTo>
                    <a:pt x="8961" y="5974"/>
                    <a:pt x="7468" y="8962"/>
                    <a:pt x="4481" y="10456"/>
                  </a:cubicBezTo>
                  <a:cubicBezTo>
                    <a:pt x="1493" y="11949"/>
                    <a:pt x="0" y="10456"/>
                    <a:pt x="0" y="7468"/>
                  </a:cubicBezTo>
                  <a:cubicBezTo>
                    <a:pt x="0" y="4481"/>
                    <a:pt x="1493" y="1494"/>
                    <a:pt x="4481" y="0"/>
                  </a:cubicBezTo>
                  <a:cubicBezTo>
                    <a:pt x="7468" y="0"/>
                    <a:pt x="8961" y="1494"/>
                    <a:pt x="8961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6" name="任意多边形: 形状 9935"/>
            <p:cNvSpPr/>
            <p:nvPr/>
          </p:nvSpPr>
          <p:spPr>
            <a:xfrm>
              <a:off x="8573040" y="4265293"/>
              <a:ext cx="14936" cy="14936"/>
            </a:xfrm>
            <a:custGeom>
              <a:avLst/>
              <a:gdLst>
                <a:gd name="connsiteX0" fmla="*/ 8962 w 0"/>
                <a:gd name="connsiteY0" fmla="*/ 3573 h 0"/>
                <a:gd name="connsiteX1" fmla="*/ 4481 w 0"/>
                <a:gd name="connsiteY1" fmla="*/ 11041 h 0"/>
                <a:gd name="connsiteX2" fmla="*/ 0 w 0"/>
                <a:gd name="connsiteY2" fmla="*/ 8054 h 0"/>
                <a:gd name="connsiteX3" fmla="*/ 4481 w 0"/>
                <a:gd name="connsiteY3" fmla="*/ 586 h 0"/>
                <a:gd name="connsiteX4" fmla="*/ 8962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3573"/>
                  </a:moveTo>
                  <a:cubicBezTo>
                    <a:pt x="8962" y="6561"/>
                    <a:pt x="7468" y="9548"/>
                    <a:pt x="4481" y="11041"/>
                  </a:cubicBezTo>
                  <a:cubicBezTo>
                    <a:pt x="1494" y="12535"/>
                    <a:pt x="0" y="11041"/>
                    <a:pt x="0" y="8054"/>
                  </a:cubicBezTo>
                  <a:cubicBezTo>
                    <a:pt x="0" y="5067"/>
                    <a:pt x="1494" y="2080"/>
                    <a:pt x="4481" y="586"/>
                  </a:cubicBezTo>
                  <a:cubicBezTo>
                    <a:pt x="7468" y="-907"/>
                    <a:pt x="8962" y="586"/>
                    <a:pt x="8962" y="3573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7" name="任意多边形: 形状 9936"/>
            <p:cNvSpPr/>
            <p:nvPr/>
          </p:nvSpPr>
          <p:spPr>
            <a:xfrm>
              <a:off x="8579014" y="4326531"/>
              <a:ext cx="14936" cy="14936"/>
            </a:xfrm>
            <a:custGeom>
              <a:avLst/>
              <a:gdLst>
                <a:gd name="connsiteX0" fmla="*/ 8962 w 0"/>
                <a:gd name="connsiteY0" fmla="*/ 3573 h 0"/>
                <a:gd name="connsiteX1" fmla="*/ 4481 w 0"/>
                <a:gd name="connsiteY1" fmla="*/ 11042 h 0"/>
                <a:gd name="connsiteX2" fmla="*/ 0 w 0"/>
                <a:gd name="connsiteY2" fmla="*/ 8054 h 0"/>
                <a:gd name="connsiteX3" fmla="*/ 4481 w 0"/>
                <a:gd name="connsiteY3" fmla="*/ 586 h 0"/>
                <a:gd name="connsiteX4" fmla="*/ 8962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3573"/>
                  </a:moveTo>
                  <a:cubicBezTo>
                    <a:pt x="8962" y="6560"/>
                    <a:pt x="7468" y="9548"/>
                    <a:pt x="4481" y="11042"/>
                  </a:cubicBezTo>
                  <a:cubicBezTo>
                    <a:pt x="1494" y="12535"/>
                    <a:pt x="0" y="11042"/>
                    <a:pt x="0" y="8054"/>
                  </a:cubicBezTo>
                  <a:cubicBezTo>
                    <a:pt x="0" y="5067"/>
                    <a:pt x="1494" y="2080"/>
                    <a:pt x="4481" y="586"/>
                  </a:cubicBezTo>
                  <a:cubicBezTo>
                    <a:pt x="7468" y="-908"/>
                    <a:pt x="8962" y="586"/>
                    <a:pt x="8962" y="3573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8" name="任意多边形: 形状 9937"/>
            <p:cNvSpPr/>
            <p:nvPr/>
          </p:nvSpPr>
          <p:spPr>
            <a:xfrm>
              <a:off x="8583495" y="4379395"/>
              <a:ext cx="14936" cy="14936"/>
            </a:xfrm>
            <a:custGeom>
              <a:avLst/>
              <a:gdLst>
                <a:gd name="connsiteX0" fmla="*/ 8962 w 0"/>
                <a:gd name="connsiteY0" fmla="*/ 2987 h 0"/>
                <a:gd name="connsiteX1" fmla="*/ 4481 w 0"/>
                <a:gd name="connsiteY1" fmla="*/ 10456 h 0"/>
                <a:gd name="connsiteX2" fmla="*/ 0 w 0"/>
                <a:gd name="connsiteY2" fmla="*/ 7468 h 0"/>
                <a:gd name="connsiteX3" fmla="*/ 4481 w 0"/>
                <a:gd name="connsiteY3" fmla="*/ 0 h 0"/>
                <a:gd name="connsiteX4" fmla="*/ 8962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2987"/>
                  </a:moveTo>
                  <a:cubicBezTo>
                    <a:pt x="8962" y="5974"/>
                    <a:pt x="7468" y="8962"/>
                    <a:pt x="4481" y="10456"/>
                  </a:cubicBezTo>
                  <a:cubicBezTo>
                    <a:pt x="1494" y="11949"/>
                    <a:pt x="0" y="10456"/>
                    <a:pt x="0" y="7468"/>
                  </a:cubicBezTo>
                  <a:cubicBezTo>
                    <a:pt x="0" y="4481"/>
                    <a:pt x="1494" y="1494"/>
                    <a:pt x="4481" y="0"/>
                  </a:cubicBezTo>
                  <a:cubicBezTo>
                    <a:pt x="5975" y="0"/>
                    <a:pt x="8962" y="1494"/>
                    <a:pt x="8962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9" name="任意多边形: 形状 9938"/>
            <p:cNvSpPr/>
            <p:nvPr/>
          </p:nvSpPr>
          <p:spPr>
            <a:xfrm>
              <a:off x="8516221" y="4008974"/>
              <a:ext cx="74682" cy="59745"/>
            </a:xfrm>
            <a:custGeom>
              <a:avLst/>
              <a:gdLst>
                <a:gd name="connsiteX0" fmla="*/ 77729 w 74681"/>
                <a:gd name="connsiteY0" fmla="*/ 38835 h 59745"/>
                <a:gd name="connsiteX1" fmla="*/ 52338 w 74681"/>
                <a:gd name="connsiteY1" fmla="*/ 58252 h 59745"/>
                <a:gd name="connsiteX2" fmla="*/ 22465 w 74681"/>
                <a:gd name="connsiteY2" fmla="*/ 53771 h 59745"/>
                <a:gd name="connsiteX3" fmla="*/ 10516 w 74681"/>
                <a:gd name="connsiteY3" fmla="*/ 43315 h 59745"/>
                <a:gd name="connsiteX4" fmla="*/ 4541 w 74681"/>
                <a:gd name="connsiteY4" fmla="*/ 40328 h 59745"/>
                <a:gd name="connsiteX5" fmla="*/ 1554 w 74681"/>
                <a:gd name="connsiteY5" fmla="*/ 25392 h 59745"/>
                <a:gd name="connsiteX6" fmla="*/ 14997 w 74681"/>
                <a:gd name="connsiteY6" fmla="*/ 16430 h 59745"/>
                <a:gd name="connsiteX7" fmla="*/ 32920 w 74681"/>
                <a:gd name="connsiteY7" fmla="*/ 14936 h 59745"/>
                <a:gd name="connsiteX8" fmla="*/ 70261 w 74681"/>
                <a:gd name="connsiteY8" fmla="*/ 2987 h 59745"/>
                <a:gd name="connsiteX9" fmla="*/ 74742 w 74681"/>
                <a:gd name="connsiteY9" fmla="*/ 0 h 59745"/>
                <a:gd name="connsiteX10" fmla="*/ 79223 w 74681"/>
                <a:gd name="connsiteY10" fmla="*/ 2987 h 59745"/>
                <a:gd name="connsiteX11" fmla="*/ 86691 w 74681"/>
                <a:gd name="connsiteY11" fmla="*/ 16430 h 59745"/>
                <a:gd name="connsiteX12" fmla="*/ 77729 w 74681"/>
                <a:gd name="connsiteY12" fmla="*/ 38835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59745">
                  <a:moveTo>
                    <a:pt x="77729" y="38835"/>
                  </a:moveTo>
                  <a:cubicBezTo>
                    <a:pt x="70261" y="46303"/>
                    <a:pt x="62793" y="53771"/>
                    <a:pt x="52338" y="58252"/>
                  </a:cubicBezTo>
                  <a:cubicBezTo>
                    <a:pt x="41882" y="61239"/>
                    <a:pt x="29933" y="61239"/>
                    <a:pt x="22465" y="53771"/>
                  </a:cubicBezTo>
                  <a:cubicBezTo>
                    <a:pt x="17984" y="50783"/>
                    <a:pt x="14997" y="44809"/>
                    <a:pt x="10516" y="43315"/>
                  </a:cubicBezTo>
                  <a:cubicBezTo>
                    <a:pt x="9022" y="41822"/>
                    <a:pt x="7528" y="41822"/>
                    <a:pt x="4541" y="40328"/>
                  </a:cubicBezTo>
                  <a:cubicBezTo>
                    <a:pt x="60" y="37341"/>
                    <a:pt x="-1433" y="29873"/>
                    <a:pt x="1554" y="25392"/>
                  </a:cubicBezTo>
                  <a:cubicBezTo>
                    <a:pt x="4541" y="20911"/>
                    <a:pt x="10516" y="16430"/>
                    <a:pt x="14997" y="16430"/>
                  </a:cubicBezTo>
                  <a:cubicBezTo>
                    <a:pt x="20972" y="14936"/>
                    <a:pt x="26946" y="14936"/>
                    <a:pt x="32920" y="14936"/>
                  </a:cubicBezTo>
                  <a:cubicBezTo>
                    <a:pt x="46363" y="14936"/>
                    <a:pt x="61299" y="11949"/>
                    <a:pt x="70261" y="2987"/>
                  </a:cubicBezTo>
                  <a:cubicBezTo>
                    <a:pt x="71755" y="1494"/>
                    <a:pt x="71755" y="0"/>
                    <a:pt x="74742" y="0"/>
                  </a:cubicBezTo>
                  <a:cubicBezTo>
                    <a:pt x="76236" y="0"/>
                    <a:pt x="79223" y="1494"/>
                    <a:pt x="79223" y="2987"/>
                  </a:cubicBezTo>
                  <a:cubicBezTo>
                    <a:pt x="82210" y="7468"/>
                    <a:pt x="85198" y="11949"/>
                    <a:pt x="86691" y="16430"/>
                  </a:cubicBezTo>
                  <a:cubicBezTo>
                    <a:pt x="89678" y="23898"/>
                    <a:pt x="83704" y="31366"/>
                    <a:pt x="77729" y="38835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0" name="任意多边形: 形状 9939"/>
            <p:cNvSpPr/>
            <p:nvPr/>
          </p:nvSpPr>
          <p:spPr>
            <a:xfrm>
              <a:off x="8956157" y="4886857"/>
              <a:ext cx="89618" cy="44809"/>
            </a:xfrm>
            <a:custGeom>
              <a:avLst/>
              <a:gdLst>
                <a:gd name="connsiteX0" fmla="*/ 93352 w 89618"/>
                <a:gd name="connsiteY0" fmla="*/ 3361 h 44809"/>
                <a:gd name="connsiteX1" fmla="*/ 93352 w 89618"/>
                <a:gd name="connsiteY1" fmla="*/ 22778 h 44809"/>
                <a:gd name="connsiteX2" fmla="*/ 41075 w 89618"/>
                <a:gd name="connsiteY2" fmla="*/ 52651 h 44809"/>
                <a:gd name="connsiteX3" fmla="*/ 6721 w 89618"/>
                <a:gd name="connsiteY3" fmla="*/ 52651 h 44809"/>
                <a:gd name="connsiteX4" fmla="*/ 6721 w 89618"/>
                <a:gd name="connsiteY4" fmla="*/ 52651 h 44809"/>
                <a:gd name="connsiteX5" fmla="*/ 6721 w 89618"/>
                <a:gd name="connsiteY5" fmla="*/ 33234 h 44809"/>
                <a:gd name="connsiteX6" fmla="*/ 58999 w 89618"/>
                <a:gd name="connsiteY6" fmla="*/ 3361 h 44809"/>
                <a:gd name="connsiteX7" fmla="*/ 93352 w 89618"/>
                <a:gd name="connsiteY7" fmla="*/ 3361 h 44809"/>
                <a:gd name="connsiteX8" fmla="*/ 93352 w 89618"/>
                <a:gd name="connsiteY8" fmla="*/ 336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93352" y="3361"/>
                  </a:moveTo>
                  <a:cubicBezTo>
                    <a:pt x="102314" y="9335"/>
                    <a:pt x="102314" y="16803"/>
                    <a:pt x="93352" y="22778"/>
                  </a:cubicBezTo>
                  <a:lnTo>
                    <a:pt x="41075" y="52651"/>
                  </a:lnTo>
                  <a:cubicBezTo>
                    <a:pt x="32113" y="58625"/>
                    <a:pt x="17177" y="58625"/>
                    <a:pt x="6721" y="52651"/>
                  </a:cubicBezTo>
                  <a:lnTo>
                    <a:pt x="6721" y="52651"/>
                  </a:lnTo>
                  <a:cubicBezTo>
                    <a:pt x="-2240" y="46676"/>
                    <a:pt x="-2240" y="39208"/>
                    <a:pt x="6721" y="33234"/>
                  </a:cubicBezTo>
                  <a:lnTo>
                    <a:pt x="58999" y="3361"/>
                  </a:lnTo>
                  <a:cubicBezTo>
                    <a:pt x="69454" y="-1120"/>
                    <a:pt x="84390" y="-1120"/>
                    <a:pt x="93352" y="3361"/>
                  </a:cubicBezTo>
                  <a:lnTo>
                    <a:pt x="93352" y="3361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1" name="任意多边形: 形状 9940"/>
            <p:cNvSpPr/>
            <p:nvPr/>
          </p:nvSpPr>
          <p:spPr>
            <a:xfrm>
              <a:off x="8956551" y="4857358"/>
              <a:ext cx="89618" cy="74682"/>
            </a:xfrm>
            <a:custGeom>
              <a:avLst/>
              <a:gdLst>
                <a:gd name="connsiteX0" fmla="*/ 43668 w 89618"/>
                <a:gd name="connsiteY0" fmla="*/ 2987 h 74681"/>
                <a:gd name="connsiteX1" fmla="*/ 82502 w 89618"/>
                <a:gd name="connsiteY1" fmla="*/ 0 h 74681"/>
                <a:gd name="connsiteX2" fmla="*/ 100426 w 89618"/>
                <a:gd name="connsiteY2" fmla="*/ 43315 h 74681"/>
                <a:gd name="connsiteX3" fmla="*/ 352 w 89618"/>
                <a:gd name="connsiteY3" fmla="*/ 76175 h 74681"/>
                <a:gd name="connsiteX4" fmla="*/ 33213 w 89618"/>
                <a:gd name="connsiteY4" fmla="*/ 29873 h 74681"/>
                <a:gd name="connsiteX5" fmla="*/ 43668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43668" y="2987"/>
                  </a:moveTo>
                  <a:lnTo>
                    <a:pt x="82502" y="0"/>
                  </a:lnTo>
                  <a:cubicBezTo>
                    <a:pt x="91464" y="11949"/>
                    <a:pt x="97439" y="23898"/>
                    <a:pt x="100426" y="43315"/>
                  </a:cubicBezTo>
                  <a:lnTo>
                    <a:pt x="352" y="76175"/>
                  </a:lnTo>
                  <a:cubicBezTo>
                    <a:pt x="-2635" y="62733"/>
                    <a:pt x="13796" y="43315"/>
                    <a:pt x="33213" y="29873"/>
                  </a:cubicBezTo>
                  <a:cubicBezTo>
                    <a:pt x="40681" y="22405"/>
                    <a:pt x="36200" y="10456"/>
                    <a:pt x="43668" y="2987"/>
                  </a:cubicBez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2" name="任意多边形: 形状 9941"/>
            <p:cNvSpPr/>
            <p:nvPr/>
          </p:nvSpPr>
          <p:spPr>
            <a:xfrm>
              <a:off x="8842641" y="4821137"/>
              <a:ext cx="89618" cy="44809"/>
            </a:xfrm>
            <a:custGeom>
              <a:avLst/>
              <a:gdLst>
                <a:gd name="connsiteX0" fmla="*/ 93352 w 89618"/>
                <a:gd name="connsiteY0" fmla="*/ 3361 h 44809"/>
                <a:gd name="connsiteX1" fmla="*/ 93352 w 89618"/>
                <a:gd name="connsiteY1" fmla="*/ 22778 h 44809"/>
                <a:gd name="connsiteX2" fmla="*/ 41075 w 89618"/>
                <a:gd name="connsiteY2" fmla="*/ 52651 h 44809"/>
                <a:gd name="connsiteX3" fmla="*/ 6721 w 89618"/>
                <a:gd name="connsiteY3" fmla="*/ 52651 h 44809"/>
                <a:gd name="connsiteX4" fmla="*/ 6721 w 89618"/>
                <a:gd name="connsiteY4" fmla="*/ 52651 h 44809"/>
                <a:gd name="connsiteX5" fmla="*/ 6721 w 89618"/>
                <a:gd name="connsiteY5" fmla="*/ 33234 h 44809"/>
                <a:gd name="connsiteX6" fmla="*/ 58999 w 89618"/>
                <a:gd name="connsiteY6" fmla="*/ 3361 h 44809"/>
                <a:gd name="connsiteX7" fmla="*/ 93352 w 89618"/>
                <a:gd name="connsiteY7" fmla="*/ 3361 h 44809"/>
                <a:gd name="connsiteX8" fmla="*/ 93352 w 89618"/>
                <a:gd name="connsiteY8" fmla="*/ 336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93352" y="3361"/>
                  </a:moveTo>
                  <a:cubicBezTo>
                    <a:pt x="102314" y="9335"/>
                    <a:pt x="102314" y="16803"/>
                    <a:pt x="93352" y="22778"/>
                  </a:cubicBezTo>
                  <a:lnTo>
                    <a:pt x="41075" y="52651"/>
                  </a:lnTo>
                  <a:cubicBezTo>
                    <a:pt x="32113" y="58625"/>
                    <a:pt x="17177" y="58625"/>
                    <a:pt x="6721" y="52651"/>
                  </a:cubicBezTo>
                  <a:lnTo>
                    <a:pt x="6721" y="52651"/>
                  </a:lnTo>
                  <a:cubicBezTo>
                    <a:pt x="-2240" y="46676"/>
                    <a:pt x="-2240" y="39208"/>
                    <a:pt x="6721" y="33234"/>
                  </a:cubicBezTo>
                  <a:lnTo>
                    <a:pt x="58999" y="3361"/>
                  </a:lnTo>
                  <a:cubicBezTo>
                    <a:pt x="69454" y="-1120"/>
                    <a:pt x="84390" y="-1120"/>
                    <a:pt x="93352" y="3361"/>
                  </a:cubicBezTo>
                  <a:lnTo>
                    <a:pt x="93352" y="3361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3" name="任意多边形: 形状 9942"/>
            <p:cNvSpPr/>
            <p:nvPr/>
          </p:nvSpPr>
          <p:spPr>
            <a:xfrm>
              <a:off x="8843035" y="4791638"/>
              <a:ext cx="89618" cy="74682"/>
            </a:xfrm>
            <a:custGeom>
              <a:avLst/>
              <a:gdLst>
                <a:gd name="connsiteX0" fmla="*/ 43668 w 89618"/>
                <a:gd name="connsiteY0" fmla="*/ 2987 h 74681"/>
                <a:gd name="connsiteX1" fmla="*/ 82502 w 89618"/>
                <a:gd name="connsiteY1" fmla="*/ 0 h 74681"/>
                <a:gd name="connsiteX2" fmla="*/ 100426 w 89618"/>
                <a:gd name="connsiteY2" fmla="*/ 43315 h 74681"/>
                <a:gd name="connsiteX3" fmla="*/ 353 w 89618"/>
                <a:gd name="connsiteY3" fmla="*/ 76175 h 74681"/>
                <a:gd name="connsiteX4" fmla="*/ 33212 w 89618"/>
                <a:gd name="connsiteY4" fmla="*/ 29873 h 74681"/>
                <a:gd name="connsiteX5" fmla="*/ 43668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43668" y="2987"/>
                  </a:moveTo>
                  <a:lnTo>
                    <a:pt x="82502" y="0"/>
                  </a:lnTo>
                  <a:cubicBezTo>
                    <a:pt x="91464" y="11949"/>
                    <a:pt x="97439" y="23898"/>
                    <a:pt x="100426" y="43315"/>
                  </a:cubicBezTo>
                  <a:lnTo>
                    <a:pt x="353" y="76175"/>
                  </a:lnTo>
                  <a:cubicBezTo>
                    <a:pt x="-2635" y="62733"/>
                    <a:pt x="13795" y="43315"/>
                    <a:pt x="33212" y="29873"/>
                  </a:cubicBezTo>
                  <a:cubicBezTo>
                    <a:pt x="39187" y="22405"/>
                    <a:pt x="36200" y="10456"/>
                    <a:pt x="43668" y="2987"/>
                  </a:cubicBez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4" name="任意多边形: 形状 9943"/>
            <p:cNvSpPr/>
            <p:nvPr/>
          </p:nvSpPr>
          <p:spPr>
            <a:xfrm>
              <a:off x="8861311" y="4388357"/>
              <a:ext cx="104554" cy="224045"/>
            </a:xfrm>
            <a:custGeom>
              <a:avLst/>
              <a:gdLst>
                <a:gd name="connsiteX0" fmla="*/ 0 w 104554"/>
                <a:gd name="connsiteY0" fmla="*/ 215083 h 224045"/>
                <a:gd name="connsiteX1" fmla="*/ 82150 w 104554"/>
                <a:gd name="connsiteY1" fmla="*/ 227033 h 224045"/>
                <a:gd name="connsiteX2" fmla="*/ 85137 w 104554"/>
                <a:gd name="connsiteY2" fmla="*/ 209109 h 224045"/>
                <a:gd name="connsiteX3" fmla="*/ 98580 w 104554"/>
                <a:gd name="connsiteY3" fmla="*/ 107542 h 224045"/>
                <a:gd name="connsiteX4" fmla="*/ 112023 w 104554"/>
                <a:gd name="connsiteY4" fmla="*/ 10456 h 224045"/>
                <a:gd name="connsiteX5" fmla="*/ 29873 w 104554"/>
                <a:gd name="connsiteY5" fmla="*/ 0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554" h="224045">
                  <a:moveTo>
                    <a:pt x="0" y="215083"/>
                  </a:moveTo>
                  <a:lnTo>
                    <a:pt x="82150" y="227033"/>
                  </a:lnTo>
                  <a:lnTo>
                    <a:pt x="85137" y="209109"/>
                  </a:lnTo>
                  <a:lnTo>
                    <a:pt x="98580" y="107542"/>
                  </a:lnTo>
                  <a:lnTo>
                    <a:pt x="112023" y="10456"/>
                  </a:lnTo>
                  <a:lnTo>
                    <a:pt x="29873" y="0"/>
                  </a:lnTo>
                  <a:close/>
                </a:path>
              </a:pathLst>
            </a:custGeom>
            <a:solidFill>
              <a:srgbClr val="1934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5" name="任意多边形: 形状 9944"/>
            <p:cNvSpPr/>
            <p:nvPr/>
          </p:nvSpPr>
          <p:spPr>
            <a:xfrm>
              <a:off x="8931512" y="4479468"/>
              <a:ext cx="14936" cy="104554"/>
            </a:xfrm>
            <a:custGeom>
              <a:avLst/>
              <a:gdLst>
                <a:gd name="connsiteX0" fmla="*/ 0 w 14936"/>
                <a:gd name="connsiteY0" fmla="*/ 0 h 104554"/>
                <a:gd name="connsiteX1" fmla="*/ 10455 w 14936"/>
                <a:gd name="connsiteY1" fmla="*/ 59745 h 104554"/>
                <a:gd name="connsiteX2" fmla="*/ 14936 w 14936"/>
                <a:gd name="connsiteY2" fmla="*/ 117997 h 104554"/>
                <a:gd name="connsiteX3" fmla="*/ 28379 w 14936"/>
                <a:gd name="connsiteY3" fmla="*/ 16430 h 104554"/>
                <a:gd name="connsiteX4" fmla="*/ 25392 w 14936"/>
                <a:gd name="connsiteY4" fmla="*/ 13443 h 104554"/>
                <a:gd name="connsiteX5" fmla="*/ 0 w 14936"/>
                <a:gd name="connsiteY5" fmla="*/ 0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 h="104554">
                  <a:moveTo>
                    <a:pt x="0" y="0"/>
                  </a:moveTo>
                  <a:cubicBezTo>
                    <a:pt x="7468" y="19417"/>
                    <a:pt x="8962" y="40328"/>
                    <a:pt x="10455" y="59745"/>
                  </a:cubicBezTo>
                  <a:cubicBezTo>
                    <a:pt x="11949" y="79162"/>
                    <a:pt x="13443" y="98580"/>
                    <a:pt x="14936" y="117997"/>
                  </a:cubicBezTo>
                  <a:lnTo>
                    <a:pt x="28379" y="16430"/>
                  </a:lnTo>
                  <a:cubicBezTo>
                    <a:pt x="26885" y="14936"/>
                    <a:pt x="25392" y="14936"/>
                    <a:pt x="25392" y="13443"/>
                  </a:cubicBezTo>
                  <a:cubicBezTo>
                    <a:pt x="16430" y="8962"/>
                    <a:pt x="8962" y="4481"/>
                    <a:pt x="0" y="0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6" name="任意多边形: 形状 9945"/>
            <p:cNvSpPr/>
            <p:nvPr/>
          </p:nvSpPr>
          <p:spPr>
            <a:xfrm>
              <a:off x="8868406" y="4775954"/>
              <a:ext cx="74682" cy="44809"/>
            </a:xfrm>
            <a:custGeom>
              <a:avLst/>
              <a:gdLst>
                <a:gd name="connsiteX0" fmla="*/ 12323 w 74681"/>
                <a:gd name="connsiteY0" fmla="*/ 6721 h 44809"/>
                <a:gd name="connsiteX1" fmla="*/ 12323 w 74681"/>
                <a:gd name="connsiteY1" fmla="*/ 39582 h 44809"/>
                <a:gd name="connsiteX2" fmla="*/ 70574 w 74681"/>
                <a:gd name="connsiteY2" fmla="*/ 39582 h 44809"/>
                <a:gd name="connsiteX3" fmla="*/ 70574 w 74681"/>
                <a:gd name="connsiteY3" fmla="*/ 6721 h 44809"/>
                <a:gd name="connsiteX4" fmla="*/ 12323 w 74681"/>
                <a:gd name="connsiteY4" fmla="*/ 672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12323" y="6721"/>
                  </a:moveTo>
                  <a:cubicBezTo>
                    <a:pt x="-4108" y="15683"/>
                    <a:pt x="-4108" y="30620"/>
                    <a:pt x="12323" y="39582"/>
                  </a:cubicBezTo>
                  <a:cubicBezTo>
                    <a:pt x="28752" y="48543"/>
                    <a:pt x="54144" y="48543"/>
                    <a:pt x="70574" y="39582"/>
                  </a:cubicBezTo>
                  <a:cubicBezTo>
                    <a:pt x="87004" y="30620"/>
                    <a:pt x="87004" y="15683"/>
                    <a:pt x="70574" y="6721"/>
                  </a:cubicBezTo>
                  <a:cubicBezTo>
                    <a:pt x="54144" y="-2240"/>
                    <a:pt x="27259" y="-2240"/>
                    <a:pt x="12323" y="6721"/>
                  </a:cubicBezTo>
                  <a:close/>
                </a:path>
              </a:pathLst>
            </a:custGeom>
            <a:solidFill>
              <a:srgbClr val="1934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7" name="任意多边形: 形状 9946"/>
            <p:cNvSpPr/>
            <p:nvPr/>
          </p:nvSpPr>
          <p:spPr>
            <a:xfrm>
              <a:off x="8860613" y="4562882"/>
              <a:ext cx="89618" cy="238981"/>
            </a:xfrm>
            <a:custGeom>
              <a:avLst/>
              <a:gdLst>
                <a:gd name="connsiteX0" fmla="*/ 88823 w 89618"/>
                <a:gd name="connsiteY0" fmla="*/ 236224 h 238981"/>
                <a:gd name="connsiteX1" fmla="*/ 82848 w 89618"/>
                <a:gd name="connsiteY1" fmla="*/ 51014 h 238981"/>
                <a:gd name="connsiteX2" fmla="*/ 66418 w 89618"/>
                <a:gd name="connsiteY2" fmla="*/ 12179 h 238981"/>
                <a:gd name="connsiteX3" fmla="*/ 32065 w 89618"/>
                <a:gd name="connsiteY3" fmla="*/ 230 h 238981"/>
                <a:gd name="connsiteX4" fmla="*/ 698 w 89618"/>
                <a:gd name="connsiteY4" fmla="*/ 40558 h 238981"/>
                <a:gd name="connsiteX5" fmla="*/ 6673 w 89618"/>
                <a:gd name="connsiteY5" fmla="*/ 236224 h 238981"/>
                <a:gd name="connsiteX6" fmla="*/ 30571 w 89618"/>
                <a:gd name="connsiteY6" fmla="*/ 236224 h 238981"/>
                <a:gd name="connsiteX7" fmla="*/ 88823 w 89618"/>
                <a:gd name="connsiteY7" fmla="*/ 236224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618" h="238981">
                  <a:moveTo>
                    <a:pt x="88823" y="236224"/>
                  </a:moveTo>
                  <a:cubicBezTo>
                    <a:pt x="91810" y="174985"/>
                    <a:pt x="85836" y="58482"/>
                    <a:pt x="82848" y="51014"/>
                  </a:cubicBezTo>
                  <a:cubicBezTo>
                    <a:pt x="78368" y="43546"/>
                    <a:pt x="73886" y="16660"/>
                    <a:pt x="66418" y="12179"/>
                  </a:cubicBezTo>
                  <a:cubicBezTo>
                    <a:pt x="55963" y="4711"/>
                    <a:pt x="44014" y="-1263"/>
                    <a:pt x="32065" y="230"/>
                  </a:cubicBezTo>
                  <a:cubicBezTo>
                    <a:pt x="17129" y="1724"/>
                    <a:pt x="3686" y="27116"/>
                    <a:pt x="698" y="40558"/>
                  </a:cubicBezTo>
                  <a:cubicBezTo>
                    <a:pt x="-2289" y="55495"/>
                    <a:pt x="5180" y="227263"/>
                    <a:pt x="6673" y="236224"/>
                  </a:cubicBezTo>
                  <a:cubicBezTo>
                    <a:pt x="8167" y="245186"/>
                    <a:pt x="21609" y="233237"/>
                    <a:pt x="30571" y="236224"/>
                  </a:cubicBezTo>
                  <a:lnTo>
                    <a:pt x="88823" y="236224"/>
                  </a:lnTo>
                  <a:close/>
                </a:path>
              </a:pathLst>
            </a:custGeom>
            <a:solidFill>
              <a:srgbClr val="1934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8" name="任意多边形: 形状 9947"/>
            <p:cNvSpPr/>
            <p:nvPr/>
          </p:nvSpPr>
          <p:spPr>
            <a:xfrm>
              <a:off x="8956904" y="4442127"/>
              <a:ext cx="74682" cy="209109"/>
            </a:xfrm>
            <a:custGeom>
              <a:avLst/>
              <a:gdLst>
                <a:gd name="connsiteX0" fmla="*/ 0 w 74681"/>
                <a:gd name="connsiteY0" fmla="*/ 0 h 209108"/>
                <a:gd name="connsiteX1" fmla="*/ 82150 w 74681"/>
                <a:gd name="connsiteY1" fmla="*/ 0 h 209108"/>
                <a:gd name="connsiteX2" fmla="*/ 82150 w 74681"/>
                <a:gd name="connsiteY2" fmla="*/ 218071 h 209108"/>
                <a:gd name="connsiteX3" fmla="*/ 0 w 74681"/>
                <a:gd name="connsiteY3" fmla="*/ 218071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209108">
                  <a:moveTo>
                    <a:pt x="0" y="0"/>
                  </a:moveTo>
                  <a:lnTo>
                    <a:pt x="82150" y="0"/>
                  </a:lnTo>
                  <a:lnTo>
                    <a:pt x="82150" y="218071"/>
                  </a:lnTo>
                  <a:lnTo>
                    <a:pt x="0" y="218071"/>
                  </a:lnTo>
                  <a:close/>
                </a:path>
              </a:pathLst>
            </a:custGeom>
            <a:solidFill>
              <a:srgbClr val="1934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9" name="任意多边形: 形状 9948"/>
            <p:cNvSpPr/>
            <p:nvPr/>
          </p:nvSpPr>
          <p:spPr>
            <a:xfrm>
              <a:off x="8861655" y="4124327"/>
              <a:ext cx="89618" cy="164300"/>
            </a:xfrm>
            <a:custGeom>
              <a:avLst/>
              <a:gdLst>
                <a:gd name="connsiteX0" fmla="*/ 1149 w 89618"/>
                <a:gd name="connsiteY0" fmla="*/ 135577 h 164299"/>
                <a:gd name="connsiteX1" fmla="*/ 22060 w 89618"/>
                <a:gd name="connsiteY1" fmla="*/ 174411 h 164299"/>
                <a:gd name="connsiteX2" fmla="*/ 22060 w 89618"/>
                <a:gd name="connsiteY2" fmla="*/ 174411 h 164299"/>
                <a:gd name="connsiteX3" fmla="*/ 60895 w 89618"/>
                <a:gd name="connsiteY3" fmla="*/ 153500 h 164299"/>
                <a:gd name="connsiteX4" fmla="*/ 93755 w 89618"/>
                <a:gd name="connsiteY4" fmla="*/ 39984 h 164299"/>
                <a:gd name="connsiteX5" fmla="*/ 72844 w 89618"/>
                <a:gd name="connsiteY5" fmla="*/ 1149 h 164299"/>
                <a:gd name="connsiteX6" fmla="*/ 72844 w 89618"/>
                <a:gd name="connsiteY6" fmla="*/ 1149 h 164299"/>
                <a:gd name="connsiteX7" fmla="*/ 34010 w 89618"/>
                <a:gd name="connsiteY7" fmla="*/ 22060 h 164299"/>
                <a:gd name="connsiteX8" fmla="*/ 1149 w 89618"/>
                <a:gd name="connsiteY8" fmla="*/ 135577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164299">
                  <a:moveTo>
                    <a:pt x="1149" y="135577"/>
                  </a:moveTo>
                  <a:cubicBezTo>
                    <a:pt x="-3331" y="152007"/>
                    <a:pt x="5630" y="168437"/>
                    <a:pt x="22060" y="174411"/>
                  </a:cubicBezTo>
                  <a:lnTo>
                    <a:pt x="22060" y="174411"/>
                  </a:lnTo>
                  <a:cubicBezTo>
                    <a:pt x="38490" y="178892"/>
                    <a:pt x="54920" y="169930"/>
                    <a:pt x="60895" y="153500"/>
                  </a:cubicBezTo>
                  <a:lnTo>
                    <a:pt x="93755" y="39984"/>
                  </a:lnTo>
                  <a:cubicBezTo>
                    <a:pt x="98236" y="23554"/>
                    <a:pt x="89274" y="7124"/>
                    <a:pt x="72844" y="1149"/>
                  </a:cubicBezTo>
                  <a:lnTo>
                    <a:pt x="72844" y="1149"/>
                  </a:lnTo>
                  <a:cubicBezTo>
                    <a:pt x="56414" y="-3331"/>
                    <a:pt x="39984" y="5631"/>
                    <a:pt x="34010" y="22060"/>
                  </a:cubicBezTo>
                  <a:lnTo>
                    <a:pt x="1149" y="135577"/>
                  </a:lnTo>
                  <a:close/>
                </a:path>
              </a:pathLst>
            </a:custGeom>
            <a:solidFill>
              <a:srgbClr val="A48A7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0" name="任意多边形: 形状 9949"/>
            <p:cNvSpPr/>
            <p:nvPr/>
          </p:nvSpPr>
          <p:spPr>
            <a:xfrm>
              <a:off x="8795410" y="4237499"/>
              <a:ext cx="119491" cy="149363"/>
            </a:xfrm>
            <a:custGeom>
              <a:avLst/>
              <a:gdLst>
                <a:gd name="connsiteX0" fmla="*/ 13624 w 119490"/>
                <a:gd name="connsiteY0" fmla="*/ 156832 h 149363"/>
                <a:gd name="connsiteX1" fmla="*/ 30054 w 119490"/>
                <a:gd name="connsiteY1" fmla="*/ 161313 h 149363"/>
                <a:gd name="connsiteX2" fmla="*/ 55446 w 119490"/>
                <a:gd name="connsiteY2" fmla="*/ 147870 h 149363"/>
                <a:gd name="connsiteX3" fmla="*/ 83825 w 119490"/>
                <a:gd name="connsiteY3" fmla="*/ 104554 h 149363"/>
                <a:gd name="connsiteX4" fmla="*/ 94280 w 119490"/>
                <a:gd name="connsiteY4" fmla="*/ 88124 h 149363"/>
                <a:gd name="connsiteX5" fmla="*/ 119672 w 119490"/>
                <a:gd name="connsiteY5" fmla="*/ 47796 h 149363"/>
                <a:gd name="connsiteX6" fmla="*/ 110710 w 119490"/>
                <a:gd name="connsiteY6" fmla="*/ 4481 h 149363"/>
                <a:gd name="connsiteX7" fmla="*/ 100255 w 119490"/>
                <a:gd name="connsiteY7" fmla="*/ 0 h 149363"/>
                <a:gd name="connsiteX8" fmla="*/ 94280 w 119490"/>
                <a:gd name="connsiteY8" fmla="*/ 0 h 149363"/>
                <a:gd name="connsiteX9" fmla="*/ 91293 w 119490"/>
                <a:gd name="connsiteY9" fmla="*/ 0 h 149363"/>
                <a:gd name="connsiteX10" fmla="*/ 68889 w 119490"/>
                <a:gd name="connsiteY10" fmla="*/ 13443 h 149363"/>
                <a:gd name="connsiteX11" fmla="*/ 4662 w 119490"/>
                <a:gd name="connsiteY11" fmla="*/ 113516 h 149363"/>
                <a:gd name="connsiteX12" fmla="*/ 13624 w 119490"/>
                <a:gd name="connsiteY12" fmla="*/ 156832 h 14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490" h="149363">
                  <a:moveTo>
                    <a:pt x="13624" y="156832"/>
                  </a:moveTo>
                  <a:cubicBezTo>
                    <a:pt x="18105" y="159819"/>
                    <a:pt x="24080" y="161313"/>
                    <a:pt x="30054" y="161313"/>
                  </a:cubicBezTo>
                  <a:cubicBezTo>
                    <a:pt x="40510" y="161313"/>
                    <a:pt x="49471" y="156832"/>
                    <a:pt x="55446" y="147870"/>
                  </a:cubicBezTo>
                  <a:lnTo>
                    <a:pt x="83825" y="104554"/>
                  </a:lnTo>
                  <a:lnTo>
                    <a:pt x="94280" y="88124"/>
                  </a:lnTo>
                  <a:lnTo>
                    <a:pt x="119672" y="47796"/>
                  </a:lnTo>
                  <a:cubicBezTo>
                    <a:pt x="128634" y="32860"/>
                    <a:pt x="125647" y="14936"/>
                    <a:pt x="110710" y="4481"/>
                  </a:cubicBezTo>
                  <a:cubicBezTo>
                    <a:pt x="107723" y="1494"/>
                    <a:pt x="103242" y="0"/>
                    <a:pt x="100255" y="0"/>
                  </a:cubicBezTo>
                  <a:cubicBezTo>
                    <a:pt x="98761" y="0"/>
                    <a:pt x="95774" y="0"/>
                    <a:pt x="94280" y="0"/>
                  </a:cubicBezTo>
                  <a:cubicBezTo>
                    <a:pt x="92787" y="0"/>
                    <a:pt x="92787" y="0"/>
                    <a:pt x="91293" y="0"/>
                  </a:cubicBezTo>
                  <a:cubicBezTo>
                    <a:pt x="82331" y="1494"/>
                    <a:pt x="73370" y="5974"/>
                    <a:pt x="68889" y="13443"/>
                  </a:cubicBezTo>
                  <a:lnTo>
                    <a:pt x="4662" y="113516"/>
                  </a:lnTo>
                  <a:cubicBezTo>
                    <a:pt x="-4299" y="128453"/>
                    <a:pt x="182" y="147870"/>
                    <a:pt x="13624" y="156832"/>
                  </a:cubicBezTo>
                  <a:close/>
                </a:path>
              </a:pathLst>
            </a:custGeom>
            <a:solidFill>
              <a:srgbClr val="A48A7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1" name="任意多边形: 形状 9950"/>
            <p:cNvSpPr/>
            <p:nvPr/>
          </p:nvSpPr>
          <p:spPr>
            <a:xfrm>
              <a:off x="8888197" y="4128560"/>
              <a:ext cx="179236" cy="328600"/>
            </a:xfrm>
            <a:custGeom>
              <a:avLst/>
              <a:gdLst>
                <a:gd name="connsiteX0" fmla="*/ 0 w 179236"/>
                <a:gd name="connsiteY0" fmla="*/ 241873 h 328599"/>
                <a:gd name="connsiteX1" fmla="*/ 29873 w 179236"/>
                <a:gd name="connsiteY1" fmla="*/ 294150 h 328599"/>
                <a:gd name="connsiteX2" fmla="*/ 52277 w 179236"/>
                <a:gd name="connsiteY2" fmla="*/ 307593 h 328599"/>
                <a:gd name="connsiteX3" fmla="*/ 85137 w 179236"/>
                <a:gd name="connsiteY3" fmla="*/ 325517 h 328599"/>
                <a:gd name="connsiteX4" fmla="*/ 126959 w 179236"/>
                <a:gd name="connsiteY4" fmla="*/ 332985 h 328599"/>
                <a:gd name="connsiteX5" fmla="*/ 174755 w 179236"/>
                <a:gd name="connsiteY5" fmla="*/ 273239 h 328599"/>
                <a:gd name="connsiteX6" fmla="*/ 180729 w 179236"/>
                <a:gd name="connsiteY6" fmla="*/ 73092 h 328599"/>
                <a:gd name="connsiteX7" fmla="*/ 117997 w 179236"/>
                <a:gd name="connsiteY7" fmla="*/ 11853 h 328599"/>
                <a:gd name="connsiteX8" fmla="*/ 11949 w 179236"/>
                <a:gd name="connsiteY8" fmla="*/ 58156 h 328599"/>
                <a:gd name="connsiteX9" fmla="*/ 11949 w 179236"/>
                <a:gd name="connsiteY9" fmla="*/ 58156 h 328599"/>
                <a:gd name="connsiteX10" fmla="*/ 10455 w 179236"/>
                <a:gd name="connsiteY10" fmla="*/ 79067 h 328599"/>
                <a:gd name="connsiteX11" fmla="*/ 0 w 179236"/>
                <a:gd name="connsiteY11" fmla="*/ 228430 h 328599"/>
                <a:gd name="connsiteX12" fmla="*/ 0 w 179236"/>
                <a:gd name="connsiteY12" fmla="*/ 241873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236" h="328599">
                  <a:moveTo>
                    <a:pt x="0" y="241873"/>
                  </a:moveTo>
                  <a:cubicBezTo>
                    <a:pt x="0" y="262784"/>
                    <a:pt x="11949" y="283695"/>
                    <a:pt x="29873" y="294150"/>
                  </a:cubicBezTo>
                  <a:lnTo>
                    <a:pt x="52277" y="307593"/>
                  </a:lnTo>
                  <a:lnTo>
                    <a:pt x="85137" y="325517"/>
                  </a:lnTo>
                  <a:cubicBezTo>
                    <a:pt x="98580" y="332985"/>
                    <a:pt x="113516" y="334478"/>
                    <a:pt x="126959" y="332985"/>
                  </a:cubicBezTo>
                  <a:cubicBezTo>
                    <a:pt x="153844" y="327010"/>
                    <a:pt x="174755" y="304606"/>
                    <a:pt x="174755" y="273239"/>
                  </a:cubicBezTo>
                  <a:lnTo>
                    <a:pt x="180729" y="73092"/>
                  </a:lnTo>
                  <a:cubicBezTo>
                    <a:pt x="167287" y="49194"/>
                    <a:pt x="146376" y="28283"/>
                    <a:pt x="117997" y="11853"/>
                  </a:cubicBezTo>
                  <a:cubicBezTo>
                    <a:pt x="71694" y="-16526"/>
                    <a:pt x="23898" y="8866"/>
                    <a:pt x="11949" y="58156"/>
                  </a:cubicBezTo>
                  <a:lnTo>
                    <a:pt x="11949" y="58156"/>
                  </a:lnTo>
                  <a:cubicBezTo>
                    <a:pt x="10455" y="64131"/>
                    <a:pt x="10455" y="71599"/>
                    <a:pt x="10455" y="79067"/>
                  </a:cubicBezTo>
                  <a:lnTo>
                    <a:pt x="0" y="228430"/>
                  </a:lnTo>
                  <a:lnTo>
                    <a:pt x="0" y="241873"/>
                  </a:lnTo>
                  <a:close/>
                </a:path>
              </a:pathLst>
            </a:custGeom>
            <a:solidFill>
              <a:srgbClr val="A48A7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2" name="任意多边形: 形状 9951"/>
            <p:cNvSpPr/>
            <p:nvPr/>
          </p:nvSpPr>
          <p:spPr>
            <a:xfrm>
              <a:off x="8941349" y="4130891"/>
              <a:ext cx="59745" cy="29873"/>
            </a:xfrm>
            <a:custGeom>
              <a:avLst/>
              <a:gdLst>
                <a:gd name="connsiteX0" fmla="*/ 2112 w 59745"/>
                <a:gd name="connsiteY0" fmla="*/ 24458 h 29872"/>
                <a:gd name="connsiteX1" fmla="*/ 9580 w 59745"/>
                <a:gd name="connsiteY1" fmla="*/ 31926 h 29872"/>
                <a:gd name="connsiteX2" fmla="*/ 54389 w 59745"/>
                <a:gd name="connsiteY2" fmla="*/ 31926 h 29872"/>
                <a:gd name="connsiteX3" fmla="*/ 54389 w 59745"/>
                <a:gd name="connsiteY3" fmla="*/ 6535 h 29872"/>
                <a:gd name="connsiteX4" fmla="*/ 45428 w 59745"/>
                <a:gd name="connsiteY4" fmla="*/ 2054 h 29872"/>
                <a:gd name="connsiteX5" fmla="*/ 39453 w 59745"/>
                <a:gd name="connsiteY5" fmla="*/ 560 h 29872"/>
                <a:gd name="connsiteX6" fmla="*/ 9580 w 59745"/>
                <a:gd name="connsiteY6" fmla="*/ 5041 h 29872"/>
                <a:gd name="connsiteX7" fmla="*/ 619 w 59745"/>
                <a:gd name="connsiteY7" fmla="*/ 14003 h 29872"/>
                <a:gd name="connsiteX8" fmla="*/ 2112 w 59745"/>
                <a:gd name="connsiteY8" fmla="*/ 24458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9872">
                  <a:moveTo>
                    <a:pt x="2112" y="24458"/>
                  </a:moveTo>
                  <a:cubicBezTo>
                    <a:pt x="3606" y="27446"/>
                    <a:pt x="6593" y="30433"/>
                    <a:pt x="9580" y="31926"/>
                  </a:cubicBezTo>
                  <a:cubicBezTo>
                    <a:pt x="21530" y="39395"/>
                    <a:pt x="42441" y="39395"/>
                    <a:pt x="54389" y="31926"/>
                  </a:cubicBezTo>
                  <a:cubicBezTo>
                    <a:pt x="66339" y="24458"/>
                    <a:pt x="66339" y="12509"/>
                    <a:pt x="54389" y="6535"/>
                  </a:cubicBezTo>
                  <a:cubicBezTo>
                    <a:pt x="51402" y="5041"/>
                    <a:pt x="48415" y="3547"/>
                    <a:pt x="45428" y="2054"/>
                  </a:cubicBezTo>
                  <a:cubicBezTo>
                    <a:pt x="43934" y="2054"/>
                    <a:pt x="42441" y="560"/>
                    <a:pt x="39453" y="560"/>
                  </a:cubicBezTo>
                  <a:cubicBezTo>
                    <a:pt x="28998" y="-933"/>
                    <a:pt x="17049" y="560"/>
                    <a:pt x="9580" y="5041"/>
                  </a:cubicBezTo>
                  <a:cubicBezTo>
                    <a:pt x="5100" y="8028"/>
                    <a:pt x="2112" y="11016"/>
                    <a:pt x="619" y="14003"/>
                  </a:cubicBezTo>
                  <a:cubicBezTo>
                    <a:pt x="-875" y="16990"/>
                    <a:pt x="619" y="21471"/>
                    <a:pt x="2112" y="24458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3" name="任意多边形: 形状 9952"/>
            <p:cNvSpPr/>
            <p:nvPr/>
          </p:nvSpPr>
          <p:spPr>
            <a:xfrm>
              <a:off x="8941967" y="4067225"/>
              <a:ext cx="59745" cy="74682"/>
            </a:xfrm>
            <a:custGeom>
              <a:avLst/>
              <a:gdLst>
                <a:gd name="connsiteX0" fmla="*/ 0 w 59745"/>
                <a:gd name="connsiteY0" fmla="*/ 0 h 74681"/>
                <a:gd name="connsiteX1" fmla="*/ 64226 w 59745"/>
                <a:gd name="connsiteY1" fmla="*/ 0 h 74681"/>
                <a:gd name="connsiteX2" fmla="*/ 64226 w 59745"/>
                <a:gd name="connsiteY2" fmla="*/ 82150 h 74681"/>
                <a:gd name="connsiteX3" fmla="*/ 0 w 59745"/>
                <a:gd name="connsiteY3" fmla="*/ 8215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74681">
                  <a:moveTo>
                    <a:pt x="0" y="0"/>
                  </a:moveTo>
                  <a:lnTo>
                    <a:pt x="64226" y="0"/>
                  </a:lnTo>
                  <a:lnTo>
                    <a:pt x="64226" y="82150"/>
                  </a:lnTo>
                  <a:lnTo>
                    <a:pt x="0" y="82150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4" name="任意多边形: 形状 9953"/>
            <p:cNvSpPr/>
            <p:nvPr/>
          </p:nvSpPr>
          <p:spPr>
            <a:xfrm>
              <a:off x="8916627" y="4008593"/>
              <a:ext cx="74682" cy="119491"/>
            </a:xfrm>
            <a:custGeom>
              <a:avLst/>
              <a:gdLst>
                <a:gd name="connsiteX0" fmla="*/ 77618 w 74681"/>
                <a:gd name="connsiteY0" fmla="*/ 63113 h 119490"/>
                <a:gd name="connsiteX1" fmla="*/ 74631 w 74681"/>
                <a:gd name="connsiteY1" fmla="*/ 89999 h 119490"/>
                <a:gd name="connsiteX2" fmla="*/ 62681 w 74681"/>
                <a:gd name="connsiteY2" fmla="*/ 113897 h 119490"/>
                <a:gd name="connsiteX3" fmla="*/ 25340 w 74681"/>
                <a:gd name="connsiteY3" fmla="*/ 125846 h 119490"/>
                <a:gd name="connsiteX4" fmla="*/ 16379 w 74681"/>
                <a:gd name="connsiteY4" fmla="*/ 122858 h 119490"/>
                <a:gd name="connsiteX5" fmla="*/ 7417 w 74681"/>
                <a:gd name="connsiteY5" fmla="*/ 107922 h 119490"/>
                <a:gd name="connsiteX6" fmla="*/ 1443 w 74681"/>
                <a:gd name="connsiteY6" fmla="*/ 31747 h 119490"/>
                <a:gd name="connsiteX7" fmla="*/ 2936 w 74681"/>
                <a:gd name="connsiteY7" fmla="*/ 19798 h 119490"/>
                <a:gd name="connsiteX8" fmla="*/ 28328 w 74681"/>
                <a:gd name="connsiteY8" fmla="*/ 381 h 119490"/>
                <a:gd name="connsiteX9" fmla="*/ 61188 w 74681"/>
                <a:gd name="connsiteY9" fmla="*/ 7849 h 119490"/>
                <a:gd name="connsiteX10" fmla="*/ 68656 w 74681"/>
                <a:gd name="connsiteY10" fmla="*/ 12330 h 119490"/>
                <a:gd name="connsiteX11" fmla="*/ 74631 w 74681"/>
                <a:gd name="connsiteY11" fmla="*/ 19798 h 119490"/>
                <a:gd name="connsiteX12" fmla="*/ 77618 w 74681"/>
                <a:gd name="connsiteY12" fmla="*/ 63113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77618" y="63113"/>
                  </a:moveTo>
                  <a:cubicBezTo>
                    <a:pt x="77618" y="72075"/>
                    <a:pt x="76124" y="81037"/>
                    <a:pt x="74631" y="89999"/>
                  </a:cubicBezTo>
                  <a:cubicBezTo>
                    <a:pt x="73137" y="98961"/>
                    <a:pt x="68656" y="107922"/>
                    <a:pt x="62681" y="113897"/>
                  </a:cubicBezTo>
                  <a:cubicBezTo>
                    <a:pt x="53720" y="124352"/>
                    <a:pt x="38783" y="128833"/>
                    <a:pt x="25340" y="125846"/>
                  </a:cubicBezTo>
                  <a:cubicBezTo>
                    <a:pt x="22353" y="125846"/>
                    <a:pt x="19366" y="124352"/>
                    <a:pt x="16379" y="122858"/>
                  </a:cubicBezTo>
                  <a:cubicBezTo>
                    <a:pt x="11898" y="119871"/>
                    <a:pt x="8911" y="112403"/>
                    <a:pt x="7417" y="107922"/>
                  </a:cubicBezTo>
                  <a:cubicBezTo>
                    <a:pt x="-51" y="82531"/>
                    <a:pt x="-1545" y="57139"/>
                    <a:pt x="1443" y="31747"/>
                  </a:cubicBezTo>
                  <a:cubicBezTo>
                    <a:pt x="1443" y="27266"/>
                    <a:pt x="1443" y="24279"/>
                    <a:pt x="2936" y="19798"/>
                  </a:cubicBezTo>
                  <a:cubicBezTo>
                    <a:pt x="5923" y="9343"/>
                    <a:pt x="17872" y="1874"/>
                    <a:pt x="28328" y="381"/>
                  </a:cubicBezTo>
                  <a:cubicBezTo>
                    <a:pt x="40277" y="-1113"/>
                    <a:pt x="50732" y="1874"/>
                    <a:pt x="61188" y="7849"/>
                  </a:cubicBezTo>
                  <a:cubicBezTo>
                    <a:pt x="64175" y="9343"/>
                    <a:pt x="67162" y="10836"/>
                    <a:pt x="68656" y="12330"/>
                  </a:cubicBezTo>
                  <a:cubicBezTo>
                    <a:pt x="70149" y="13823"/>
                    <a:pt x="71643" y="16811"/>
                    <a:pt x="74631" y="19798"/>
                  </a:cubicBezTo>
                  <a:cubicBezTo>
                    <a:pt x="77618" y="21291"/>
                    <a:pt x="79111" y="49670"/>
                    <a:pt x="77618" y="63113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5" name="任意多边形: 形状 9954"/>
            <p:cNvSpPr/>
            <p:nvPr/>
          </p:nvSpPr>
          <p:spPr>
            <a:xfrm>
              <a:off x="8916627" y="4017555"/>
              <a:ext cx="74682" cy="119491"/>
            </a:xfrm>
            <a:custGeom>
              <a:avLst/>
              <a:gdLst>
                <a:gd name="connsiteX0" fmla="*/ 77618 w 74681"/>
                <a:gd name="connsiteY0" fmla="*/ 64607 h 119490"/>
                <a:gd name="connsiteX1" fmla="*/ 74631 w 74681"/>
                <a:gd name="connsiteY1" fmla="*/ 91492 h 119490"/>
                <a:gd name="connsiteX2" fmla="*/ 62681 w 74681"/>
                <a:gd name="connsiteY2" fmla="*/ 115390 h 119490"/>
                <a:gd name="connsiteX3" fmla="*/ 25340 w 74681"/>
                <a:gd name="connsiteY3" fmla="*/ 127340 h 119490"/>
                <a:gd name="connsiteX4" fmla="*/ 16379 w 74681"/>
                <a:gd name="connsiteY4" fmla="*/ 124352 h 119490"/>
                <a:gd name="connsiteX5" fmla="*/ 7417 w 74681"/>
                <a:gd name="connsiteY5" fmla="*/ 107922 h 119490"/>
                <a:gd name="connsiteX6" fmla="*/ 1443 w 74681"/>
                <a:gd name="connsiteY6" fmla="*/ 31747 h 119490"/>
                <a:gd name="connsiteX7" fmla="*/ 2936 w 74681"/>
                <a:gd name="connsiteY7" fmla="*/ 19798 h 119490"/>
                <a:gd name="connsiteX8" fmla="*/ 28328 w 74681"/>
                <a:gd name="connsiteY8" fmla="*/ 381 h 119490"/>
                <a:gd name="connsiteX9" fmla="*/ 61188 w 74681"/>
                <a:gd name="connsiteY9" fmla="*/ 7849 h 119490"/>
                <a:gd name="connsiteX10" fmla="*/ 68656 w 74681"/>
                <a:gd name="connsiteY10" fmla="*/ 12330 h 119490"/>
                <a:gd name="connsiteX11" fmla="*/ 74631 w 74681"/>
                <a:gd name="connsiteY11" fmla="*/ 19798 h 119490"/>
                <a:gd name="connsiteX12" fmla="*/ 77618 w 74681"/>
                <a:gd name="connsiteY12" fmla="*/ 64607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77618" y="64607"/>
                  </a:moveTo>
                  <a:cubicBezTo>
                    <a:pt x="77618" y="73569"/>
                    <a:pt x="76124" y="82531"/>
                    <a:pt x="74631" y="91492"/>
                  </a:cubicBezTo>
                  <a:cubicBezTo>
                    <a:pt x="73137" y="100454"/>
                    <a:pt x="68656" y="109416"/>
                    <a:pt x="62681" y="115390"/>
                  </a:cubicBezTo>
                  <a:cubicBezTo>
                    <a:pt x="53720" y="125846"/>
                    <a:pt x="38783" y="130327"/>
                    <a:pt x="25340" y="127340"/>
                  </a:cubicBezTo>
                  <a:cubicBezTo>
                    <a:pt x="22353" y="127340"/>
                    <a:pt x="19366" y="125846"/>
                    <a:pt x="16379" y="124352"/>
                  </a:cubicBezTo>
                  <a:cubicBezTo>
                    <a:pt x="11898" y="121365"/>
                    <a:pt x="8911" y="113897"/>
                    <a:pt x="7417" y="107922"/>
                  </a:cubicBezTo>
                  <a:cubicBezTo>
                    <a:pt x="-51" y="82531"/>
                    <a:pt x="-1545" y="57139"/>
                    <a:pt x="1443" y="31747"/>
                  </a:cubicBezTo>
                  <a:cubicBezTo>
                    <a:pt x="1443" y="27266"/>
                    <a:pt x="1443" y="24278"/>
                    <a:pt x="2936" y="19798"/>
                  </a:cubicBezTo>
                  <a:cubicBezTo>
                    <a:pt x="5923" y="9342"/>
                    <a:pt x="17872" y="1874"/>
                    <a:pt x="28328" y="381"/>
                  </a:cubicBezTo>
                  <a:cubicBezTo>
                    <a:pt x="40277" y="-1113"/>
                    <a:pt x="50732" y="1874"/>
                    <a:pt x="61188" y="7849"/>
                  </a:cubicBezTo>
                  <a:cubicBezTo>
                    <a:pt x="64175" y="9342"/>
                    <a:pt x="67162" y="10836"/>
                    <a:pt x="68656" y="12330"/>
                  </a:cubicBezTo>
                  <a:cubicBezTo>
                    <a:pt x="70149" y="13823"/>
                    <a:pt x="71643" y="16810"/>
                    <a:pt x="74631" y="19798"/>
                  </a:cubicBezTo>
                  <a:cubicBezTo>
                    <a:pt x="77618" y="22785"/>
                    <a:pt x="79111" y="51164"/>
                    <a:pt x="77618" y="6460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6" name="任意多边形: 形状 9955"/>
            <p:cNvSpPr/>
            <p:nvPr/>
          </p:nvSpPr>
          <p:spPr>
            <a:xfrm>
              <a:off x="8941736" y="4076187"/>
              <a:ext cx="44809" cy="74682"/>
            </a:xfrm>
            <a:custGeom>
              <a:avLst/>
              <a:gdLst>
                <a:gd name="connsiteX0" fmla="*/ 1725 w 44809"/>
                <a:gd name="connsiteY0" fmla="*/ 79162 h 74681"/>
                <a:gd name="connsiteX1" fmla="*/ 39065 w 44809"/>
                <a:gd name="connsiteY1" fmla="*/ 67214 h 74681"/>
                <a:gd name="connsiteX2" fmla="*/ 46534 w 44809"/>
                <a:gd name="connsiteY2" fmla="*/ 56758 h 74681"/>
                <a:gd name="connsiteX3" fmla="*/ 51015 w 44809"/>
                <a:gd name="connsiteY3" fmla="*/ 43315 h 74681"/>
                <a:gd name="connsiteX4" fmla="*/ 54002 w 44809"/>
                <a:gd name="connsiteY4" fmla="*/ 16430 h 74681"/>
                <a:gd name="connsiteX5" fmla="*/ 54002 w 44809"/>
                <a:gd name="connsiteY5" fmla="*/ 0 h 74681"/>
                <a:gd name="connsiteX6" fmla="*/ 54002 w 44809"/>
                <a:gd name="connsiteY6" fmla="*/ 5974 h 74681"/>
                <a:gd name="connsiteX7" fmla="*/ 51015 w 44809"/>
                <a:gd name="connsiteY7" fmla="*/ 32860 h 74681"/>
                <a:gd name="connsiteX8" fmla="*/ 40559 w 44809"/>
                <a:gd name="connsiteY8" fmla="*/ 55264 h 74681"/>
                <a:gd name="connsiteX9" fmla="*/ 39065 w 44809"/>
                <a:gd name="connsiteY9" fmla="*/ 56758 h 74681"/>
                <a:gd name="connsiteX10" fmla="*/ 1725 w 44809"/>
                <a:gd name="connsiteY10" fmla="*/ 68707 h 74681"/>
                <a:gd name="connsiteX11" fmla="*/ 1725 w 44809"/>
                <a:gd name="connsiteY11" fmla="*/ 68707 h 74681"/>
                <a:gd name="connsiteX12" fmla="*/ 1725 w 44809"/>
                <a:gd name="connsiteY12" fmla="*/ 79162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09" h="74681">
                  <a:moveTo>
                    <a:pt x="1725" y="79162"/>
                  </a:moveTo>
                  <a:cubicBezTo>
                    <a:pt x="15167" y="82150"/>
                    <a:pt x="28610" y="77669"/>
                    <a:pt x="39065" y="67214"/>
                  </a:cubicBezTo>
                  <a:cubicBezTo>
                    <a:pt x="42053" y="64226"/>
                    <a:pt x="43547" y="61239"/>
                    <a:pt x="46534" y="56758"/>
                  </a:cubicBezTo>
                  <a:cubicBezTo>
                    <a:pt x="49521" y="52277"/>
                    <a:pt x="51015" y="47796"/>
                    <a:pt x="51015" y="43315"/>
                  </a:cubicBezTo>
                  <a:cubicBezTo>
                    <a:pt x="52508" y="34353"/>
                    <a:pt x="54002" y="25392"/>
                    <a:pt x="54002" y="16430"/>
                  </a:cubicBezTo>
                  <a:cubicBezTo>
                    <a:pt x="54002" y="11949"/>
                    <a:pt x="54002" y="5974"/>
                    <a:pt x="54002" y="0"/>
                  </a:cubicBezTo>
                  <a:cubicBezTo>
                    <a:pt x="54002" y="2987"/>
                    <a:pt x="54002" y="4481"/>
                    <a:pt x="54002" y="5974"/>
                  </a:cubicBezTo>
                  <a:cubicBezTo>
                    <a:pt x="54002" y="14936"/>
                    <a:pt x="52508" y="23898"/>
                    <a:pt x="51015" y="32860"/>
                  </a:cubicBezTo>
                  <a:cubicBezTo>
                    <a:pt x="49521" y="41822"/>
                    <a:pt x="46534" y="49290"/>
                    <a:pt x="40559" y="55264"/>
                  </a:cubicBezTo>
                  <a:cubicBezTo>
                    <a:pt x="40559" y="55264"/>
                    <a:pt x="39065" y="56758"/>
                    <a:pt x="39065" y="56758"/>
                  </a:cubicBezTo>
                  <a:cubicBezTo>
                    <a:pt x="30104" y="67214"/>
                    <a:pt x="15167" y="71694"/>
                    <a:pt x="1725" y="68707"/>
                  </a:cubicBezTo>
                  <a:cubicBezTo>
                    <a:pt x="1725" y="68707"/>
                    <a:pt x="1725" y="68707"/>
                    <a:pt x="1725" y="68707"/>
                  </a:cubicBezTo>
                  <a:cubicBezTo>
                    <a:pt x="-1262" y="71694"/>
                    <a:pt x="231" y="76175"/>
                    <a:pt x="1725" y="79162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7" name="任意多边形: 形状 9956"/>
            <p:cNvSpPr/>
            <p:nvPr/>
          </p:nvSpPr>
          <p:spPr>
            <a:xfrm>
              <a:off x="8915082" y="4000012"/>
              <a:ext cx="104554" cy="119491"/>
            </a:xfrm>
            <a:custGeom>
              <a:avLst/>
              <a:gdLst>
                <a:gd name="connsiteX0" fmla="*/ 74682 w 104554"/>
                <a:gd name="connsiteY0" fmla="*/ 79162 h 119490"/>
                <a:gd name="connsiteX1" fmla="*/ 83644 w 104554"/>
                <a:gd name="connsiteY1" fmla="*/ 74682 h 119490"/>
                <a:gd name="connsiteX2" fmla="*/ 79162 w 104554"/>
                <a:gd name="connsiteY2" fmla="*/ 119491 h 119490"/>
                <a:gd name="connsiteX3" fmla="*/ 80656 w 104554"/>
                <a:gd name="connsiteY3" fmla="*/ 125465 h 119490"/>
                <a:gd name="connsiteX4" fmla="*/ 85137 w 104554"/>
                <a:gd name="connsiteY4" fmla="*/ 126959 h 119490"/>
                <a:gd name="connsiteX5" fmla="*/ 100074 w 104554"/>
                <a:gd name="connsiteY5" fmla="*/ 117997 h 119490"/>
                <a:gd name="connsiteX6" fmla="*/ 106048 w 104554"/>
                <a:gd name="connsiteY6" fmla="*/ 101567 h 119490"/>
                <a:gd name="connsiteX7" fmla="*/ 109035 w 104554"/>
                <a:gd name="connsiteY7" fmla="*/ 79162 h 119490"/>
                <a:gd name="connsiteX8" fmla="*/ 107542 w 104554"/>
                <a:gd name="connsiteY8" fmla="*/ 32860 h 119490"/>
                <a:gd name="connsiteX9" fmla="*/ 85137 w 104554"/>
                <a:gd name="connsiteY9" fmla="*/ 7468 h 119490"/>
                <a:gd name="connsiteX10" fmla="*/ 49290 w 104554"/>
                <a:gd name="connsiteY10" fmla="*/ 0 h 119490"/>
                <a:gd name="connsiteX11" fmla="*/ 20911 w 104554"/>
                <a:gd name="connsiteY11" fmla="*/ 7468 h 119490"/>
                <a:gd name="connsiteX12" fmla="*/ 1494 w 104554"/>
                <a:gd name="connsiteY12" fmla="*/ 29873 h 119490"/>
                <a:gd name="connsiteX13" fmla="*/ 0 w 104554"/>
                <a:gd name="connsiteY13" fmla="*/ 41822 h 119490"/>
                <a:gd name="connsiteX14" fmla="*/ 17924 w 104554"/>
                <a:gd name="connsiteY14" fmla="*/ 56758 h 119490"/>
                <a:gd name="connsiteX15" fmla="*/ 58252 w 104554"/>
                <a:gd name="connsiteY15" fmla="*/ 53771 h 119490"/>
                <a:gd name="connsiteX16" fmla="*/ 65720 w 104554"/>
                <a:gd name="connsiteY16" fmla="*/ 50783 h 119490"/>
                <a:gd name="connsiteX17" fmla="*/ 73188 w 104554"/>
                <a:gd name="connsiteY17" fmla="*/ 53771 h 119490"/>
                <a:gd name="connsiteX18" fmla="*/ 74682 w 104554"/>
                <a:gd name="connsiteY18" fmla="*/ 58252 h 119490"/>
                <a:gd name="connsiteX19" fmla="*/ 74682 w 104554"/>
                <a:gd name="connsiteY19" fmla="*/ 79162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4554" h="119490">
                  <a:moveTo>
                    <a:pt x="74682" y="79162"/>
                  </a:moveTo>
                  <a:cubicBezTo>
                    <a:pt x="74682" y="79162"/>
                    <a:pt x="80656" y="76175"/>
                    <a:pt x="83644" y="74682"/>
                  </a:cubicBezTo>
                  <a:cubicBezTo>
                    <a:pt x="79162" y="89618"/>
                    <a:pt x="77669" y="104554"/>
                    <a:pt x="79162" y="119491"/>
                  </a:cubicBezTo>
                  <a:cubicBezTo>
                    <a:pt x="79162" y="120984"/>
                    <a:pt x="79162" y="123971"/>
                    <a:pt x="80656" y="125465"/>
                  </a:cubicBezTo>
                  <a:cubicBezTo>
                    <a:pt x="82150" y="126959"/>
                    <a:pt x="83644" y="126959"/>
                    <a:pt x="85137" y="126959"/>
                  </a:cubicBezTo>
                  <a:cubicBezTo>
                    <a:pt x="91112" y="126959"/>
                    <a:pt x="97086" y="123971"/>
                    <a:pt x="100074" y="117997"/>
                  </a:cubicBezTo>
                  <a:cubicBezTo>
                    <a:pt x="103061" y="113516"/>
                    <a:pt x="104554" y="107542"/>
                    <a:pt x="106048" y="101567"/>
                  </a:cubicBezTo>
                  <a:cubicBezTo>
                    <a:pt x="107542" y="94099"/>
                    <a:pt x="109035" y="86631"/>
                    <a:pt x="109035" y="79162"/>
                  </a:cubicBezTo>
                  <a:cubicBezTo>
                    <a:pt x="110529" y="64226"/>
                    <a:pt x="113516" y="47796"/>
                    <a:pt x="107542" y="32860"/>
                  </a:cubicBezTo>
                  <a:cubicBezTo>
                    <a:pt x="103061" y="22405"/>
                    <a:pt x="95593" y="13443"/>
                    <a:pt x="85137" y="7468"/>
                  </a:cubicBezTo>
                  <a:cubicBezTo>
                    <a:pt x="74682" y="1494"/>
                    <a:pt x="61239" y="0"/>
                    <a:pt x="49290" y="0"/>
                  </a:cubicBezTo>
                  <a:cubicBezTo>
                    <a:pt x="38835" y="0"/>
                    <a:pt x="29873" y="1494"/>
                    <a:pt x="20911" y="7468"/>
                  </a:cubicBezTo>
                  <a:cubicBezTo>
                    <a:pt x="11949" y="11949"/>
                    <a:pt x="4481" y="19417"/>
                    <a:pt x="1494" y="29873"/>
                  </a:cubicBezTo>
                  <a:cubicBezTo>
                    <a:pt x="0" y="34353"/>
                    <a:pt x="0" y="38835"/>
                    <a:pt x="0" y="41822"/>
                  </a:cubicBezTo>
                  <a:cubicBezTo>
                    <a:pt x="2987" y="49290"/>
                    <a:pt x="10456" y="53771"/>
                    <a:pt x="17924" y="56758"/>
                  </a:cubicBezTo>
                  <a:cubicBezTo>
                    <a:pt x="31366" y="59745"/>
                    <a:pt x="46303" y="58252"/>
                    <a:pt x="58252" y="53771"/>
                  </a:cubicBezTo>
                  <a:cubicBezTo>
                    <a:pt x="61239" y="52277"/>
                    <a:pt x="62733" y="50783"/>
                    <a:pt x="65720" y="50783"/>
                  </a:cubicBezTo>
                  <a:cubicBezTo>
                    <a:pt x="68707" y="50783"/>
                    <a:pt x="71694" y="50783"/>
                    <a:pt x="73188" y="53771"/>
                  </a:cubicBezTo>
                  <a:cubicBezTo>
                    <a:pt x="73188" y="55265"/>
                    <a:pt x="74682" y="56758"/>
                    <a:pt x="74682" y="58252"/>
                  </a:cubicBezTo>
                  <a:cubicBezTo>
                    <a:pt x="74682" y="61239"/>
                    <a:pt x="74682" y="77669"/>
                    <a:pt x="74682" y="79162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8" name="任意多边形: 形状 9957"/>
            <p:cNvSpPr/>
            <p:nvPr/>
          </p:nvSpPr>
          <p:spPr>
            <a:xfrm>
              <a:off x="8987606" y="4067225"/>
              <a:ext cx="14936" cy="29873"/>
            </a:xfrm>
            <a:custGeom>
              <a:avLst/>
              <a:gdLst>
                <a:gd name="connsiteX0" fmla="*/ 11120 w 14936"/>
                <a:gd name="connsiteY0" fmla="*/ 0 h 29872"/>
                <a:gd name="connsiteX1" fmla="*/ 3651 w 14936"/>
                <a:gd name="connsiteY1" fmla="*/ 5974 h 29872"/>
                <a:gd name="connsiteX2" fmla="*/ 664 w 14936"/>
                <a:gd name="connsiteY2" fmla="*/ 17924 h 29872"/>
                <a:gd name="connsiteX3" fmla="*/ 664 w 14936"/>
                <a:gd name="connsiteY3" fmla="*/ 32860 h 29872"/>
                <a:gd name="connsiteX4" fmla="*/ 3651 w 14936"/>
                <a:gd name="connsiteY4" fmla="*/ 35847 h 29872"/>
                <a:gd name="connsiteX5" fmla="*/ 9626 w 14936"/>
                <a:gd name="connsiteY5" fmla="*/ 34353 h 29872"/>
                <a:gd name="connsiteX6" fmla="*/ 12613 w 14936"/>
                <a:gd name="connsiteY6" fmla="*/ 28379 h 29872"/>
                <a:gd name="connsiteX7" fmla="*/ 17094 w 14936"/>
                <a:gd name="connsiteY7" fmla="*/ 10456 h 29872"/>
                <a:gd name="connsiteX8" fmla="*/ 17094 w 14936"/>
                <a:gd name="connsiteY8" fmla="*/ 2987 h 29872"/>
                <a:gd name="connsiteX9" fmla="*/ 11120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11120" y="0"/>
                  </a:moveTo>
                  <a:cubicBezTo>
                    <a:pt x="8132" y="0"/>
                    <a:pt x="5145" y="2987"/>
                    <a:pt x="3651" y="5974"/>
                  </a:cubicBezTo>
                  <a:cubicBezTo>
                    <a:pt x="2158" y="8962"/>
                    <a:pt x="664" y="13443"/>
                    <a:pt x="664" y="17924"/>
                  </a:cubicBezTo>
                  <a:cubicBezTo>
                    <a:pt x="664" y="22405"/>
                    <a:pt x="-830" y="28379"/>
                    <a:pt x="664" y="32860"/>
                  </a:cubicBezTo>
                  <a:cubicBezTo>
                    <a:pt x="664" y="34353"/>
                    <a:pt x="2158" y="35847"/>
                    <a:pt x="3651" y="35847"/>
                  </a:cubicBezTo>
                  <a:cubicBezTo>
                    <a:pt x="5145" y="37341"/>
                    <a:pt x="8132" y="35847"/>
                    <a:pt x="9626" y="34353"/>
                  </a:cubicBezTo>
                  <a:cubicBezTo>
                    <a:pt x="11120" y="32860"/>
                    <a:pt x="12613" y="31366"/>
                    <a:pt x="12613" y="28379"/>
                  </a:cubicBezTo>
                  <a:cubicBezTo>
                    <a:pt x="14106" y="22405"/>
                    <a:pt x="15600" y="16430"/>
                    <a:pt x="17094" y="10456"/>
                  </a:cubicBezTo>
                  <a:cubicBezTo>
                    <a:pt x="17094" y="7468"/>
                    <a:pt x="17094" y="5974"/>
                    <a:pt x="17094" y="2987"/>
                  </a:cubicBezTo>
                  <a:cubicBezTo>
                    <a:pt x="15600" y="1494"/>
                    <a:pt x="14106" y="0"/>
                    <a:pt x="11120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9" name="任意多边形: 形状 9958"/>
            <p:cNvSpPr/>
            <p:nvPr/>
          </p:nvSpPr>
          <p:spPr>
            <a:xfrm>
              <a:off x="8879235" y="4186716"/>
              <a:ext cx="14936" cy="149363"/>
            </a:xfrm>
            <a:custGeom>
              <a:avLst/>
              <a:gdLst>
                <a:gd name="connsiteX0" fmla="*/ 1494 w 14936"/>
                <a:gd name="connsiteY0" fmla="*/ 155338 h 149363"/>
                <a:gd name="connsiteX1" fmla="*/ 11949 w 14936"/>
                <a:gd name="connsiteY1" fmla="*/ 138908 h 149363"/>
                <a:gd name="connsiteX2" fmla="*/ 17923 w 14936"/>
                <a:gd name="connsiteY2" fmla="*/ 52277 h 149363"/>
                <a:gd name="connsiteX3" fmla="*/ 19417 w 14936"/>
                <a:gd name="connsiteY3" fmla="*/ 20911 h 149363"/>
                <a:gd name="connsiteX4" fmla="*/ 20911 w 14936"/>
                <a:gd name="connsiteY4" fmla="*/ 0 h 149363"/>
                <a:gd name="connsiteX5" fmla="*/ 7468 w 14936"/>
                <a:gd name="connsiteY5" fmla="*/ 52277 h 149363"/>
                <a:gd name="connsiteX6" fmla="*/ 5974 w 14936"/>
                <a:gd name="connsiteY6" fmla="*/ 70201 h 149363"/>
                <a:gd name="connsiteX7" fmla="*/ 2987 w 14936"/>
                <a:gd name="connsiteY7" fmla="*/ 113516 h 149363"/>
                <a:gd name="connsiteX8" fmla="*/ 0 w 14936"/>
                <a:gd name="connsiteY8" fmla="*/ 141895 h 149363"/>
                <a:gd name="connsiteX9" fmla="*/ 1494 w 14936"/>
                <a:gd name="connsiteY9" fmla="*/ 155338 h 14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149363">
                  <a:moveTo>
                    <a:pt x="1494" y="155338"/>
                  </a:moveTo>
                  <a:lnTo>
                    <a:pt x="11949" y="138908"/>
                  </a:lnTo>
                  <a:lnTo>
                    <a:pt x="17923" y="52277"/>
                  </a:lnTo>
                  <a:lnTo>
                    <a:pt x="19417" y="20911"/>
                  </a:lnTo>
                  <a:cubicBezTo>
                    <a:pt x="19417" y="13443"/>
                    <a:pt x="20911" y="7468"/>
                    <a:pt x="20911" y="0"/>
                  </a:cubicBezTo>
                  <a:cubicBezTo>
                    <a:pt x="13443" y="16430"/>
                    <a:pt x="10455" y="34353"/>
                    <a:pt x="7468" y="52277"/>
                  </a:cubicBezTo>
                  <a:cubicBezTo>
                    <a:pt x="7468" y="58252"/>
                    <a:pt x="5974" y="64226"/>
                    <a:pt x="5974" y="70201"/>
                  </a:cubicBezTo>
                  <a:cubicBezTo>
                    <a:pt x="4481" y="85137"/>
                    <a:pt x="2987" y="98580"/>
                    <a:pt x="2987" y="113516"/>
                  </a:cubicBezTo>
                  <a:cubicBezTo>
                    <a:pt x="1494" y="122478"/>
                    <a:pt x="1494" y="131440"/>
                    <a:pt x="0" y="141895"/>
                  </a:cubicBezTo>
                  <a:cubicBezTo>
                    <a:pt x="1494" y="144883"/>
                    <a:pt x="0" y="150857"/>
                    <a:pt x="1494" y="155338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0" name="任意多边形: 形状 9959"/>
            <p:cNvSpPr/>
            <p:nvPr/>
          </p:nvSpPr>
          <p:spPr>
            <a:xfrm>
              <a:off x="8978935" y="4840181"/>
              <a:ext cx="74682" cy="44809"/>
            </a:xfrm>
            <a:custGeom>
              <a:avLst/>
              <a:gdLst>
                <a:gd name="connsiteX0" fmla="*/ 12323 w 74681"/>
                <a:gd name="connsiteY0" fmla="*/ 6721 h 44809"/>
                <a:gd name="connsiteX1" fmla="*/ 12323 w 74681"/>
                <a:gd name="connsiteY1" fmla="*/ 39581 h 44809"/>
                <a:gd name="connsiteX2" fmla="*/ 70574 w 74681"/>
                <a:gd name="connsiteY2" fmla="*/ 39581 h 44809"/>
                <a:gd name="connsiteX3" fmla="*/ 70574 w 74681"/>
                <a:gd name="connsiteY3" fmla="*/ 6721 h 44809"/>
                <a:gd name="connsiteX4" fmla="*/ 12323 w 74681"/>
                <a:gd name="connsiteY4" fmla="*/ 672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12323" y="6721"/>
                  </a:moveTo>
                  <a:cubicBezTo>
                    <a:pt x="-4108" y="15683"/>
                    <a:pt x="-4108" y="30619"/>
                    <a:pt x="12323" y="39581"/>
                  </a:cubicBezTo>
                  <a:cubicBezTo>
                    <a:pt x="28753" y="48543"/>
                    <a:pt x="54144" y="48543"/>
                    <a:pt x="70574" y="39581"/>
                  </a:cubicBezTo>
                  <a:cubicBezTo>
                    <a:pt x="87004" y="30619"/>
                    <a:pt x="87004" y="15683"/>
                    <a:pt x="70574" y="6721"/>
                  </a:cubicBezTo>
                  <a:cubicBezTo>
                    <a:pt x="54144" y="-2240"/>
                    <a:pt x="28753" y="-2240"/>
                    <a:pt x="12323" y="6721"/>
                  </a:cubicBezTo>
                  <a:close/>
                </a:path>
              </a:pathLst>
            </a:custGeom>
            <a:solidFill>
              <a:srgbClr val="1934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1" name="任意多边形: 形状 9960"/>
            <p:cNvSpPr/>
            <p:nvPr/>
          </p:nvSpPr>
          <p:spPr>
            <a:xfrm>
              <a:off x="8955334" y="4629531"/>
              <a:ext cx="104554" cy="238981"/>
            </a:xfrm>
            <a:custGeom>
              <a:avLst/>
              <a:gdLst>
                <a:gd name="connsiteX0" fmla="*/ 106124 w 104554"/>
                <a:gd name="connsiteY0" fmla="*/ 233801 h 238981"/>
                <a:gd name="connsiteX1" fmla="*/ 83719 w 104554"/>
                <a:gd name="connsiteY1" fmla="*/ 30667 h 238981"/>
                <a:gd name="connsiteX2" fmla="*/ 64302 w 104554"/>
                <a:gd name="connsiteY2" fmla="*/ 9756 h 238981"/>
                <a:gd name="connsiteX3" fmla="*/ 28455 w 104554"/>
                <a:gd name="connsiteY3" fmla="*/ 795 h 238981"/>
                <a:gd name="connsiteX4" fmla="*/ 76 w 104554"/>
                <a:gd name="connsiteY4" fmla="*/ 30667 h 238981"/>
                <a:gd name="connsiteX5" fmla="*/ 22481 w 104554"/>
                <a:gd name="connsiteY5" fmla="*/ 233801 h 238981"/>
                <a:gd name="connsiteX6" fmla="*/ 34430 w 104554"/>
                <a:gd name="connsiteY6" fmla="*/ 244257 h 238981"/>
                <a:gd name="connsiteX7" fmla="*/ 106124 w 104554"/>
                <a:gd name="connsiteY7" fmla="*/ 233801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554" h="238981">
                  <a:moveTo>
                    <a:pt x="106124" y="233801"/>
                  </a:moveTo>
                  <a:cubicBezTo>
                    <a:pt x="104631" y="172563"/>
                    <a:pt x="88201" y="36642"/>
                    <a:pt x="83719" y="30667"/>
                  </a:cubicBezTo>
                  <a:cubicBezTo>
                    <a:pt x="79239" y="23199"/>
                    <a:pt x="71771" y="14237"/>
                    <a:pt x="64302" y="9756"/>
                  </a:cubicBezTo>
                  <a:cubicBezTo>
                    <a:pt x="53847" y="3782"/>
                    <a:pt x="41898" y="-2193"/>
                    <a:pt x="28455" y="795"/>
                  </a:cubicBezTo>
                  <a:cubicBezTo>
                    <a:pt x="13519" y="3782"/>
                    <a:pt x="3063" y="15731"/>
                    <a:pt x="76" y="30667"/>
                  </a:cubicBezTo>
                  <a:cubicBezTo>
                    <a:pt x="-1417" y="45604"/>
                    <a:pt x="19493" y="226333"/>
                    <a:pt x="22481" y="233801"/>
                  </a:cubicBezTo>
                  <a:cubicBezTo>
                    <a:pt x="25468" y="242763"/>
                    <a:pt x="25468" y="241269"/>
                    <a:pt x="34430" y="244257"/>
                  </a:cubicBezTo>
                  <a:lnTo>
                    <a:pt x="106124" y="233801"/>
                  </a:lnTo>
                  <a:close/>
                </a:path>
              </a:pathLst>
            </a:custGeom>
            <a:solidFill>
              <a:srgbClr val="1934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2" name="任意多边形: 形状 9961"/>
            <p:cNvSpPr/>
            <p:nvPr/>
          </p:nvSpPr>
          <p:spPr>
            <a:xfrm>
              <a:off x="8758572" y="4368940"/>
              <a:ext cx="59745" cy="29873"/>
            </a:xfrm>
            <a:custGeom>
              <a:avLst/>
              <a:gdLst>
                <a:gd name="connsiteX0" fmla="*/ 69879 w 59745"/>
                <a:gd name="connsiteY0" fmla="*/ 11949 h 29872"/>
                <a:gd name="connsiteX1" fmla="*/ 48968 w 59745"/>
                <a:gd name="connsiteY1" fmla="*/ 0 h 29872"/>
                <a:gd name="connsiteX2" fmla="*/ 28057 w 59745"/>
                <a:gd name="connsiteY2" fmla="*/ 10455 h 29872"/>
                <a:gd name="connsiteX3" fmla="*/ 17602 w 59745"/>
                <a:gd name="connsiteY3" fmla="*/ 19417 h 29872"/>
                <a:gd name="connsiteX4" fmla="*/ 1172 w 59745"/>
                <a:gd name="connsiteY4" fmla="*/ 25392 h 29872"/>
                <a:gd name="connsiteX5" fmla="*/ 7146 w 59745"/>
                <a:gd name="connsiteY5" fmla="*/ 34353 h 29872"/>
                <a:gd name="connsiteX6" fmla="*/ 23577 w 59745"/>
                <a:gd name="connsiteY6" fmla="*/ 29873 h 29872"/>
                <a:gd name="connsiteX7" fmla="*/ 37019 w 59745"/>
                <a:gd name="connsiteY7" fmla="*/ 31366 h 29872"/>
                <a:gd name="connsiteX8" fmla="*/ 51955 w 59745"/>
                <a:gd name="connsiteY8" fmla="*/ 22405 h 29872"/>
                <a:gd name="connsiteX9" fmla="*/ 69879 w 59745"/>
                <a:gd name="connsiteY9" fmla="*/ 11949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745" h="29872">
                  <a:moveTo>
                    <a:pt x="69879" y="11949"/>
                  </a:moveTo>
                  <a:cubicBezTo>
                    <a:pt x="65398" y="2987"/>
                    <a:pt x="57930" y="0"/>
                    <a:pt x="48968" y="0"/>
                  </a:cubicBezTo>
                  <a:cubicBezTo>
                    <a:pt x="41500" y="0"/>
                    <a:pt x="34032" y="4481"/>
                    <a:pt x="28057" y="10455"/>
                  </a:cubicBezTo>
                  <a:cubicBezTo>
                    <a:pt x="25070" y="13443"/>
                    <a:pt x="22083" y="16430"/>
                    <a:pt x="17602" y="19417"/>
                  </a:cubicBezTo>
                  <a:cubicBezTo>
                    <a:pt x="13121" y="20911"/>
                    <a:pt x="4159" y="20911"/>
                    <a:pt x="1172" y="25392"/>
                  </a:cubicBezTo>
                  <a:cubicBezTo>
                    <a:pt x="-1815" y="29873"/>
                    <a:pt x="1172" y="34353"/>
                    <a:pt x="7146" y="34353"/>
                  </a:cubicBezTo>
                  <a:cubicBezTo>
                    <a:pt x="17602" y="34353"/>
                    <a:pt x="20589" y="31366"/>
                    <a:pt x="23577" y="29873"/>
                  </a:cubicBezTo>
                  <a:cubicBezTo>
                    <a:pt x="28057" y="28379"/>
                    <a:pt x="32538" y="31366"/>
                    <a:pt x="37019" y="31366"/>
                  </a:cubicBezTo>
                  <a:cubicBezTo>
                    <a:pt x="41500" y="29873"/>
                    <a:pt x="48968" y="26885"/>
                    <a:pt x="51955" y="22405"/>
                  </a:cubicBezTo>
                  <a:lnTo>
                    <a:pt x="69879" y="11949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3" name="任意多边形: 形状 9962"/>
            <p:cNvSpPr/>
            <p:nvPr/>
          </p:nvSpPr>
          <p:spPr>
            <a:xfrm>
              <a:off x="8757862" y="4376264"/>
              <a:ext cx="59745" cy="59745"/>
            </a:xfrm>
            <a:custGeom>
              <a:avLst/>
              <a:gdLst>
                <a:gd name="connsiteX0" fmla="*/ 34742 w 59745"/>
                <a:gd name="connsiteY0" fmla="*/ 62876 h 59745"/>
                <a:gd name="connsiteX1" fmla="*/ 19806 w 59745"/>
                <a:gd name="connsiteY1" fmla="*/ 68851 h 59745"/>
                <a:gd name="connsiteX2" fmla="*/ 6363 w 59745"/>
                <a:gd name="connsiteY2" fmla="*/ 65864 h 59745"/>
                <a:gd name="connsiteX3" fmla="*/ 389 w 59745"/>
                <a:gd name="connsiteY3" fmla="*/ 52421 h 59745"/>
                <a:gd name="connsiteX4" fmla="*/ 4869 w 59745"/>
                <a:gd name="connsiteY4" fmla="*/ 41966 h 59745"/>
                <a:gd name="connsiteX5" fmla="*/ 13831 w 59745"/>
                <a:gd name="connsiteY5" fmla="*/ 28523 h 59745"/>
                <a:gd name="connsiteX6" fmla="*/ 25781 w 59745"/>
                <a:gd name="connsiteY6" fmla="*/ 16574 h 59745"/>
                <a:gd name="connsiteX7" fmla="*/ 64615 w 59745"/>
                <a:gd name="connsiteY7" fmla="*/ 144 h 59745"/>
                <a:gd name="connsiteX8" fmla="*/ 70590 w 59745"/>
                <a:gd name="connsiteY8" fmla="*/ 22548 h 59745"/>
                <a:gd name="connsiteX9" fmla="*/ 57146 w 59745"/>
                <a:gd name="connsiteY9" fmla="*/ 41966 h 59745"/>
                <a:gd name="connsiteX10" fmla="*/ 45198 w 59745"/>
                <a:gd name="connsiteY10" fmla="*/ 58396 h 59745"/>
                <a:gd name="connsiteX11" fmla="*/ 34742 w 59745"/>
                <a:gd name="connsiteY11" fmla="*/ 62876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745" h="59745">
                  <a:moveTo>
                    <a:pt x="34742" y="62876"/>
                  </a:moveTo>
                  <a:cubicBezTo>
                    <a:pt x="30261" y="70344"/>
                    <a:pt x="24287" y="73332"/>
                    <a:pt x="19806" y="68851"/>
                  </a:cubicBezTo>
                  <a:cubicBezTo>
                    <a:pt x="16819" y="73332"/>
                    <a:pt x="7857" y="73332"/>
                    <a:pt x="6363" y="65864"/>
                  </a:cubicBezTo>
                  <a:cubicBezTo>
                    <a:pt x="1882" y="67357"/>
                    <a:pt x="-1105" y="58396"/>
                    <a:pt x="389" y="52421"/>
                  </a:cubicBezTo>
                  <a:cubicBezTo>
                    <a:pt x="3376" y="44953"/>
                    <a:pt x="3376" y="43459"/>
                    <a:pt x="4869" y="41966"/>
                  </a:cubicBezTo>
                  <a:cubicBezTo>
                    <a:pt x="6363" y="35991"/>
                    <a:pt x="10844" y="31510"/>
                    <a:pt x="13831" y="28523"/>
                  </a:cubicBezTo>
                  <a:cubicBezTo>
                    <a:pt x="16819" y="24042"/>
                    <a:pt x="21299" y="19561"/>
                    <a:pt x="25781" y="16574"/>
                  </a:cubicBezTo>
                  <a:cubicBezTo>
                    <a:pt x="37729" y="9105"/>
                    <a:pt x="49678" y="-1350"/>
                    <a:pt x="64615" y="144"/>
                  </a:cubicBezTo>
                  <a:cubicBezTo>
                    <a:pt x="69096" y="4625"/>
                    <a:pt x="72083" y="10599"/>
                    <a:pt x="70590" y="22548"/>
                  </a:cubicBezTo>
                  <a:cubicBezTo>
                    <a:pt x="69096" y="31510"/>
                    <a:pt x="64615" y="35991"/>
                    <a:pt x="57146" y="41966"/>
                  </a:cubicBezTo>
                  <a:cubicBezTo>
                    <a:pt x="51172" y="47940"/>
                    <a:pt x="48185" y="49434"/>
                    <a:pt x="45198" y="58396"/>
                  </a:cubicBezTo>
                  <a:cubicBezTo>
                    <a:pt x="42210" y="67357"/>
                    <a:pt x="34742" y="65864"/>
                    <a:pt x="34742" y="62876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4" name="任意多边形: 形状 9963"/>
            <p:cNvSpPr/>
            <p:nvPr/>
          </p:nvSpPr>
          <p:spPr>
            <a:xfrm>
              <a:off x="8924044" y="4104857"/>
              <a:ext cx="14936" cy="14936"/>
            </a:xfrm>
            <a:custGeom>
              <a:avLst/>
              <a:gdLst>
                <a:gd name="connsiteX0" fmla="*/ 7468 w 14936"/>
                <a:gd name="connsiteY0" fmla="*/ 1203 h 14936"/>
                <a:gd name="connsiteX1" fmla="*/ 16430 w 14936"/>
                <a:gd name="connsiteY1" fmla="*/ 7177 h 14936"/>
                <a:gd name="connsiteX2" fmla="*/ 23898 w 14936"/>
                <a:gd name="connsiteY2" fmla="*/ 19126 h 14936"/>
                <a:gd name="connsiteX3" fmla="*/ 16430 w 14936"/>
                <a:gd name="connsiteY3" fmla="*/ 23607 h 14936"/>
                <a:gd name="connsiteX4" fmla="*/ 7468 w 14936"/>
                <a:gd name="connsiteY4" fmla="*/ 17633 h 14936"/>
                <a:gd name="connsiteX5" fmla="*/ 0 w 14936"/>
                <a:gd name="connsiteY5" fmla="*/ 5683 h 14936"/>
                <a:gd name="connsiteX6" fmla="*/ 7468 w 14936"/>
                <a:gd name="connsiteY6" fmla="*/ 1203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36" h="14936">
                  <a:moveTo>
                    <a:pt x="7468" y="1203"/>
                  </a:moveTo>
                  <a:lnTo>
                    <a:pt x="16430" y="7177"/>
                  </a:lnTo>
                  <a:cubicBezTo>
                    <a:pt x="20911" y="10164"/>
                    <a:pt x="23898" y="14645"/>
                    <a:pt x="23898" y="19126"/>
                  </a:cubicBezTo>
                  <a:cubicBezTo>
                    <a:pt x="23898" y="23607"/>
                    <a:pt x="20911" y="25101"/>
                    <a:pt x="16430" y="23607"/>
                  </a:cubicBezTo>
                  <a:lnTo>
                    <a:pt x="7468" y="17633"/>
                  </a:lnTo>
                  <a:cubicBezTo>
                    <a:pt x="2987" y="14645"/>
                    <a:pt x="0" y="10164"/>
                    <a:pt x="0" y="5683"/>
                  </a:cubicBezTo>
                  <a:cubicBezTo>
                    <a:pt x="0" y="1203"/>
                    <a:pt x="2987" y="-1785"/>
                    <a:pt x="7468" y="1203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5" name="任意多边形: 形状 9964"/>
            <p:cNvSpPr/>
            <p:nvPr/>
          </p:nvSpPr>
          <p:spPr>
            <a:xfrm>
              <a:off x="8917966" y="4043327"/>
              <a:ext cx="74682" cy="104554"/>
            </a:xfrm>
            <a:custGeom>
              <a:avLst/>
              <a:gdLst>
                <a:gd name="connsiteX0" fmla="*/ 34457 w 74681"/>
                <a:gd name="connsiteY0" fmla="*/ 106048 h 104554"/>
                <a:gd name="connsiteX1" fmla="*/ 68810 w 74681"/>
                <a:gd name="connsiteY1" fmla="*/ 83644 h 104554"/>
                <a:gd name="connsiteX2" fmla="*/ 77772 w 74681"/>
                <a:gd name="connsiteY2" fmla="*/ 22405 h 104554"/>
                <a:gd name="connsiteX3" fmla="*/ 79266 w 74681"/>
                <a:gd name="connsiteY3" fmla="*/ 16430 h 104554"/>
                <a:gd name="connsiteX4" fmla="*/ 68810 w 74681"/>
                <a:gd name="connsiteY4" fmla="*/ 0 h 104554"/>
                <a:gd name="connsiteX5" fmla="*/ 68810 w 74681"/>
                <a:gd name="connsiteY5" fmla="*/ 31366 h 104554"/>
                <a:gd name="connsiteX6" fmla="*/ 67317 w 74681"/>
                <a:gd name="connsiteY6" fmla="*/ 49290 h 104554"/>
                <a:gd name="connsiteX7" fmla="*/ 59849 w 74681"/>
                <a:gd name="connsiteY7" fmla="*/ 64227 h 104554"/>
                <a:gd name="connsiteX8" fmla="*/ 25495 w 74681"/>
                <a:gd name="connsiteY8" fmla="*/ 58252 h 104554"/>
                <a:gd name="connsiteX9" fmla="*/ 1597 w 74681"/>
                <a:gd name="connsiteY9" fmla="*/ 44809 h 104554"/>
                <a:gd name="connsiteX10" fmla="*/ 34457 w 74681"/>
                <a:gd name="connsiteY10" fmla="*/ 106048 h 104554"/>
                <a:gd name="connsiteX11" fmla="*/ 9065 w 74681"/>
                <a:gd name="connsiteY11" fmla="*/ 76175 h 104554"/>
                <a:gd name="connsiteX12" fmla="*/ 6078 w 74681"/>
                <a:gd name="connsiteY12" fmla="*/ 67214 h 104554"/>
                <a:gd name="connsiteX13" fmla="*/ 13546 w 74681"/>
                <a:gd name="connsiteY13" fmla="*/ 62733 h 104554"/>
                <a:gd name="connsiteX14" fmla="*/ 22508 w 74681"/>
                <a:gd name="connsiteY14" fmla="*/ 68707 h 104554"/>
                <a:gd name="connsiteX15" fmla="*/ 29976 w 74681"/>
                <a:gd name="connsiteY15" fmla="*/ 82150 h 104554"/>
                <a:gd name="connsiteX16" fmla="*/ 22508 w 74681"/>
                <a:gd name="connsiteY16" fmla="*/ 86631 h 104554"/>
                <a:gd name="connsiteX17" fmla="*/ 22508 w 74681"/>
                <a:gd name="connsiteY17" fmla="*/ 86631 h 104554"/>
                <a:gd name="connsiteX18" fmla="*/ 19520 w 74681"/>
                <a:gd name="connsiteY18" fmla="*/ 82150 h 104554"/>
                <a:gd name="connsiteX19" fmla="*/ 19520 w 74681"/>
                <a:gd name="connsiteY19" fmla="*/ 80656 h 104554"/>
                <a:gd name="connsiteX20" fmla="*/ 16533 w 74681"/>
                <a:gd name="connsiteY20" fmla="*/ 76175 h 104554"/>
                <a:gd name="connsiteX21" fmla="*/ 13546 w 74681"/>
                <a:gd name="connsiteY21" fmla="*/ 74682 h 104554"/>
                <a:gd name="connsiteX22" fmla="*/ 10559 w 74681"/>
                <a:gd name="connsiteY22" fmla="*/ 76175 h 104554"/>
                <a:gd name="connsiteX23" fmla="*/ 10559 w 74681"/>
                <a:gd name="connsiteY23" fmla="*/ 76175 h 104554"/>
                <a:gd name="connsiteX24" fmla="*/ 9065 w 74681"/>
                <a:gd name="connsiteY24" fmla="*/ 7617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4681" h="104554">
                  <a:moveTo>
                    <a:pt x="34457" y="106048"/>
                  </a:moveTo>
                  <a:cubicBezTo>
                    <a:pt x="47899" y="106048"/>
                    <a:pt x="62836" y="97086"/>
                    <a:pt x="68810" y="83644"/>
                  </a:cubicBezTo>
                  <a:cubicBezTo>
                    <a:pt x="74785" y="71695"/>
                    <a:pt x="77772" y="32860"/>
                    <a:pt x="77772" y="22405"/>
                  </a:cubicBezTo>
                  <a:cubicBezTo>
                    <a:pt x="77772" y="19418"/>
                    <a:pt x="77772" y="19418"/>
                    <a:pt x="79266" y="16430"/>
                  </a:cubicBezTo>
                  <a:cubicBezTo>
                    <a:pt x="80760" y="10456"/>
                    <a:pt x="73291" y="4481"/>
                    <a:pt x="68810" y="0"/>
                  </a:cubicBezTo>
                  <a:cubicBezTo>
                    <a:pt x="68810" y="10456"/>
                    <a:pt x="68810" y="20911"/>
                    <a:pt x="68810" y="31366"/>
                  </a:cubicBezTo>
                  <a:cubicBezTo>
                    <a:pt x="68810" y="37341"/>
                    <a:pt x="67317" y="43315"/>
                    <a:pt x="67317" y="49290"/>
                  </a:cubicBezTo>
                  <a:cubicBezTo>
                    <a:pt x="65823" y="55265"/>
                    <a:pt x="64329" y="61239"/>
                    <a:pt x="59849" y="64227"/>
                  </a:cubicBezTo>
                  <a:cubicBezTo>
                    <a:pt x="47899" y="73188"/>
                    <a:pt x="37444" y="65720"/>
                    <a:pt x="25495" y="58252"/>
                  </a:cubicBezTo>
                  <a:cubicBezTo>
                    <a:pt x="18027" y="53771"/>
                    <a:pt x="3090" y="49290"/>
                    <a:pt x="1597" y="44809"/>
                  </a:cubicBezTo>
                  <a:cubicBezTo>
                    <a:pt x="-1390" y="46303"/>
                    <a:pt x="-4378" y="104554"/>
                    <a:pt x="34457" y="106048"/>
                  </a:cubicBezTo>
                  <a:close/>
                  <a:moveTo>
                    <a:pt x="9065" y="76175"/>
                  </a:moveTo>
                  <a:cubicBezTo>
                    <a:pt x="7572" y="73188"/>
                    <a:pt x="6078" y="70201"/>
                    <a:pt x="6078" y="67214"/>
                  </a:cubicBezTo>
                  <a:cubicBezTo>
                    <a:pt x="6078" y="62733"/>
                    <a:pt x="9065" y="61239"/>
                    <a:pt x="13546" y="62733"/>
                  </a:cubicBezTo>
                  <a:lnTo>
                    <a:pt x="22508" y="68707"/>
                  </a:lnTo>
                  <a:cubicBezTo>
                    <a:pt x="26989" y="71695"/>
                    <a:pt x="29976" y="76175"/>
                    <a:pt x="29976" y="82150"/>
                  </a:cubicBezTo>
                  <a:cubicBezTo>
                    <a:pt x="29976" y="86631"/>
                    <a:pt x="26989" y="88124"/>
                    <a:pt x="22508" y="86631"/>
                  </a:cubicBezTo>
                  <a:lnTo>
                    <a:pt x="22508" y="86631"/>
                  </a:lnTo>
                  <a:cubicBezTo>
                    <a:pt x="21014" y="85137"/>
                    <a:pt x="19520" y="83644"/>
                    <a:pt x="19520" y="82150"/>
                  </a:cubicBezTo>
                  <a:lnTo>
                    <a:pt x="19520" y="80656"/>
                  </a:lnTo>
                  <a:cubicBezTo>
                    <a:pt x="19520" y="79163"/>
                    <a:pt x="18027" y="76175"/>
                    <a:pt x="16533" y="76175"/>
                  </a:cubicBezTo>
                  <a:lnTo>
                    <a:pt x="13546" y="74682"/>
                  </a:lnTo>
                  <a:cubicBezTo>
                    <a:pt x="12052" y="74682"/>
                    <a:pt x="10559" y="74682"/>
                    <a:pt x="10559" y="76175"/>
                  </a:cubicBezTo>
                  <a:lnTo>
                    <a:pt x="10559" y="76175"/>
                  </a:lnTo>
                  <a:cubicBezTo>
                    <a:pt x="12052" y="76175"/>
                    <a:pt x="10559" y="76175"/>
                    <a:pt x="9065" y="76175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6" name="任意多边形: 形状 9965"/>
            <p:cNvSpPr/>
            <p:nvPr/>
          </p:nvSpPr>
          <p:spPr>
            <a:xfrm>
              <a:off x="8940474" y="4222563"/>
              <a:ext cx="89618" cy="238981"/>
            </a:xfrm>
            <a:custGeom>
              <a:avLst/>
              <a:gdLst>
                <a:gd name="connsiteX0" fmla="*/ 0 w 89618"/>
                <a:gd name="connsiteY0" fmla="*/ 213590 h 238981"/>
                <a:gd name="connsiteX1" fmla="*/ 32860 w 89618"/>
                <a:gd name="connsiteY1" fmla="*/ 231513 h 238981"/>
                <a:gd name="connsiteX2" fmla="*/ 74682 w 89618"/>
                <a:gd name="connsiteY2" fmla="*/ 238981 h 238981"/>
                <a:gd name="connsiteX3" fmla="*/ 79162 w 89618"/>
                <a:gd name="connsiteY3" fmla="*/ 219564 h 238981"/>
                <a:gd name="connsiteX4" fmla="*/ 94099 w 89618"/>
                <a:gd name="connsiteY4" fmla="*/ 141895 h 238981"/>
                <a:gd name="connsiteX5" fmla="*/ 98580 w 89618"/>
                <a:gd name="connsiteY5" fmla="*/ 107542 h 238981"/>
                <a:gd name="connsiteX6" fmla="*/ 94099 w 89618"/>
                <a:gd name="connsiteY6" fmla="*/ 65720 h 238981"/>
                <a:gd name="connsiteX7" fmla="*/ 85137 w 89618"/>
                <a:gd name="connsiteY7" fmla="*/ 19418 h 238981"/>
                <a:gd name="connsiteX8" fmla="*/ 77669 w 89618"/>
                <a:gd name="connsiteY8" fmla="*/ 0 h 238981"/>
                <a:gd name="connsiteX9" fmla="*/ 73188 w 89618"/>
                <a:gd name="connsiteY9" fmla="*/ 92606 h 238981"/>
                <a:gd name="connsiteX10" fmla="*/ 71694 w 89618"/>
                <a:gd name="connsiteY10" fmla="*/ 112023 h 238981"/>
                <a:gd name="connsiteX11" fmla="*/ 67214 w 89618"/>
                <a:gd name="connsiteY11" fmla="*/ 134427 h 238981"/>
                <a:gd name="connsiteX12" fmla="*/ 0 w 89618"/>
                <a:gd name="connsiteY12" fmla="*/ 213590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618" h="238981">
                  <a:moveTo>
                    <a:pt x="0" y="213590"/>
                  </a:moveTo>
                  <a:lnTo>
                    <a:pt x="32860" y="231513"/>
                  </a:lnTo>
                  <a:cubicBezTo>
                    <a:pt x="46302" y="238981"/>
                    <a:pt x="61239" y="240475"/>
                    <a:pt x="74682" y="238981"/>
                  </a:cubicBezTo>
                  <a:cubicBezTo>
                    <a:pt x="76175" y="233007"/>
                    <a:pt x="77669" y="227033"/>
                    <a:pt x="79162" y="219564"/>
                  </a:cubicBezTo>
                  <a:cubicBezTo>
                    <a:pt x="83643" y="194172"/>
                    <a:pt x="89618" y="167287"/>
                    <a:pt x="94099" y="141895"/>
                  </a:cubicBezTo>
                  <a:cubicBezTo>
                    <a:pt x="97086" y="129946"/>
                    <a:pt x="98580" y="119491"/>
                    <a:pt x="98580" y="107542"/>
                  </a:cubicBezTo>
                  <a:cubicBezTo>
                    <a:pt x="98580" y="94099"/>
                    <a:pt x="95593" y="79163"/>
                    <a:pt x="94099" y="65720"/>
                  </a:cubicBezTo>
                  <a:cubicBezTo>
                    <a:pt x="91111" y="50783"/>
                    <a:pt x="88124" y="35847"/>
                    <a:pt x="85137" y="19418"/>
                  </a:cubicBezTo>
                  <a:cubicBezTo>
                    <a:pt x="83643" y="13443"/>
                    <a:pt x="82150" y="5974"/>
                    <a:pt x="77669" y="0"/>
                  </a:cubicBezTo>
                  <a:cubicBezTo>
                    <a:pt x="76175" y="31366"/>
                    <a:pt x="74682" y="61239"/>
                    <a:pt x="73188" y="92606"/>
                  </a:cubicBezTo>
                  <a:cubicBezTo>
                    <a:pt x="73188" y="98580"/>
                    <a:pt x="73188" y="106048"/>
                    <a:pt x="71694" y="112023"/>
                  </a:cubicBezTo>
                  <a:cubicBezTo>
                    <a:pt x="70201" y="119491"/>
                    <a:pt x="68707" y="126959"/>
                    <a:pt x="67214" y="134427"/>
                  </a:cubicBezTo>
                  <a:cubicBezTo>
                    <a:pt x="58252" y="165793"/>
                    <a:pt x="49290" y="215083"/>
                    <a:pt x="0" y="213590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7" name="任意多边形: 形状 9966"/>
            <p:cNvSpPr/>
            <p:nvPr/>
          </p:nvSpPr>
          <p:spPr>
            <a:xfrm>
              <a:off x="9016535" y="4194071"/>
              <a:ext cx="59745" cy="179236"/>
            </a:xfrm>
            <a:custGeom>
              <a:avLst/>
              <a:gdLst>
                <a:gd name="connsiteX0" fmla="*/ 10569 w 59745"/>
                <a:gd name="connsiteY0" fmla="*/ 150971 h 179236"/>
                <a:gd name="connsiteX1" fmla="*/ 43429 w 59745"/>
                <a:gd name="connsiteY1" fmla="*/ 179350 h 179236"/>
                <a:gd name="connsiteX2" fmla="*/ 43429 w 59745"/>
                <a:gd name="connsiteY2" fmla="*/ 179350 h 179236"/>
                <a:gd name="connsiteX3" fmla="*/ 71808 w 59745"/>
                <a:gd name="connsiteY3" fmla="*/ 146490 h 179236"/>
                <a:gd name="connsiteX4" fmla="*/ 61353 w 59745"/>
                <a:gd name="connsiteY4" fmla="*/ 28493 h 179236"/>
                <a:gd name="connsiteX5" fmla="*/ 28493 w 59745"/>
                <a:gd name="connsiteY5" fmla="*/ 114 h 179236"/>
                <a:gd name="connsiteX6" fmla="*/ 28493 w 59745"/>
                <a:gd name="connsiteY6" fmla="*/ 114 h 179236"/>
                <a:gd name="connsiteX7" fmla="*/ 114 w 59745"/>
                <a:gd name="connsiteY7" fmla="*/ 32974 h 179236"/>
                <a:gd name="connsiteX8" fmla="*/ 10569 w 59745"/>
                <a:gd name="connsiteY8" fmla="*/ 150971 h 17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79236">
                  <a:moveTo>
                    <a:pt x="10569" y="150971"/>
                  </a:moveTo>
                  <a:cubicBezTo>
                    <a:pt x="12063" y="167401"/>
                    <a:pt x="26999" y="180843"/>
                    <a:pt x="43429" y="179350"/>
                  </a:cubicBezTo>
                  <a:lnTo>
                    <a:pt x="43429" y="179350"/>
                  </a:lnTo>
                  <a:cubicBezTo>
                    <a:pt x="59859" y="177856"/>
                    <a:pt x="73302" y="162920"/>
                    <a:pt x="71808" y="146490"/>
                  </a:cubicBezTo>
                  <a:lnTo>
                    <a:pt x="61353" y="28493"/>
                  </a:lnTo>
                  <a:cubicBezTo>
                    <a:pt x="59859" y="12062"/>
                    <a:pt x="44923" y="-1380"/>
                    <a:pt x="28493" y="114"/>
                  </a:cubicBezTo>
                  <a:lnTo>
                    <a:pt x="28493" y="114"/>
                  </a:lnTo>
                  <a:cubicBezTo>
                    <a:pt x="12063" y="1607"/>
                    <a:pt x="-1380" y="16544"/>
                    <a:pt x="114" y="32974"/>
                  </a:cubicBezTo>
                  <a:lnTo>
                    <a:pt x="10569" y="150971"/>
                  </a:lnTo>
                  <a:close/>
                </a:path>
              </a:pathLst>
            </a:custGeom>
            <a:solidFill>
              <a:srgbClr val="A48A7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8" name="任意多边形: 形状 9967"/>
            <p:cNvSpPr/>
            <p:nvPr/>
          </p:nvSpPr>
          <p:spPr>
            <a:xfrm>
              <a:off x="8988643" y="4464532"/>
              <a:ext cx="59745" cy="89618"/>
            </a:xfrm>
            <a:custGeom>
              <a:avLst/>
              <a:gdLst>
                <a:gd name="connsiteX0" fmla="*/ 60866 w 59745"/>
                <a:gd name="connsiteY0" fmla="*/ 52277 h 89618"/>
                <a:gd name="connsiteX1" fmla="*/ 57878 w 59745"/>
                <a:gd name="connsiteY1" fmla="*/ 64226 h 89618"/>
                <a:gd name="connsiteX2" fmla="*/ 51904 w 59745"/>
                <a:gd name="connsiteY2" fmla="*/ 71694 h 89618"/>
                <a:gd name="connsiteX3" fmla="*/ 35474 w 59745"/>
                <a:gd name="connsiteY3" fmla="*/ 88124 h 89618"/>
                <a:gd name="connsiteX4" fmla="*/ 29499 w 59745"/>
                <a:gd name="connsiteY4" fmla="*/ 92605 h 89618"/>
                <a:gd name="connsiteX5" fmla="*/ 14563 w 59745"/>
                <a:gd name="connsiteY5" fmla="*/ 98580 h 89618"/>
                <a:gd name="connsiteX6" fmla="*/ 10082 w 59745"/>
                <a:gd name="connsiteY6" fmla="*/ 97086 h 89618"/>
                <a:gd name="connsiteX7" fmla="*/ 8588 w 59745"/>
                <a:gd name="connsiteY7" fmla="*/ 94099 h 89618"/>
                <a:gd name="connsiteX8" fmla="*/ 13069 w 59745"/>
                <a:gd name="connsiteY8" fmla="*/ 82150 h 89618"/>
                <a:gd name="connsiteX9" fmla="*/ 19044 w 59745"/>
                <a:gd name="connsiteY9" fmla="*/ 59745 h 89618"/>
                <a:gd name="connsiteX10" fmla="*/ 20537 w 59745"/>
                <a:gd name="connsiteY10" fmla="*/ 37341 h 89618"/>
                <a:gd name="connsiteX11" fmla="*/ 16057 w 59745"/>
                <a:gd name="connsiteY11" fmla="*/ 53771 h 89618"/>
                <a:gd name="connsiteX12" fmla="*/ 2614 w 59745"/>
                <a:gd name="connsiteY12" fmla="*/ 62732 h 89618"/>
                <a:gd name="connsiteX13" fmla="*/ 1120 w 59745"/>
                <a:gd name="connsiteY13" fmla="*/ 62732 h 89618"/>
                <a:gd name="connsiteX14" fmla="*/ 1120 w 59745"/>
                <a:gd name="connsiteY14" fmla="*/ 61239 h 89618"/>
                <a:gd name="connsiteX15" fmla="*/ 1120 w 59745"/>
                <a:gd name="connsiteY15" fmla="*/ 52277 h 89618"/>
                <a:gd name="connsiteX16" fmla="*/ 5601 w 59745"/>
                <a:gd name="connsiteY16" fmla="*/ 46303 h 89618"/>
                <a:gd name="connsiteX17" fmla="*/ 7095 w 59745"/>
                <a:gd name="connsiteY17" fmla="*/ 37341 h 89618"/>
                <a:gd name="connsiteX18" fmla="*/ 25019 w 59745"/>
                <a:gd name="connsiteY18" fmla="*/ 5974 h 89618"/>
                <a:gd name="connsiteX19" fmla="*/ 30993 w 59745"/>
                <a:gd name="connsiteY19" fmla="*/ 1494 h 89618"/>
                <a:gd name="connsiteX20" fmla="*/ 47423 w 59745"/>
                <a:gd name="connsiteY20" fmla="*/ 0 h 89618"/>
                <a:gd name="connsiteX21" fmla="*/ 50410 w 59745"/>
                <a:gd name="connsiteY21" fmla="*/ 1494 h 89618"/>
                <a:gd name="connsiteX22" fmla="*/ 51904 w 59745"/>
                <a:gd name="connsiteY22" fmla="*/ 2987 h 89618"/>
                <a:gd name="connsiteX23" fmla="*/ 60866 w 59745"/>
                <a:gd name="connsiteY23" fmla="*/ 25392 h 89618"/>
                <a:gd name="connsiteX24" fmla="*/ 60866 w 59745"/>
                <a:gd name="connsiteY24" fmla="*/ 52277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9745" h="89618">
                  <a:moveTo>
                    <a:pt x="60866" y="52277"/>
                  </a:moveTo>
                  <a:cubicBezTo>
                    <a:pt x="60866" y="56758"/>
                    <a:pt x="59372" y="61239"/>
                    <a:pt x="57878" y="64226"/>
                  </a:cubicBezTo>
                  <a:cubicBezTo>
                    <a:pt x="56385" y="67214"/>
                    <a:pt x="53397" y="68707"/>
                    <a:pt x="51904" y="71694"/>
                  </a:cubicBezTo>
                  <a:cubicBezTo>
                    <a:pt x="45929" y="77669"/>
                    <a:pt x="39955" y="83644"/>
                    <a:pt x="35474" y="88124"/>
                  </a:cubicBezTo>
                  <a:cubicBezTo>
                    <a:pt x="33980" y="89618"/>
                    <a:pt x="32487" y="91112"/>
                    <a:pt x="29499" y="92605"/>
                  </a:cubicBezTo>
                  <a:cubicBezTo>
                    <a:pt x="25019" y="95593"/>
                    <a:pt x="19044" y="98580"/>
                    <a:pt x="14563" y="98580"/>
                  </a:cubicBezTo>
                  <a:cubicBezTo>
                    <a:pt x="13069" y="98580"/>
                    <a:pt x="11576" y="98580"/>
                    <a:pt x="10082" y="97086"/>
                  </a:cubicBezTo>
                  <a:cubicBezTo>
                    <a:pt x="10082" y="97086"/>
                    <a:pt x="8588" y="95593"/>
                    <a:pt x="8588" y="94099"/>
                  </a:cubicBezTo>
                  <a:cubicBezTo>
                    <a:pt x="8588" y="89618"/>
                    <a:pt x="10082" y="86631"/>
                    <a:pt x="13069" y="82150"/>
                  </a:cubicBezTo>
                  <a:cubicBezTo>
                    <a:pt x="17550" y="76175"/>
                    <a:pt x="19044" y="67214"/>
                    <a:pt x="19044" y="59745"/>
                  </a:cubicBezTo>
                  <a:cubicBezTo>
                    <a:pt x="20537" y="52277"/>
                    <a:pt x="20537" y="44809"/>
                    <a:pt x="20537" y="37341"/>
                  </a:cubicBezTo>
                  <a:cubicBezTo>
                    <a:pt x="20537" y="43315"/>
                    <a:pt x="19044" y="49290"/>
                    <a:pt x="16057" y="53771"/>
                  </a:cubicBezTo>
                  <a:cubicBezTo>
                    <a:pt x="13069" y="58252"/>
                    <a:pt x="8588" y="62732"/>
                    <a:pt x="2614" y="62732"/>
                  </a:cubicBezTo>
                  <a:cubicBezTo>
                    <a:pt x="2614" y="62732"/>
                    <a:pt x="1120" y="62732"/>
                    <a:pt x="1120" y="62732"/>
                  </a:cubicBezTo>
                  <a:cubicBezTo>
                    <a:pt x="1120" y="62732"/>
                    <a:pt x="1120" y="62732"/>
                    <a:pt x="1120" y="61239"/>
                  </a:cubicBezTo>
                  <a:cubicBezTo>
                    <a:pt x="-373" y="58252"/>
                    <a:pt x="-373" y="55264"/>
                    <a:pt x="1120" y="52277"/>
                  </a:cubicBezTo>
                  <a:cubicBezTo>
                    <a:pt x="2614" y="50783"/>
                    <a:pt x="4108" y="47796"/>
                    <a:pt x="5601" y="46303"/>
                  </a:cubicBezTo>
                  <a:cubicBezTo>
                    <a:pt x="7095" y="43315"/>
                    <a:pt x="7095" y="40328"/>
                    <a:pt x="7095" y="37341"/>
                  </a:cubicBezTo>
                  <a:cubicBezTo>
                    <a:pt x="8588" y="25392"/>
                    <a:pt x="14563" y="13443"/>
                    <a:pt x="25019" y="5974"/>
                  </a:cubicBezTo>
                  <a:cubicBezTo>
                    <a:pt x="26512" y="4481"/>
                    <a:pt x="29499" y="2987"/>
                    <a:pt x="30993" y="1494"/>
                  </a:cubicBezTo>
                  <a:cubicBezTo>
                    <a:pt x="35474" y="0"/>
                    <a:pt x="41449" y="0"/>
                    <a:pt x="47423" y="0"/>
                  </a:cubicBezTo>
                  <a:cubicBezTo>
                    <a:pt x="48917" y="0"/>
                    <a:pt x="50410" y="0"/>
                    <a:pt x="50410" y="1494"/>
                  </a:cubicBezTo>
                  <a:cubicBezTo>
                    <a:pt x="51904" y="1494"/>
                    <a:pt x="51904" y="2987"/>
                    <a:pt x="51904" y="2987"/>
                  </a:cubicBezTo>
                  <a:cubicBezTo>
                    <a:pt x="57878" y="8962"/>
                    <a:pt x="59372" y="16430"/>
                    <a:pt x="60866" y="25392"/>
                  </a:cubicBezTo>
                  <a:cubicBezTo>
                    <a:pt x="62359" y="35847"/>
                    <a:pt x="60866" y="44809"/>
                    <a:pt x="60866" y="5227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9" name="任意多边形: 形状 9968"/>
            <p:cNvSpPr/>
            <p:nvPr/>
          </p:nvSpPr>
          <p:spPr>
            <a:xfrm>
              <a:off x="9002880" y="4313166"/>
              <a:ext cx="74682" cy="164300"/>
            </a:xfrm>
            <a:custGeom>
              <a:avLst/>
              <a:gdLst>
                <a:gd name="connsiteX0" fmla="*/ 1820 w 74681"/>
                <a:gd name="connsiteY0" fmla="*/ 140910 h 164299"/>
                <a:gd name="connsiteX1" fmla="*/ 40655 w 74681"/>
                <a:gd name="connsiteY1" fmla="*/ 178251 h 164299"/>
                <a:gd name="connsiteX2" fmla="*/ 61566 w 74681"/>
                <a:gd name="connsiteY2" fmla="*/ 152860 h 164299"/>
                <a:gd name="connsiteX3" fmla="*/ 85464 w 74681"/>
                <a:gd name="connsiteY3" fmla="*/ 36356 h 164299"/>
                <a:gd name="connsiteX4" fmla="*/ 61566 w 74681"/>
                <a:gd name="connsiteY4" fmla="*/ 509 h 164299"/>
                <a:gd name="connsiteX5" fmla="*/ 61566 w 74681"/>
                <a:gd name="connsiteY5" fmla="*/ 509 h 164299"/>
                <a:gd name="connsiteX6" fmla="*/ 25719 w 74681"/>
                <a:gd name="connsiteY6" fmla="*/ 24407 h 164299"/>
                <a:gd name="connsiteX7" fmla="*/ 1820 w 74681"/>
                <a:gd name="connsiteY7" fmla="*/ 140910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164299">
                  <a:moveTo>
                    <a:pt x="1820" y="140910"/>
                  </a:moveTo>
                  <a:cubicBezTo>
                    <a:pt x="-10128" y="179745"/>
                    <a:pt x="40655" y="178251"/>
                    <a:pt x="40655" y="178251"/>
                  </a:cubicBezTo>
                  <a:cubicBezTo>
                    <a:pt x="52604" y="178251"/>
                    <a:pt x="58578" y="170783"/>
                    <a:pt x="61566" y="152860"/>
                  </a:cubicBezTo>
                  <a:lnTo>
                    <a:pt x="85464" y="36356"/>
                  </a:lnTo>
                  <a:cubicBezTo>
                    <a:pt x="88451" y="19926"/>
                    <a:pt x="77996" y="3496"/>
                    <a:pt x="61566" y="509"/>
                  </a:cubicBezTo>
                  <a:lnTo>
                    <a:pt x="61566" y="509"/>
                  </a:lnTo>
                  <a:cubicBezTo>
                    <a:pt x="45136" y="-2479"/>
                    <a:pt x="28706" y="7977"/>
                    <a:pt x="25719" y="24407"/>
                  </a:cubicBezTo>
                  <a:lnTo>
                    <a:pt x="1820" y="140910"/>
                  </a:lnTo>
                  <a:close/>
                </a:path>
              </a:pathLst>
            </a:custGeom>
            <a:solidFill>
              <a:srgbClr val="A48A7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0" name="任意多边形: 形状 9969"/>
            <p:cNvSpPr/>
            <p:nvPr/>
          </p:nvSpPr>
          <p:spPr>
            <a:xfrm>
              <a:off x="8934309" y="2256750"/>
              <a:ext cx="29873" cy="104554"/>
            </a:xfrm>
            <a:custGeom>
              <a:avLst/>
              <a:gdLst>
                <a:gd name="connsiteX0" fmla="*/ 42012 w 29872"/>
                <a:gd name="connsiteY0" fmla="*/ 109226 h 104554"/>
                <a:gd name="connsiteX1" fmla="*/ 21101 w 29872"/>
                <a:gd name="connsiteY1" fmla="*/ 110719 h 104554"/>
                <a:gd name="connsiteX2" fmla="*/ 190 w 29872"/>
                <a:gd name="connsiteY2" fmla="*/ 22595 h 104554"/>
                <a:gd name="connsiteX3" fmla="*/ 16620 w 29872"/>
                <a:gd name="connsiteY3" fmla="*/ 190 h 104554"/>
                <a:gd name="connsiteX4" fmla="*/ 16620 w 29872"/>
                <a:gd name="connsiteY4" fmla="*/ 190 h 104554"/>
                <a:gd name="connsiteX5" fmla="*/ 39025 w 29872"/>
                <a:gd name="connsiteY5" fmla="*/ 16620 h 104554"/>
                <a:gd name="connsiteX6" fmla="*/ 42012 w 29872"/>
                <a:gd name="connsiteY6" fmla="*/ 109226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72" h="104554">
                  <a:moveTo>
                    <a:pt x="42012" y="109226"/>
                  </a:moveTo>
                  <a:lnTo>
                    <a:pt x="21101" y="110719"/>
                  </a:lnTo>
                  <a:lnTo>
                    <a:pt x="190" y="22595"/>
                  </a:lnTo>
                  <a:cubicBezTo>
                    <a:pt x="-1303" y="12139"/>
                    <a:pt x="6165" y="1684"/>
                    <a:pt x="16620" y="190"/>
                  </a:cubicBezTo>
                  <a:lnTo>
                    <a:pt x="16620" y="190"/>
                  </a:lnTo>
                  <a:cubicBezTo>
                    <a:pt x="27076" y="-1303"/>
                    <a:pt x="37531" y="6165"/>
                    <a:pt x="39025" y="16620"/>
                  </a:cubicBezTo>
                  <a:lnTo>
                    <a:pt x="42012" y="109226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1" name="任意多边形: 形状 9970"/>
            <p:cNvSpPr/>
            <p:nvPr/>
          </p:nvSpPr>
          <p:spPr>
            <a:xfrm>
              <a:off x="8953607" y="2358917"/>
              <a:ext cx="29873" cy="74682"/>
            </a:xfrm>
            <a:custGeom>
              <a:avLst/>
              <a:gdLst>
                <a:gd name="connsiteX0" fmla="*/ 21220 w 29872"/>
                <a:gd name="connsiteY0" fmla="*/ 4072 h 74681"/>
                <a:gd name="connsiteX1" fmla="*/ 1803 w 29872"/>
                <a:gd name="connsiteY1" fmla="*/ 11540 h 74681"/>
                <a:gd name="connsiteX2" fmla="*/ 309 w 29872"/>
                <a:gd name="connsiteY2" fmla="*/ 39919 h 74681"/>
                <a:gd name="connsiteX3" fmla="*/ 3296 w 29872"/>
                <a:gd name="connsiteY3" fmla="*/ 51868 h 74681"/>
                <a:gd name="connsiteX4" fmla="*/ 7778 w 29872"/>
                <a:gd name="connsiteY4" fmla="*/ 68298 h 74681"/>
                <a:gd name="connsiteX5" fmla="*/ 9271 w 29872"/>
                <a:gd name="connsiteY5" fmla="*/ 72779 h 74681"/>
                <a:gd name="connsiteX6" fmla="*/ 12258 w 29872"/>
                <a:gd name="connsiteY6" fmla="*/ 75766 h 74681"/>
                <a:gd name="connsiteX7" fmla="*/ 30182 w 29872"/>
                <a:gd name="connsiteY7" fmla="*/ 83234 h 74681"/>
                <a:gd name="connsiteX8" fmla="*/ 30182 w 29872"/>
                <a:gd name="connsiteY8" fmla="*/ 65311 h 74681"/>
                <a:gd name="connsiteX9" fmla="*/ 28688 w 29872"/>
                <a:gd name="connsiteY9" fmla="*/ 48881 h 74681"/>
                <a:gd name="connsiteX10" fmla="*/ 30182 w 29872"/>
                <a:gd name="connsiteY10" fmla="*/ 27970 h 74681"/>
                <a:gd name="connsiteX11" fmla="*/ 27195 w 29872"/>
                <a:gd name="connsiteY11" fmla="*/ 17514 h 74681"/>
                <a:gd name="connsiteX12" fmla="*/ 21220 w 29872"/>
                <a:gd name="connsiteY12" fmla="*/ 4072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72" h="74681">
                  <a:moveTo>
                    <a:pt x="21220" y="4072"/>
                  </a:moveTo>
                  <a:cubicBezTo>
                    <a:pt x="16739" y="-3397"/>
                    <a:pt x="309" y="-409"/>
                    <a:pt x="1803" y="11540"/>
                  </a:cubicBezTo>
                  <a:cubicBezTo>
                    <a:pt x="3296" y="20502"/>
                    <a:pt x="-1184" y="30957"/>
                    <a:pt x="309" y="39919"/>
                  </a:cubicBezTo>
                  <a:cubicBezTo>
                    <a:pt x="309" y="44400"/>
                    <a:pt x="1803" y="48881"/>
                    <a:pt x="3296" y="51868"/>
                  </a:cubicBezTo>
                  <a:cubicBezTo>
                    <a:pt x="4790" y="57842"/>
                    <a:pt x="6284" y="63817"/>
                    <a:pt x="7778" y="68298"/>
                  </a:cubicBezTo>
                  <a:cubicBezTo>
                    <a:pt x="7778" y="69792"/>
                    <a:pt x="9271" y="71285"/>
                    <a:pt x="9271" y="72779"/>
                  </a:cubicBezTo>
                  <a:cubicBezTo>
                    <a:pt x="10765" y="74273"/>
                    <a:pt x="10765" y="75766"/>
                    <a:pt x="12258" y="75766"/>
                  </a:cubicBezTo>
                  <a:cubicBezTo>
                    <a:pt x="15246" y="77260"/>
                    <a:pt x="27195" y="84728"/>
                    <a:pt x="30182" y="83234"/>
                  </a:cubicBezTo>
                  <a:cubicBezTo>
                    <a:pt x="33169" y="83234"/>
                    <a:pt x="31676" y="71285"/>
                    <a:pt x="30182" y="65311"/>
                  </a:cubicBezTo>
                  <a:cubicBezTo>
                    <a:pt x="30182" y="57842"/>
                    <a:pt x="30182" y="54855"/>
                    <a:pt x="28688" y="48881"/>
                  </a:cubicBezTo>
                  <a:cubicBezTo>
                    <a:pt x="27195" y="41412"/>
                    <a:pt x="30182" y="35438"/>
                    <a:pt x="30182" y="27970"/>
                  </a:cubicBezTo>
                  <a:cubicBezTo>
                    <a:pt x="30182" y="23489"/>
                    <a:pt x="28688" y="20502"/>
                    <a:pt x="27195" y="17514"/>
                  </a:cubicBezTo>
                  <a:cubicBezTo>
                    <a:pt x="25701" y="13033"/>
                    <a:pt x="24208" y="8552"/>
                    <a:pt x="21220" y="4072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2" name="任意多边形: 形状 9971"/>
            <p:cNvSpPr/>
            <p:nvPr/>
          </p:nvSpPr>
          <p:spPr>
            <a:xfrm>
              <a:off x="8967359" y="2362988"/>
              <a:ext cx="29873" cy="44809"/>
            </a:xfrm>
            <a:custGeom>
              <a:avLst/>
              <a:gdLst>
                <a:gd name="connsiteX0" fmla="*/ 29873 w 29872"/>
                <a:gd name="connsiteY0" fmla="*/ 34354 h 44809"/>
                <a:gd name="connsiteX1" fmla="*/ 35847 w 29872"/>
                <a:gd name="connsiteY1" fmla="*/ 50784 h 44809"/>
                <a:gd name="connsiteX2" fmla="*/ 29873 w 29872"/>
                <a:gd name="connsiteY2" fmla="*/ 52277 h 44809"/>
                <a:gd name="connsiteX3" fmla="*/ 25392 w 29872"/>
                <a:gd name="connsiteY3" fmla="*/ 46303 h 44809"/>
                <a:gd name="connsiteX4" fmla="*/ 22405 w 29872"/>
                <a:gd name="connsiteY4" fmla="*/ 38835 h 44809"/>
                <a:gd name="connsiteX5" fmla="*/ 10456 w 29872"/>
                <a:gd name="connsiteY5" fmla="*/ 26885 h 44809"/>
                <a:gd name="connsiteX6" fmla="*/ 2987 w 29872"/>
                <a:gd name="connsiteY6" fmla="*/ 13443 h 44809"/>
                <a:gd name="connsiteX7" fmla="*/ 0 w 29872"/>
                <a:gd name="connsiteY7" fmla="*/ 4481 h 44809"/>
                <a:gd name="connsiteX8" fmla="*/ 5974 w 29872"/>
                <a:gd name="connsiteY8" fmla="*/ 0 h 44809"/>
                <a:gd name="connsiteX9" fmla="*/ 20911 w 29872"/>
                <a:gd name="connsiteY9" fmla="*/ 19417 h 44809"/>
                <a:gd name="connsiteX10" fmla="*/ 25392 w 29872"/>
                <a:gd name="connsiteY10" fmla="*/ 26885 h 44809"/>
                <a:gd name="connsiteX11" fmla="*/ 29873 w 29872"/>
                <a:gd name="connsiteY11" fmla="*/ 34354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872" h="44809">
                  <a:moveTo>
                    <a:pt x="29873" y="34354"/>
                  </a:moveTo>
                  <a:cubicBezTo>
                    <a:pt x="31366" y="40328"/>
                    <a:pt x="34353" y="46303"/>
                    <a:pt x="35847" y="50784"/>
                  </a:cubicBezTo>
                  <a:cubicBezTo>
                    <a:pt x="34353" y="52277"/>
                    <a:pt x="31366" y="53771"/>
                    <a:pt x="29873" y="52277"/>
                  </a:cubicBezTo>
                  <a:cubicBezTo>
                    <a:pt x="28379" y="50784"/>
                    <a:pt x="26885" y="49290"/>
                    <a:pt x="25392" y="46303"/>
                  </a:cubicBezTo>
                  <a:cubicBezTo>
                    <a:pt x="23898" y="43316"/>
                    <a:pt x="23898" y="41822"/>
                    <a:pt x="22405" y="38835"/>
                  </a:cubicBezTo>
                  <a:cubicBezTo>
                    <a:pt x="19417" y="34354"/>
                    <a:pt x="14936" y="31366"/>
                    <a:pt x="10456" y="26885"/>
                  </a:cubicBezTo>
                  <a:cubicBezTo>
                    <a:pt x="7468" y="22405"/>
                    <a:pt x="4481" y="17924"/>
                    <a:pt x="2987" y="13443"/>
                  </a:cubicBezTo>
                  <a:cubicBezTo>
                    <a:pt x="1494" y="10456"/>
                    <a:pt x="1494" y="7468"/>
                    <a:pt x="0" y="4481"/>
                  </a:cubicBezTo>
                  <a:cubicBezTo>
                    <a:pt x="0" y="1494"/>
                    <a:pt x="4481" y="1494"/>
                    <a:pt x="5974" y="0"/>
                  </a:cubicBezTo>
                  <a:cubicBezTo>
                    <a:pt x="11949" y="7468"/>
                    <a:pt x="14936" y="11949"/>
                    <a:pt x="20911" y="19417"/>
                  </a:cubicBezTo>
                  <a:cubicBezTo>
                    <a:pt x="22405" y="20911"/>
                    <a:pt x="23898" y="23898"/>
                    <a:pt x="25392" y="26885"/>
                  </a:cubicBezTo>
                  <a:cubicBezTo>
                    <a:pt x="28379" y="28379"/>
                    <a:pt x="28379" y="31366"/>
                    <a:pt x="29873" y="34354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3" name="任意多边形: 形状 9972"/>
            <p:cNvSpPr/>
            <p:nvPr/>
          </p:nvSpPr>
          <p:spPr>
            <a:xfrm>
              <a:off x="8834426" y="2131475"/>
              <a:ext cx="44809" cy="104554"/>
            </a:xfrm>
            <a:custGeom>
              <a:avLst/>
              <a:gdLst>
                <a:gd name="connsiteX0" fmla="*/ 25392 w 44809"/>
                <a:gd name="connsiteY0" fmla="*/ 77669 h 104554"/>
                <a:gd name="connsiteX1" fmla="*/ 37341 w 44809"/>
                <a:gd name="connsiteY1" fmla="*/ 68707 h 104554"/>
                <a:gd name="connsiteX2" fmla="*/ 46303 w 44809"/>
                <a:gd name="connsiteY2" fmla="*/ 34354 h 104554"/>
                <a:gd name="connsiteX3" fmla="*/ 37341 w 44809"/>
                <a:gd name="connsiteY3" fmla="*/ 2987 h 104554"/>
                <a:gd name="connsiteX4" fmla="*/ 29873 w 44809"/>
                <a:gd name="connsiteY4" fmla="*/ 0 h 104554"/>
                <a:gd name="connsiteX5" fmla="*/ 23898 w 44809"/>
                <a:gd name="connsiteY5" fmla="*/ 16430 h 104554"/>
                <a:gd name="connsiteX6" fmla="*/ 10455 w 44809"/>
                <a:gd name="connsiteY6" fmla="*/ 29873 h 104554"/>
                <a:gd name="connsiteX7" fmla="*/ 0 w 44809"/>
                <a:gd name="connsiteY7" fmla="*/ 59745 h 104554"/>
                <a:gd name="connsiteX8" fmla="*/ 2987 w 44809"/>
                <a:gd name="connsiteY8" fmla="*/ 104554 h 104554"/>
                <a:gd name="connsiteX9" fmla="*/ 25392 w 44809"/>
                <a:gd name="connsiteY9" fmla="*/ 7766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09" h="104554">
                  <a:moveTo>
                    <a:pt x="25392" y="77669"/>
                  </a:moveTo>
                  <a:cubicBezTo>
                    <a:pt x="29873" y="74682"/>
                    <a:pt x="32860" y="71694"/>
                    <a:pt x="37341" y="68707"/>
                  </a:cubicBezTo>
                  <a:cubicBezTo>
                    <a:pt x="46303" y="59745"/>
                    <a:pt x="49290" y="46303"/>
                    <a:pt x="46303" y="34354"/>
                  </a:cubicBezTo>
                  <a:cubicBezTo>
                    <a:pt x="43315" y="23898"/>
                    <a:pt x="35847" y="13443"/>
                    <a:pt x="37341" y="2987"/>
                  </a:cubicBezTo>
                  <a:cubicBezTo>
                    <a:pt x="34353" y="1494"/>
                    <a:pt x="32860" y="1494"/>
                    <a:pt x="29873" y="0"/>
                  </a:cubicBezTo>
                  <a:cubicBezTo>
                    <a:pt x="31366" y="5975"/>
                    <a:pt x="28379" y="11949"/>
                    <a:pt x="23898" y="16430"/>
                  </a:cubicBezTo>
                  <a:cubicBezTo>
                    <a:pt x="19417" y="20911"/>
                    <a:pt x="14936" y="25392"/>
                    <a:pt x="10455" y="29873"/>
                  </a:cubicBezTo>
                  <a:cubicBezTo>
                    <a:pt x="2987" y="38835"/>
                    <a:pt x="0" y="49290"/>
                    <a:pt x="0" y="59745"/>
                  </a:cubicBezTo>
                  <a:cubicBezTo>
                    <a:pt x="0" y="74682"/>
                    <a:pt x="7468" y="89618"/>
                    <a:pt x="2987" y="104554"/>
                  </a:cubicBezTo>
                  <a:cubicBezTo>
                    <a:pt x="5974" y="92606"/>
                    <a:pt x="14936" y="83644"/>
                    <a:pt x="25392" y="77669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4" name="任意多边形: 形状 9973"/>
            <p:cNvSpPr/>
            <p:nvPr/>
          </p:nvSpPr>
          <p:spPr>
            <a:xfrm>
              <a:off x="8893882" y="2342078"/>
              <a:ext cx="74682" cy="283791"/>
            </a:xfrm>
            <a:custGeom>
              <a:avLst/>
              <a:gdLst>
                <a:gd name="connsiteX0" fmla="*/ 70490 w 74681"/>
                <a:gd name="connsiteY0" fmla="*/ 249437 h 283790"/>
                <a:gd name="connsiteX1" fmla="*/ 68997 w 74681"/>
                <a:gd name="connsiteY1" fmla="*/ 262880 h 283790"/>
                <a:gd name="connsiteX2" fmla="*/ 68997 w 74681"/>
                <a:gd name="connsiteY2" fmla="*/ 264373 h 283790"/>
                <a:gd name="connsiteX3" fmla="*/ 68997 w 74681"/>
                <a:gd name="connsiteY3" fmla="*/ 264373 h 283790"/>
                <a:gd name="connsiteX4" fmla="*/ 68997 w 74681"/>
                <a:gd name="connsiteY4" fmla="*/ 264373 h 283790"/>
                <a:gd name="connsiteX5" fmla="*/ 43605 w 74681"/>
                <a:gd name="connsiteY5" fmla="*/ 283791 h 283790"/>
                <a:gd name="connsiteX6" fmla="*/ 43605 w 74681"/>
                <a:gd name="connsiteY6" fmla="*/ 283791 h 283790"/>
                <a:gd name="connsiteX7" fmla="*/ 19707 w 74681"/>
                <a:gd name="connsiteY7" fmla="*/ 261386 h 283790"/>
                <a:gd name="connsiteX8" fmla="*/ 19707 w 74681"/>
                <a:gd name="connsiteY8" fmla="*/ 261386 h 283790"/>
                <a:gd name="connsiteX9" fmla="*/ 19707 w 74681"/>
                <a:gd name="connsiteY9" fmla="*/ 259892 h 283790"/>
                <a:gd name="connsiteX10" fmla="*/ 16720 w 74681"/>
                <a:gd name="connsiteY10" fmla="*/ 203134 h 283790"/>
                <a:gd name="connsiteX11" fmla="*/ 13732 w 74681"/>
                <a:gd name="connsiteY11" fmla="*/ 165793 h 283790"/>
                <a:gd name="connsiteX12" fmla="*/ 13732 w 74681"/>
                <a:gd name="connsiteY12" fmla="*/ 165793 h 283790"/>
                <a:gd name="connsiteX13" fmla="*/ 3277 w 74681"/>
                <a:gd name="connsiteY13" fmla="*/ 50783 h 283790"/>
                <a:gd name="connsiteX14" fmla="*/ 1783 w 74681"/>
                <a:gd name="connsiteY14" fmla="*/ 40328 h 283790"/>
                <a:gd name="connsiteX15" fmla="*/ 290 w 74681"/>
                <a:gd name="connsiteY15" fmla="*/ 37341 h 283790"/>
                <a:gd name="connsiteX16" fmla="*/ 9251 w 74681"/>
                <a:gd name="connsiteY16" fmla="*/ 20911 h 283790"/>
                <a:gd name="connsiteX17" fmla="*/ 52567 w 74681"/>
                <a:gd name="connsiteY17" fmla="*/ 0 h 283790"/>
                <a:gd name="connsiteX18" fmla="*/ 52567 w 74681"/>
                <a:gd name="connsiteY18" fmla="*/ 0 h 283790"/>
                <a:gd name="connsiteX19" fmla="*/ 58541 w 74681"/>
                <a:gd name="connsiteY19" fmla="*/ 16430 h 283790"/>
                <a:gd name="connsiteX20" fmla="*/ 70490 w 74681"/>
                <a:gd name="connsiteY20" fmla="*/ 249437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4681" h="283790">
                  <a:moveTo>
                    <a:pt x="70490" y="249437"/>
                  </a:moveTo>
                  <a:lnTo>
                    <a:pt x="68997" y="262880"/>
                  </a:lnTo>
                  <a:cubicBezTo>
                    <a:pt x="68997" y="262880"/>
                    <a:pt x="68997" y="262880"/>
                    <a:pt x="68997" y="264373"/>
                  </a:cubicBezTo>
                  <a:lnTo>
                    <a:pt x="68997" y="264373"/>
                  </a:lnTo>
                  <a:cubicBezTo>
                    <a:pt x="68997" y="264373"/>
                    <a:pt x="68997" y="264373"/>
                    <a:pt x="68997" y="264373"/>
                  </a:cubicBezTo>
                  <a:cubicBezTo>
                    <a:pt x="66009" y="276322"/>
                    <a:pt x="55554" y="285284"/>
                    <a:pt x="43605" y="283791"/>
                  </a:cubicBezTo>
                  <a:lnTo>
                    <a:pt x="43605" y="283791"/>
                  </a:lnTo>
                  <a:cubicBezTo>
                    <a:pt x="31656" y="283791"/>
                    <a:pt x="21200" y="273335"/>
                    <a:pt x="19707" y="261386"/>
                  </a:cubicBezTo>
                  <a:lnTo>
                    <a:pt x="19707" y="261386"/>
                  </a:lnTo>
                  <a:cubicBezTo>
                    <a:pt x="19707" y="261386"/>
                    <a:pt x="19707" y="259892"/>
                    <a:pt x="19707" y="259892"/>
                  </a:cubicBezTo>
                  <a:lnTo>
                    <a:pt x="16720" y="203134"/>
                  </a:lnTo>
                  <a:lnTo>
                    <a:pt x="13732" y="165793"/>
                  </a:lnTo>
                  <a:lnTo>
                    <a:pt x="13732" y="165793"/>
                  </a:lnTo>
                  <a:lnTo>
                    <a:pt x="3277" y="50783"/>
                  </a:lnTo>
                  <a:lnTo>
                    <a:pt x="1783" y="40328"/>
                  </a:lnTo>
                  <a:cubicBezTo>
                    <a:pt x="1783" y="38835"/>
                    <a:pt x="1783" y="38835"/>
                    <a:pt x="290" y="37341"/>
                  </a:cubicBezTo>
                  <a:cubicBezTo>
                    <a:pt x="-1204" y="31366"/>
                    <a:pt x="3277" y="25392"/>
                    <a:pt x="9251" y="20911"/>
                  </a:cubicBezTo>
                  <a:cubicBezTo>
                    <a:pt x="24188" y="7468"/>
                    <a:pt x="52567" y="0"/>
                    <a:pt x="52567" y="0"/>
                  </a:cubicBezTo>
                  <a:lnTo>
                    <a:pt x="52567" y="0"/>
                  </a:lnTo>
                  <a:cubicBezTo>
                    <a:pt x="55554" y="4481"/>
                    <a:pt x="57047" y="10455"/>
                    <a:pt x="58541" y="16430"/>
                  </a:cubicBezTo>
                  <a:cubicBezTo>
                    <a:pt x="80946" y="77669"/>
                    <a:pt x="76465" y="162806"/>
                    <a:pt x="70490" y="249437"/>
                  </a:cubicBezTo>
                  <a:close/>
                </a:path>
              </a:pathLst>
            </a:custGeom>
            <a:solidFill>
              <a:srgbClr val="1934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5" name="任意多边形: 形状 9974"/>
            <p:cNvSpPr/>
            <p:nvPr/>
          </p:nvSpPr>
          <p:spPr>
            <a:xfrm>
              <a:off x="8918070" y="2840951"/>
              <a:ext cx="14936" cy="14936"/>
            </a:xfrm>
            <a:custGeom>
              <a:avLst/>
              <a:gdLst>
                <a:gd name="connsiteX0" fmla="*/ 11949 w 0"/>
                <a:gd name="connsiteY0" fmla="*/ 0 h 14936"/>
                <a:gd name="connsiteX1" fmla="*/ 0 w 0"/>
                <a:gd name="connsiteY1" fmla="*/ 0 h 14936"/>
                <a:gd name="connsiteX2" fmla="*/ 0 w 0"/>
                <a:gd name="connsiteY2" fmla="*/ 14936 h 14936"/>
                <a:gd name="connsiteX3" fmla="*/ 11949 w 0"/>
                <a:gd name="connsiteY3" fmla="*/ 8962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936">
                  <a:moveTo>
                    <a:pt x="11949" y="0"/>
                  </a:moveTo>
                  <a:lnTo>
                    <a:pt x="0" y="0"/>
                  </a:lnTo>
                  <a:lnTo>
                    <a:pt x="0" y="14936"/>
                  </a:lnTo>
                  <a:lnTo>
                    <a:pt x="11949" y="8962"/>
                  </a:lnTo>
                  <a:close/>
                </a:path>
              </a:pathLst>
            </a:custGeom>
            <a:solidFill>
              <a:srgbClr val="94211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6" name="任意多边形: 形状 9975"/>
            <p:cNvSpPr/>
            <p:nvPr/>
          </p:nvSpPr>
          <p:spPr>
            <a:xfrm>
              <a:off x="8909489" y="2790383"/>
              <a:ext cx="44809" cy="59745"/>
            </a:xfrm>
            <a:custGeom>
              <a:avLst/>
              <a:gdLst>
                <a:gd name="connsiteX0" fmla="*/ 20529 w 44809"/>
                <a:gd name="connsiteY0" fmla="*/ 55049 h 59745"/>
                <a:gd name="connsiteX1" fmla="*/ 29491 w 44809"/>
                <a:gd name="connsiteY1" fmla="*/ 62517 h 59745"/>
                <a:gd name="connsiteX2" fmla="*/ 41440 w 44809"/>
                <a:gd name="connsiteY2" fmla="*/ 65504 h 59745"/>
                <a:gd name="connsiteX3" fmla="*/ 47414 w 44809"/>
                <a:gd name="connsiteY3" fmla="*/ 62517 h 59745"/>
                <a:gd name="connsiteX4" fmla="*/ 48908 w 44809"/>
                <a:gd name="connsiteY4" fmla="*/ 56543 h 59745"/>
                <a:gd name="connsiteX5" fmla="*/ 44427 w 44809"/>
                <a:gd name="connsiteY5" fmla="*/ 44594 h 59745"/>
                <a:gd name="connsiteX6" fmla="*/ 30985 w 44809"/>
                <a:gd name="connsiteY6" fmla="*/ 7253 h 59745"/>
                <a:gd name="connsiteX7" fmla="*/ 29491 w 44809"/>
                <a:gd name="connsiteY7" fmla="*/ 4265 h 59745"/>
                <a:gd name="connsiteX8" fmla="*/ 26503 w 44809"/>
                <a:gd name="connsiteY8" fmla="*/ 2772 h 59745"/>
                <a:gd name="connsiteX9" fmla="*/ 8580 w 44809"/>
                <a:gd name="connsiteY9" fmla="*/ 1278 h 59745"/>
                <a:gd name="connsiteX10" fmla="*/ 7086 w 44809"/>
                <a:gd name="connsiteY10" fmla="*/ 2772 h 59745"/>
                <a:gd name="connsiteX11" fmla="*/ 5593 w 44809"/>
                <a:gd name="connsiteY11" fmla="*/ 4265 h 59745"/>
                <a:gd name="connsiteX12" fmla="*/ 2605 w 44809"/>
                <a:gd name="connsiteY12" fmla="*/ 11734 h 59745"/>
                <a:gd name="connsiteX13" fmla="*/ 5593 w 44809"/>
                <a:gd name="connsiteY13" fmla="*/ 38619 h 59745"/>
                <a:gd name="connsiteX14" fmla="*/ 13061 w 44809"/>
                <a:gd name="connsiteY14" fmla="*/ 46087 h 59745"/>
                <a:gd name="connsiteX15" fmla="*/ 20529 w 44809"/>
                <a:gd name="connsiteY15" fmla="*/ 55049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59745">
                  <a:moveTo>
                    <a:pt x="20529" y="55049"/>
                  </a:moveTo>
                  <a:cubicBezTo>
                    <a:pt x="23516" y="58036"/>
                    <a:pt x="26503" y="61024"/>
                    <a:pt x="29491" y="62517"/>
                  </a:cubicBezTo>
                  <a:cubicBezTo>
                    <a:pt x="32478" y="64011"/>
                    <a:pt x="36959" y="65504"/>
                    <a:pt x="41440" y="65504"/>
                  </a:cubicBezTo>
                  <a:cubicBezTo>
                    <a:pt x="42934" y="65504"/>
                    <a:pt x="45921" y="64011"/>
                    <a:pt x="47414" y="62517"/>
                  </a:cubicBezTo>
                  <a:cubicBezTo>
                    <a:pt x="48908" y="61024"/>
                    <a:pt x="48908" y="58036"/>
                    <a:pt x="48908" y="56543"/>
                  </a:cubicBezTo>
                  <a:cubicBezTo>
                    <a:pt x="48908" y="52062"/>
                    <a:pt x="45921" y="47581"/>
                    <a:pt x="44427" y="44594"/>
                  </a:cubicBezTo>
                  <a:cubicBezTo>
                    <a:pt x="38453" y="32644"/>
                    <a:pt x="33972" y="20695"/>
                    <a:pt x="30985" y="7253"/>
                  </a:cubicBezTo>
                  <a:cubicBezTo>
                    <a:pt x="30985" y="5759"/>
                    <a:pt x="30985" y="5759"/>
                    <a:pt x="29491" y="4265"/>
                  </a:cubicBezTo>
                  <a:cubicBezTo>
                    <a:pt x="29491" y="4265"/>
                    <a:pt x="27997" y="2772"/>
                    <a:pt x="26503" y="2772"/>
                  </a:cubicBezTo>
                  <a:cubicBezTo>
                    <a:pt x="20529" y="1278"/>
                    <a:pt x="14555" y="-1709"/>
                    <a:pt x="8580" y="1278"/>
                  </a:cubicBezTo>
                  <a:cubicBezTo>
                    <a:pt x="8580" y="1278"/>
                    <a:pt x="7086" y="1278"/>
                    <a:pt x="7086" y="2772"/>
                  </a:cubicBezTo>
                  <a:cubicBezTo>
                    <a:pt x="7086" y="2772"/>
                    <a:pt x="7086" y="4265"/>
                    <a:pt x="5593" y="4265"/>
                  </a:cubicBezTo>
                  <a:cubicBezTo>
                    <a:pt x="4099" y="7253"/>
                    <a:pt x="2605" y="8746"/>
                    <a:pt x="2605" y="11734"/>
                  </a:cubicBezTo>
                  <a:cubicBezTo>
                    <a:pt x="-1875" y="20695"/>
                    <a:pt x="-382" y="31151"/>
                    <a:pt x="5593" y="38619"/>
                  </a:cubicBezTo>
                  <a:cubicBezTo>
                    <a:pt x="7086" y="41606"/>
                    <a:pt x="10073" y="44594"/>
                    <a:pt x="13061" y="46087"/>
                  </a:cubicBezTo>
                  <a:cubicBezTo>
                    <a:pt x="14555" y="49075"/>
                    <a:pt x="17542" y="52062"/>
                    <a:pt x="20529" y="5504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7" name="任意多边形: 形状 9976"/>
            <p:cNvSpPr/>
            <p:nvPr/>
          </p:nvSpPr>
          <p:spPr>
            <a:xfrm>
              <a:off x="8904340" y="2793155"/>
              <a:ext cx="74682" cy="89618"/>
            </a:xfrm>
            <a:custGeom>
              <a:avLst/>
              <a:gdLst>
                <a:gd name="connsiteX0" fmla="*/ 3274 w 74681"/>
                <a:gd name="connsiteY0" fmla="*/ 53771 h 89618"/>
                <a:gd name="connsiteX1" fmla="*/ 13729 w 74681"/>
                <a:gd name="connsiteY1" fmla="*/ 62733 h 89618"/>
                <a:gd name="connsiteX2" fmla="*/ 13729 w 74681"/>
                <a:gd name="connsiteY2" fmla="*/ 47796 h 89618"/>
                <a:gd name="connsiteX3" fmla="*/ 27172 w 74681"/>
                <a:gd name="connsiteY3" fmla="*/ 71694 h 89618"/>
                <a:gd name="connsiteX4" fmla="*/ 63019 w 74681"/>
                <a:gd name="connsiteY4" fmla="*/ 89618 h 89618"/>
                <a:gd name="connsiteX5" fmla="*/ 73475 w 74681"/>
                <a:gd name="connsiteY5" fmla="*/ 88125 h 89618"/>
                <a:gd name="connsiteX6" fmla="*/ 74968 w 74681"/>
                <a:gd name="connsiteY6" fmla="*/ 86631 h 89618"/>
                <a:gd name="connsiteX7" fmla="*/ 74968 w 74681"/>
                <a:gd name="connsiteY7" fmla="*/ 83644 h 89618"/>
                <a:gd name="connsiteX8" fmla="*/ 46589 w 74681"/>
                <a:gd name="connsiteY8" fmla="*/ 32860 h 89618"/>
                <a:gd name="connsiteX9" fmla="*/ 51070 w 74681"/>
                <a:gd name="connsiteY9" fmla="*/ 49290 h 89618"/>
                <a:gd name="connsiteX10" fmla="*/ 49576 w 74681"/>
                <a:gd name="connsiteY10" fmla="*/ 55264 h 89618"/>
                <a:gd name="connsiteX11" fmla="*/ 43602 w 74681"/>
                <a:gd name="connsiteY11" fmla="*/ 55264 h 89618"/>
                <a:gd name="connsiteX12" fmla="*/ 31652 w 74681"/>
                <a:gd name="connsiteY12" fmla="*/ 47796 h 89618"/>
                <a:gd name="connsiteX13" fmla="*/ 24184 w 74681"/>
                <a:gd name="connsiteY13" fmla="*/ 40328 h 89618"/>
                <a:gd name="connsiteX14" fmla="*/ 16716 w 74681"/>
                <a:gd name="connsiteY14" fmla="*/ 32860 h 89618"/>
                <a:gd name="connsiteX15" fmla="*/ 10742 w 74681"/>
                <a:gd name="connsiteY15" fmla="*/ 0 h 89618"/>
                <a:gd name="connsiteX16" fmla="*/ 286 w 74681"/>
                <a:gd name="connsiteY16" fmla="*/ 26885 h 89618"/>
                <a:gd name="connsiteX17" fmla="*/ 3274 w 74681"/>
                <a:gd name="connsiteY17" fmla="*/ 37341 h 89618"/>
                <a:gd name="connsiteX18" fmla="*/ 3274 w 74681"/>
                <a:gd name="connsiteY18" fmla="*/ 53771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4681" h="89618">
                  <a:moveTo>
                    <a:pt x="3274" y="53771"/>
                  </a:moveTo>
                  <a:cubicBezTo>
                    <a:pt x="6261" y="56758"/>
                    <a:pt x="10742" y="59745"/>
                    <a:pt x="13729" y="62733"/>
                  </a:cubicBezTo>
                  <a:cubicBezTo>
                    <a:pt x="13729" y="58252"/>
                    <a:pt x="13729" y="53771"/>
                    <a:pt x="13729" y="47796"/>
                  </a:cubicBezTo>
                  <a:cubicBezTo>
                    <a:pt x="21197" y="53771"/>
                    <a:pt x="22691" y="64226"/>
                    <a:pt x="27172" y="71694"/>
                  </a:cubicBezTo>
                  <a:cubicBezTo>
                    <a:pt x="34640" y="83644"/>
                    <a:pt x="49576" y="88125"/>
                    <a:pt x="63019" y="89618"/>
                  </a:cubicBezTo>
                  <a:cubicBezTo>
                    <a:pt x="66006" y="89618"/>
                    <a:pt x="70487" y="89618"/>
                    <a:pt x="73475" y="88125"/>
                  </a:cubicBezTo>
                  <a:cubicBezTo>
                    <a:pt x="73475" y="88125"/>
                    <a:pt x="74968" y="86631"/>
                    <a:pt x="74968" y="86631"/>
                  </a:cubicBezTo>
                  <a:cubicBezTo>
                    <a:pt x="74968" y="85137"/>
                    <a:pt x="74968" y="85137"/>
                    <a:pt x="74968" y="83644"/>
                  </a:cubicBezTo>
                  <a:cubicBezTo>
                    <a:pt x="66006" y="67214"/>
                    <a:pt x="57044" y="49290"/>
                    <a:pt x="46589" y="32860"/>
                  </a:cubicBezTo>
                  <a:cubicBezTo>
                    <a:pt x="48083" y="37341"/>
                    <a:pt x="49576" y="43316"/>
                    <a:pt x="51070" y="49290"/>
                  </a:cubicBezTo>
                  <a:cubicBezTo>
                    <a:pt x="51070" y="50784"/>
                    <a:pt x="51070" y="53771"/>
                    <a:pt x="49576" y="55264"/>
                  </a:cubicBezTo>
                  <a:cubicBezTo>
                    <a:pt x="48083" y="56758"/>
                    <a:pt x="46589" y="56758"/>
                    <a:pt x="43602" y="55264"/>
                  </a:cubicBezTo>
                  <a:cubicBezTo>
                    <a:pt x="39121" y="53771"/>
                    <a:pt x="36134" y="50784"/>
                    <a:pt x="31652" y="47796"/>
                  </a:cubicBezTo>
                  <a:cubicBezTo>
                    <a:pt x="28665" y="44809"/>
                    <a:pt x="25678" y="43316"/>
                    <a:pt x="24184" y="40328"/>
                  </a:cubicBezTo>
                  <a:cubicBezTo>
                    <a:pt x="21197" y="38835"/>
                    <a:pt x="19704" y="35847"/>
                    <a:pt x="16716" y="32860"/>
                  </a:cubicBezTo>
                  <a:cubicBezTo>
                    <a:pt x="9248" y="23898"/>
                    <a:pt x="7754" y="11949"/>
                    <a:pt x="10742" y="0"/>
                  </a:cubicBezTo>
                  <a:cubicBezTo>
                    <a:pt x="3274" y="5975"/>
                    <a:pt x="-1207" y="16430"/>
                    <a:pt x="286" y="26885"/>
                  </a:cubicBezTo>
                  <a:cubicBezTo>
                    <a:pt x="286" y="29873"/>
                    <a:pt x="1780" y="34354"/>
                    <a:pt x="3274" y="37341"/>
                  </a:cubicBezTo>
                  <a:cubicBezTo>
                    <a:pt x="3274" y="44809"/>
                    <a:pt x="3274" y="49290"/>
                    <a:pt x="3274" y="53771"/>
                  </a:cubicBezTo>
                  <a:close/>
                </a:path>
              </a:pathLst>
            </a:custGeom>
            <a:solidFill>
              <a:srgbClr val="E6332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8" name="任意多边形: 形状 9977"/>
            <p:cNvSpPr/>
            <p:nvPr/>
          </p:nvSpPr>
          <p:spPr>
            <a:xfrm>
              <a:off x="8904959" y="2582553"/>
              <a:ext cx="44809" cy="224045"/>
            </a:xfrm>
            <a:custGeom>
              <a:avLst/>
              <a:gdLst>
                <a:gd name="connsiteX0" fmla="*/ 35515 w 44809"/>
                <a:gd name="connsiteY0" fmla="*/ 218070 h 224045"/>
                <a:gd name="connsiteX1" fmla="*/ 10123 w 44809"/>
                <a:gd name="connsiteY1" fmla="*/ 212096 h 224045"/>
                <a:gd name="connsiteX2" fmla="*/ 7136 w 44809"/>
                <a:gd name="connsiteY2" fmla="*/ 23898 h 224045"/>
                <a:gd name="connsiteX3" fmla="*/ 32528 w 44809"/>
                <a:gd name="connsiteY3" fmla="*/ 0 h 224045"/>
                <a:gd name="connsiteX4" fmla="*/ 32528 w 44809"/>
                <a:gd name="connsiteY4" fmla="*/ 0 h 224045"/>
                <a:gd name="connsiteX5" fmla="*/ 56426 w 44809"/>
                <a:gd name="connsiteY5" fmla="*/ 25392 h 224045"/>
                <a:gd name="connsiteX6" fmla="*/ 35515 w 44809"/>
                <a:gd name="connsiteY6" fmla="*/ 218070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09" h="224045">
                  <a:moveTo>
                    <a:pt x="35515" y="218070"/>
                  </a:moveTo>
                  <a:cubicBezTo>
                    <a:pt x="29540" y="228526"/>
                    <a:pt x="11617" y="225539"/>
                    <a:pt x="10123" y="212096"/>
                  </a:cubicBezTo>
                  <a:cubicBezTo>
                    <a:pt x="-333" y="140402"/>
                    <a:pt x="-4813" y="73188"/>
                    <a:pt x="7136" y="23898"/>
                  </a:cubicBezTo>
                  <a:cubicBezTo>
                    <a:pt x="7136" y="10455"/>
                    <a:pt x="19085" y="0"/>
                    <a:pt x="32528" y="0"/>
                  </a:cubicBezTo>
                  <a:lnTo>
                    <a:pt x="32528" y="0"/>
                  </a:lnTo>
                  <a:cubicBezTo>
                    <a:pt x="45970" y="0"/>
                    <a:pt x="56426" y="11949"/>
                    <a:pt x="56426" y="25392"/>
                  </a:cubicBezTo>
                  <a:lnTo>
                    <a:pt x="35515" y="218070"/>
                  </a:lnTo>
                  <a:close/>
                </a:path>
              </a:pathLst>
            </a:custGeom>
            <a:solidFill>
              <a:srgbClr val="1934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9" name="任意多边形: 形状 9978"/>
            <p:cNvSpPr/>
            <p:nvPr/>
          </p:nvSpPr>
          <p:spPr>
            <a:xfrm>
              <a:off x="8824609" y="2351040"/>
              <a:ext cx="89618" cy="298727"/>
            </a:xfrm>
            <a:custGeom>
              <a:avLst/>
              <a:gdLst>
                <a:gd name="connsiteX0" fmla="*/ 96448 w 89618"/>
                <a:gd name="connsiteY0" fmla="*/ 14936 h 298726"/>
                <a:gd name="connsiteX1" fmla="*/ 96448 w 89618"/>
                <a:gd name="connsiteY1" fmla="*/ 22405 h 298726"/>
                <a:gd name="connsiteX2" fmla="*/ 94954 w 89618"/>
                <a:gd name="connsiteY2" fmla="*/ 37341 h 298726"/>
                <a:gd name="connsiteX3" fmla="*/ 83005 w 89618"/>
                <a:gd name="connsiteY3" fmla="*/ 156832 h 298726"/>
                <a:gd name="connsiteX4" fmla="*/ 71056 w 89618"/>
                <a:gd name="connsiteY4" fmla="*/ 276322 h 298726"/>
                <a:gd name="connsiteX5" fmla="*/ 68069 w 89618"/>
                <a:gd name="connsiteY5" fmla="*/ 289765 h 298726"/>
                <a:gd name="connsiteX6" fmla="*/ 68069 w 89618"/>
                <a:gd name="connsiteY6" fmla="*/ 291259 h 298726"/>
                <a:gd name="connsiteX7" fmla="*/ 68069 w 89618"/>
                <a:gd name="connsiteY7" fmla="*/ 291259 h 298726"/>
                <a:gd name="connsiteX8" fmla="*/ 68069 w 89618"/>
                <a:gd name="connsiteY8" fmla="*/ 291259 h 298726"/>
                <a:gd name="connsiteX9" fmla="*/ 42677 w 89618"/>
                <a:gd name="connsiteY9" fmla="*/ 310676 h 298726"/>
                <a:gd name="connsiteX10" fmla="*/ 42677 w 89618"/>
                <a:gd name="connsiteY10" fmla="*/ 310676 h 298726"/>
                <a:gd name="connsiteX11" fmla="*/ 18779 w 89618"/>
                <a:gd name="connsiteY11" fmla="*/ 288271 h 298726"/>
                <a:gd name="connsiteX12" fmla="*/ 18779 w 89618"/>
                <a:gd name="connsiteY12" fmla="*/ 288271 h 298726"/>
                <a:gd name="connsiteX13" fmla="*/ 18779 w 89618"/>
                <a:gd name="connsiteY13" fmla="*/ 286778 h 298726"/>
                <a:gd name="connsiteX14" fmla="*/ 15792 w 89618"/>
                <a:gd name="connsiteY14" fmla="*/ 230020 h 298726"/>
                <a:gd name="connsiteX15" fmla="*/ 9817 w 89618"/>
                <a:gd name="connsiteY15" fmla="*/ 147870 h 298726"/>
                <a:gd name="connsiteX16" fmla="*/ 12804 w 89618"/>
                <a:gd name="connsiteY16" fmla="*/ 41822 h 298726"/>
                <a:gd name="connsiteX17" fmla="*/ 21766 w 89618"/>
                <a:gd name="connsiteY17" fmla="*/ 16430 h 298726"/>
                <a:gd name="connsiteX18" fmla="*/ 27741 w 89618"/>
                <a:gd name="connsiteY18" fmla="*/ 0 h 298726"/>
                <a:gd name="connsiteX19" fmla="*/ 78525 w 89618"/>
                <a:gd name="connsiteY19" fmla="*/ 10455 h 298726"/>
                <a:gd name="connsiteX20" fmla="*/ 96448 w 89618"/>
                <a:gd name="connsiteY20" fmla="*/ 14936 h 29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9618" h="298726">
                  <a:moveTo>
                    <a:pt x="96448" y="14936"/>
                  </a:moveTo>
                  <a:lnTo>
                    <a:pt x="96448" y="22405"/>
                  </a:lnTo>
                  <a:lnTo>
                    <a:pt x="94954" y="37341"/>
                  </a:lnTo>
                  <a:lnTo>
                    <a:pt x="83005" y="156832"/>
                  </a:lnTo>
                  <a:lnTo>
                    <a:pt x="71056" y="276322"/>
                  </a:lnTo>
                  <a:lnTo>
                    <a:pt x="68069" y="289765"/>
                  </a:lnTo>
                  <a:cubicBezTo>
                    <a:pt x="68069" y="289765"/>
                    <a:pt x="68069" y="289765"/>
                    <a:pt x="68069" y="291259"/>
                  </a:cubicBezTo>
                  <a:lnTo>
                    <a:pt x="68069" y="291259"/>
                  </a:lnTo>
                  <a:cubicBezTo>
                    <a:pt x="68069" y="291259"/>
                    <a:pt x="68069" y="291259"/>
                    <a:pt x="68069" y="291259"/>
                  </a:cubicBezTo>
                  <a:cubicBezTo>
                    <a:pt x="65082" y="303208"/>
                    <a:pt x="54626" y="312169"/>
                    <a:pt x="42677" y="310676"/>
                  </a:cubicBezTo>
                  <a:lnTo>
                    <a:pt x="42677" y="310676"/>
                  </a:lnTo>
                  <a:cubicBezTo>
                    <a:pt x="30728" y="310676"/>
                    <a:pt x="20272" y="300220"/>
                    <a:pt x="18779" y="288271"/>
                  </a:cubicBezTo>
                  <a:lnTo>
                    <a:pt x="18779" y="288271"/>
                  </a:lnTo>
                  <a:cubicBezTo>
                    <a:pt x="18779" y="288271"/>
                    <a:pt x="18779" y="286778"/>
                    <a:pt x="18779" y="286778"/>
                  </a:cubicBezTo>
                  <a:lnTo>
                    <a:pt x="15792" y="230020"/>
                  </a:lnTo>
                  <a:lnTo>
                    <a:pt x="9817" y="147870"/>
                  </a:lnTo>
                  <a:cubicBezTo>
                    <a:pt x="855" y="122478"/>
                    <a:pt x="-8106" y="88124"/>
                    <a:pt x="12804" y="41822"/>
                  </a:cubicBezTo>
                  <a:lnTo>
                    <a:pt x="21766" y="16430"/>
                  </a:lnTo>
                  <a:lnTo>
                    <a:pt x="27741" y="0"/>
                  </a:lnTo>
                  <a:lnTo>
                    <a:pt x="78525" y="10455"/>
                  </a:lnTo>
                  <a:lnTo>
                    <a:pt x="96448" y="14936"/>
                  </a:lnTo>
                  <a:close/>
                </a:path>
              </a:pathLst>
            </a:custGeom>
            <a:solidFill>
              <a:srgbClr val="1934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0" name="任意多边形: 形状 9979"/>
            <p:cNvSpPr/>
            <p:nvPr/>
          </p:nvSpPr>
          <p:spPr>
            <a:xfrm>
              <a:off x="8847869" y="2876799"/>
              <a:ext cx="14936" cy="14936"/>
            </a:xfrm>
            <a:custGeom>
              <a:avLst/>
              <a:gdLst>
                <a:gd name="connsiteX0" fmla="*/ 11949 w 0"/>
                <a:gd name="connsiteY0" fmla="*/ 0 h 0"/>
                <a:gd name="connsiteX1" fmla="*/ 0 w 0"/>
                <a:gd name="connsiteY1" fmla="*/ 0 h 0"/>
                <a:gd name="connsiteX2" fmla="*/ 1494 w 0"/>
                <a:gd name="connsiteY2" fmla="*/ 13443 h 0"/>
                <a:gd name="connsiteX3" fmla="*/ 11949 w 0"/>
                <a:gd name="connsiteY3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949" y="0"/>
                  </a:moveTo>
                  <a:lnTo>
                    <a:pt x="0" y="0"/>
                  </a:lnTo>
                  <a:lnTo>
                    <a:pt x="1494" y="13443"/>
                  </a:lnTo>
                  <a:lnTo>
                    <a:pt x="11949" y="7468"/>
                  </a:lnTo>
                  <a:close/>
                </a:path>
              </a:pathLst>
            </a:custGeom>
            <a:solidFill>
              <a:srgbClr val="94211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1" name="任意多边形: 形状 9980"/>
            <p:cNvSpPr/>
            <p:nvPr/>
          </p:nvSpPr>
          <p:spPr>
            <a:xfrm>
              <a:off x="8840782" y="2826231"/>
              <a:ext cx="44809" cy="59745"/>
            </a:xfrm>
            <a:custGeom>
              <a:avLst/>
              <a:gdLst>
                <a:gd name="connsiteX0" fmla="*/ 20529 w 44809"/>
                <a:gd name="connsiteY0" fmla="*/ 55049 h 59745"/>
                <a:gd name="connsiteX1" fmla="*/ 29491 w 44809"/>
                <a:gd name="connsiteY1" fmla="*/ 62517 h 59745"/>
                <a:gd name="connsiteX2" fmla="*/ 41440 w 44809"/>
                <a:gd name="connsiteY2" fmla="*/ 65504 h 59745"/>
                <a:gd name="connsiteX3" fmla="*/ 47415 w 44809"/>
                <a:gd name="connsiteY3" fmla="*/ 62517 h 59745"/>
                <a:gd name="connsiteX4" fmla="*/ 48908 w 44809"/>
                <a:gd name="connsiteY4" fmla="*/ 56543 h 59745"/>
                <a:gd name="connsiteX5" fmla="*/ 44427 w 44809"/>
                <a:gd name="connsiteY5" fmla="*/ 44593 h 59745"/>
                <a:gd name="connsiteX6" fmla="*/ 30985 w 44809"/>
                <a:gd name="connsiteY6" fmla="*/ 7253 h 59745"/>
                <a:gd name="connsiteX7" fmla="*/ 29491 w 44809"/>
                <a:gd name="connsiteY7" fmla="*/ 4265 h 59745"/>
                <a:gd name="connsiteX8" fmla="*/ 26503 w 44809"/>
                <a:gd name="connsiteY8" fmla="*/ 2772 h 59745"/>
                <a:gd name="connsiteX9" fmla="*/ 8580 w 44809"/>
                <a:gd name="connsiteY9" fmla="*/ 1278 h 59745"/>
                <a:gd name="connsiteX10" fmla="*/ 7086 w 44809"/>
                <a:gd name="connsiteY10" fmla="*/ 2772 h 59745"/>
                <a:gd name="connsiteX11" fmla="*/ 5593 w 44809"/>
                <a:gd name="connsiteY11" fmla="*/ 4265 h 59745"/>
                <a:gd name="connsiteX12" fmla="*/ 2606 w 44809"/>
                <a:gd name="connsiteY12" fmla="*/ 11734 h 59745"/>
                <a:gd name="connsiteX13" fmla="*/ 5593 w 44809"/>
                <a:gd name="connsiteY13" fmla="*/ 38619 h 59745"/>
                <a:gd name="connsiteX14" fmla="*/ 13061 w 44809"/>
                <a:gd name="connsiteY14" fmla="*/ 46087 h 59745"/>
                <a:gd name="connsiteX15" fmla="*/ 20529 w 44809"/>
                <a:gd name="connsiteY15" fmla="*/ 55049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59745">
                  <a:moveTo>
                    <a:pt x="20529" y="55049"/>
                  </a:moveTo>
                  <a:cubicBezTo>
                    <a:pt x="23516" y="58036"/>
                    <a:pt x="26503" y="61024"/>
                    <a:pt x="29491" y="62517"/>
                  </a:cubicBezTo>
                  <a:cubicBezTo>
                    <a:pt x="32478" y="64011"/>
                    <a:pt x="36959" y="65504"/>
                    <a:pt x="41440" y="65504"/>
                  </a:cubicBezTo>
                  <a:cubicBezTo>
                    <a:pt x="42933" y="65504"/>
                    <a:pt x="45921" y="64011"/>
                    <a:pt x="47415" y="62517"/>
                  </a:cubicBezTo>
                  <a:cubicBezTo>
                    <a:pt x="48908" y="61024"/>
                    <a:pt x="48908" y="58036"/>
                    <a:pt x="48908" y="56543"/>
                  </a:cubicBezTo>
                  <a:cubicBezTo>
                    <a:pt x="48908" y="52062"/>
                    <a:pt x="45921" y="47581"/>
                    <a:pt x="44427" y="44593"/>
                  </a:cubicBezTo>
                  <a:cubicBezTo>
                    <a:pt x="38453" y="32645"/>
                    <a:pt x="33972" y="20695"/>
                    <a:pt x="30985" y="7253"/>
                  </a:cubicBezTo>
                  <a:cubicBezTo>
                    <a:pt x="30985" y="5759"/>
                    <a:pt x="30985" y="5759"/>
                    <a:pt x="29491" y="4265"/>
                  </a:cubicBezTo>
                  <a:cubicBezTo>
                    <a:pt x="29491" y="4265"/>
                    <a:pt x="27997" y="2772"/>
                    <a:pt x="26503" y="2772"/>
                  </a:cubicBezTo>
                  <a:cubicBezTo>
                    <a:pt x="20529" y="1278"/>
                    <a:pt x="14554" y="-1709"/>
                    <a:pt x="8580" y="1278"/>
                  </a:cubicBezTo>
                  <a:cubicBezTo>
                    <a:pt x="8580" y="1278"/>
                    <a:pt x="7086" y="1278"/>
                    <a:pt x="7086" y="2772"/>
                  </a:cubicBezTo>
                  <a:cubicBezTo>
                    <a:pt x="7086" y="2772"/>
                    <a:pt x="7086" y="4265"/>
                    <a:pt x="5593" y="4265"/>
                  </a:cubicBezTo>
                  <a:cubicBezTo>
                    <a:pt x="4099" y="7253"/>
                    <a:pt x="2606" y="8746"/>
                    <a:pt x="2606" y="11734"/>
                  </a:cubicBezTo>
                  <a:cubicBezTo>
                    <a:pt x="-1876" y="20695"/>
                    <a:pt x="-382" y="31151"/>
                    <a:pt x="5593" y="38619"/>
                  </a:cubicBezTo>
                  <a:cubicBezTo>
                    <a:pt x="7086" y="41606"/>
                    <a:pt x="10074" y="44593"/>
                    <a:pt x="13061" y="46087"/>
                  </a:cubicBezTo>
                  <a:cubicBezTo>
                    <a:pt x="14554" y="49074"/>
                    <a:pt x="17542" y="52062"/>
                    <a:pt x="20529" y="5504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2" name="任意多边形: 形状 9981"/>
            <p:cNvSpPr/>
            <p:nvPr/>
          </p:nvSpPr>
          <p:spPr>
            <a:xfrm>
              <a:off x="8834140" y="2829003"/>
              <a:ext cx="74682" cy="89618"/>
            </a:xfrm>
            <a:custGeom>
              <a:avLst/>
              <a:gdLst>
                <a:gd name="connsiteX0" fmla="*/ 3273 w 74681"/>
                <a:gd name="connsiteY0" fmla="*/ 53771 h 89618"/>
                <a:gd name="connsiteX1" fmla="*/ 13729 w 74681"/>
                <a:gd name="connsiteY1" fmla="*/ 62733 h 89618"/>
                <a:gd name="connsiteX2" fmla="*/ 13729 w 74681"/>
                <a:gd name="connsiteY2" fmla="*/ 47796 h 89618"/>
                <a:gd name="connsiteX3" fmla="*/ 27171 w 74681"/>
                <a:gd name="connsiteY3" fmla="*/ 71694 h 89618"/>
                <a:gd name="connsiteX4" fmla="*/ 63019 w 74681"/>
                <a:gd name="connsiteY4" fmla="*/ 89618 h 89618"/>
                <a:gd name="connsiteX5" fmla="*/ 73474 w 74681"/>
                <a:gd name="connsiteY5" fmla="*/ 88124 h 89618"/>
                <a:gd name="connsiteX6" fmla="*/ 74968 w 74681"/>
                <a:gd name="connsiteY6" fmla="*/ 86631 h 89618"/>
                <a:gd name="connsiteX7" fmla="*/ 74968 w 74681"/>
                <a:gd name="connsiteY7" fmla="*/ 83643 h 89618"/>
                <a:gd name="connsiteX8" fmla="*/ 46589 w 74681"/>
                <a:gd name="connsiteY8" fmla="*/ 32860 h 89618"/>
                <a:gd name="connsiteX9" fmla="*/ 51070 w 74681"/>
                <a:gd name="connsiteY9" fmla="*/ 49290 h 89618"/>
                <a:gd name="connsiteX10" fmla="*/ 49576 w 74681"/>
                <a:gd name="connsiteY10" fmla="*/ 55264 h 89618"/>
                <a:gd name="connsiteX11" fmla="*/ 43602 w 74681"/>
                <a:gd name="connsiteY11" fmla="*/ 55264 h 89618"/>
                <a:gd name="connsiteX12" fmla="*/ 31653 w 74681"/>
                <a:gd name="connsiteY12" fmla="*/ 47796 h 89618"/>
                <a:gd name="connsiteX13" fmla="*/ 24184 w 74681"/>
                <a:gd name="connsiteY13" fmla="*/ 40328 h 89618"/>
                <a:gd name="connsiteX14" fmla="*/ 16716 w 74681"/>
                <a:gd name="connsiteY14" fmla="*/ 32860 h 89618"/>
                <a:gd name="connsiteX15" fmla="*/ 10741 w 74681"/>
                <a:gd name="connsiteY15" fmla="*/ 0 h 89618"/>
                <a:gd name="connsiteX16" fmla="*/ 286 w 74681"/>
                <a:gd name="connsiteY16" fmla="*/ 26885 h 89618"/>
                <a:gd name="connsiteX17" fmla="*/ 3273 w 74681"/>
                <a:gd name="connsiteY17" fmla="*/ 37341 h 89618"/>
                <a:gd name="connsiteX18" fmla="*/ 3273 w 74681"/>
                <a:gd name="connsiteY18" fmla="*/ 53771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4681" h="89618">
                  <a:moveTo>
                    <a:pt x="3273" y="53771"/>
                  </a:moveTo>
                  <a:cubicBezTo>
                    <a:pt x="6261" y="56758"/>
                    <a:pt x="10741" y="59745"/>
                    <a:pt x="13729" y="62733"/>
                  </a:cubicBezTo>
                  <a:cubicBezTo>
                    <a:pt x="13729" y="58252"/>
                    <a:pt x="13729" y="53771"/>
                    <a:pt x="13729" y="47796"/>
                  </a:cubicBezTo>
                  <a:cubicBezTo>
                    <a:pt x="21197" y="53771"/>
                    <a:pt x="22691" y="64226"/>
                    <a:pt x="27171" y="71694"/>
                  </a:cubicBezTo>
                  <a:cubicBezTo>
                    <a:pt x="34640" y="83643"/>
                    <a:pt x="49576" y="88124"/>
                    <a:pt x="63019" y="89618"/>
                  </a:cubicBezTo>
                  <a:cubicBezTo>
                    <a:pt x="66006" y="89618"/>
                    <a:pt x="70487" y="89618"/>
                    <a:pt x="73474" y="88124"/>
                  </a:cubicBezTo>
                  <a:cubicBezTo>
                    <a:pt x="73474" y="88124"/>
                    <a:pt x="74968" y="86631"/>
                    <a:pt x="74968" y="86631"/>
                  </a:cubicBezTo>
                  <a:cubicBezTo>
                    <a:pt x="74968" y="85137"/>
                    <a:pt x="74968" y="85137"/>
                    <a:pt x="74968" y="83643"/>
                  </a:cubicBezTo>
                  <a:cubicBezTo>
                    <a:pt x="66006" y="67214"/>
                    <a:pt x="57044" y="49290"/>
                    <a:pt x="46589" y="32860"/>
                  </a:cubicBezTo>
                  <a:cubicBezTo>
                    <a:pt x="48082" y="37341"/>
                    <a:pt x="49576" y="43315"/>
                    <a:pt x="51070" y="49290"/>
                  </a:cubicBezTo>
                  <a:cubicBezTo>
                    <a:pt x="51070" y="50783"/>
                    <a:pt x="51070" y="53771"/>
                    <a:pt x="49576" y="55264"/>
                  </a:cubicBezTo>
                  <a:cubicBezTo>
                    <a:pt x="48082" y="56758"/>
                    <a:pt x="46589" y="56758"/>
                    <a:pt x="43602" y="55264"/>
                  </a:cubicBezTo>
                  <a:cubicBezTo>
                    <a:pt x="39121" y="53771"/>
                    <a:pt x="36133" y="50783"/>
                    <a:pt x="31653" y="47796"/>
                  </a:cubicBezTo>
                  <a:cubicBezTo>
                    <a:pt x="28665" y="44809"/>
                    <a:pt x="25678" y="43315"/>
                    <a:pt x="24184" y="40328"/>
                  </a:cubicBezTo>
                  <a:cubicBezTo>
                    <a:pt x="21197" y="38834"/>
                    <a:pt x="19703" y="35847"/>
                    <a:pt x="16716" y="32860"/>
                  </a:cubicBezTo>
                  <a:cubicBezTo>
                    <a:pt x="9248" y="23898"/>
                    <a:pt x="7754" y="11949"/>
                    <a:pt x="10741" y="0"/>
                  </a:cubicBezTo>
                  <a:cubicBezTo>
                    <a:pt x="3273" y="5974"/>
                    <a:pt x="-1208" y="16430"/>
                    <a:pt x="286" y="26885"/>
                  </a:cubicBezTo>
                  <a:cubicBezTo>
                    <a:pt x="286" y="29873"/>
                    <a:pt x="1780" y="34353"/>
                    <a:pt x="3273" y="37341"/>
                  </a:cubicBezTo>
                  <a:cubicBezTo>
                    <a:pt x="4767" y="43315"/>
                    <a:pt x="4767" y="47796"/>
                    <a:pt x="3273" y="53771"/>
                  </a:cubicBezTo>
                  <a:close/>
                </a:path>
              </a:pathLst>
            </a:custGeom>
            <a:solidFill>
              <a:srgbClr val="E6332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3" name="任意多边形: 形状 9982"/>
            <p:cNvSpPr/>
            <p:nvPr/>
          </p:nvSpPr>
          <p:spPr>
            <a:xfrm>
              <a:off x="8832599" y="2618400"/>
              <a:ext cx="44809" cy="224045"/>
            </a:xfrm>
            <a:custGeom>
              <a:avLst/>
              <a:gdLst>
                <a:gd name="connsiteX0" fmla="*/ 37674 w 44809"/>
                <a:gd name="connsiteY0" fmla="*/ 218071 h 224045"/>
                <a:gd name="connsiteX1" fmla="*/ 12282 w 44809"/>
                <a:gd name="connsiteY1" fmla="*/ 212096 h 224045"/>
                <a:gd name="connsiteX2" fmla="*/ 9295 w 44809"/>
                <a:gd name="connsiteY2" fmla="*/ 23898 h 224045"/>
                <a:gd name="connsiteX3" fmla="*/ 34687 w 44809"/>
                <a:gd name="connsiteY3" fmla="*/ 0 h 224045"/>
                <a:gd name="connsiteX4" fmla="*/ 34687 w 44809"/>
                <a:gd name="connsiteY4" fmla="*/ 0 h 224045"/>
                <a:gd name="connsiteX5" fmla="*/ 58585 w 44809"/>
                <a:gd name="connsiteY5" fmla="*/ 25392 h 224045"/>
                <a:gd name="connsiteX6" fmla="*/ 37674 w 44809"/>
                <a:gd name="connsiteY6" fmla="*/ 218071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09" h="224045">
                  <a:moveTo>
                    <a:pt x="37674" y="218071"/>
                  </a:moveTo>
                  <a:cubicBezTo>
                    <a:pt x="31700" y="228526"/>
                    <a:pt x="13776" y="225539"/>
                    <a:pt x="12282" y="212096"/>
                  </a:cubicBezTo>
                  <a:cubicBezTo>
                    <a:pt x="3321" y="137414"/>
                    <a:pt x="-8629" y="59745"/>
                    <a:pt x="9295" y="23898"/>
                  </a:cubicBezTo>
                  <a:cubicBezTo>
                    <a:pt x="9295" y="10455"/>
                    <a:pt x="21244" y="0"/>
                    <a:pt x="34687" y="0"/>
                  </a:cubicBezTo>
                  <a:lnTo>
                    <a:pt x="34687" y="0"/>
                  </a:lnTo>
                  <a:cubicBezTo>
                    <a:pt x="48130" y="0"/>
                    <a:pt x="58585" y="11949"/>
                    <a:pt x="58585" y="25392"/>
                  </a:cubicBezTo>
                  <a:lnTo>
                    <a:pt x="37674" y="218071"/>
                  </a:lnTo>
                  <a:close/>
                </a:path>
              </a:pathLst>
            </a:custGeom>
            <a:solidFill>
              <a:srgbClr val="1934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4" name="任意多边形: 形状 9983"/>
            <p:cNvSpPr/>
            <p:nvPr/>
          </p:nvSpPr>
          <p:spPr>
            <a:xfrm>
              <a:off x="8935993" y="2255447"/>
              <a:ext cx="29873" cy="29873"/>
            </a:xfrm>
            <a:custGeom>
              <a:avLst/>
              <a:gdLst>
                <a:gd name="connsiteX0" fmla="*/ 35847 w 29872"/>
                <a:gd name="connsiteY0" fmla="*/ 0 h 29872"/>
                <a:gd name="connsiteX1" fmla="*/ 0 w 29872"/>
                <a:gd name="connsiteY1" fmla="*/ 25392 h 29872"/>
                <a:gd name="connsiteX2" fmla="*/ 20911 w 29872"/>
                <a:gd name="connsiteY2" fmla="*/ 37341 h 29872"/>
                <a:gd name="connsiteX3" fmla="*/ 20911 w 29872"/>
                <a:gd name="connsiteY3" fmla="*/ 37341 h 29872"/>
                <a:gd name="connsiteX4" fmla="*/ 37341 w 29872"/>
                <a:gd name="connsiteY4" fmla="*/ 14936 h 29872"/>
                <a:gd name="connsiteX5" fmla="*/ 35847 w 29872"/>
                <a:gd name="connsiteY5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872" h="29872">
                  <a:moveTo>
                    <a:pt x="35847" y="0"/>
                  </a:moveTo>
                  <a:cubicBezTo>
                    <a:pt x="25392" y="11949"/>
                    <a:pt x="14936" y="22405"/>
                    <a:pt x="0" y="25392"/>
                  </a:cubicBezTo>
                  <a:cubicBezTo>
                    <a:pt x="2987" y="34354"/>
                    <a:pt x="11949" y="38835"/>
                    <a:pt x="20911" y="37341"/>
                  </a:cubicBezTo>
                  <a:lnTo>
                    <a:pt x="20911" y="37341"/>
                  </a:lnTo>
                  <a:cubicBezTo>
                    <a:pt x="31366" y="35847"/>
                    <a:pt x="38835" y="25392"/>
                    <a:pt x="37341" y="14936"/>
                  </a:cubicBezTo>
                  <a:lnTo>
                    <a:pt x="35847" y="0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5" name="任意多边形: 形状 9984"/>
            <p:cNvSpPr/>
            <p:nvPr/>
          </p:nvSpPr>
          <p:spPr>
            <a:xfrm>
              <a:off x="8920866" y="2165639"/>
              <a:ext cx="44809" cy="104554"/>
            </a:xfrm>
            <a:custGeom>
              <a:avLst/>
              <a:gdLst>
                <a:gd name="connsiteX0" fmla="*/ 50974 w 44809"/>
                <a:gd name="connsiteY0" fmla="*/ 89808 h 104554"/>
                <a:gd name="connsiteX1" fmla="*/ 39025 w 44809"/>
                <a:gd name="connsiteY1" fmla="*/ 16620 h 104554"/>
                <a:gd name="connsiteX2" fmla="*/ 16620 w 44809"/>
                <a:gd name="connsiteY2" fmla="*/ 190 h 104554"/>
                <a:gd name="connsiteX3" fmla="*/ 16620 w 44809"/>
                <a:gd name="connsiteY3" fmla="*/ 190 h 104554"/>
                <a:gd name="connsiteX4" fmla="*/ 190 w 44809"/>
                <a:gd name="connsiteY4" fmla="*/ 22595 h 104554"/>
                <a:gd name="connsiteX5" fmla="*/ 15127 w 44809"/>
                <a:gd name="connsiteY5" fmla="*/ 110719 h 104554"/>
                <a:gd name="connsiteX6" fmla="*/ 16620 w 44809"/>
                <a:gd name="connsiteY6" fmla="*/ 115200 h 104554"/>
                <a:gd name="connsiteX7" fmla="*/ 50974 w 44809"/>
                <a:gd name="connsiteY7" fmla="*/ 89808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809" h="104554">
                  <a:moveTo>
                    <a:pt x="50974" y="89808"/>
                  </a:moveTo>
                  <a:lnTo>
                    <a:pt x="39025" y="16620"/>
                  </a:lnTo>
                  <a:cubicBezTo>
                    <a:pt x="37531" y="6165"/>
                    <a:pt x="27076" y="-1303"/>
                    <a:pt x="16620" y="190"/>
                  </a:cubicBezTo>
                  <a:lnTo>
                    <a:pt x="16620" y="190"/>
                  </a:lnTo>
                  <a:cubicBezTo>
                    <a:pt x="6165" y="1684"/>
                    <a:pt x="-1303" y="12139"/>
                    <a:pt x="190" y="22595"/>
                  </a:cubicBezTo>
                  <a:lnTo>
                    <a:pt x="15127" y="110719"/>
                  </a:lnTo>
                  <a:cubicBezTo>
                    <a:pt x="15127" y="112213"/>
                    <a:pt x="15127" y="113707"/>
                    <a:pt x="16620" y="115200"/>
                  </a:cubicBezTo>
                  <a:cubicBezTo>
                    <a:pt x="28569" y="112213"/>
                    <a:pt x="40519" y="101757"/>
                    <a:pt x="50974" y="89808"/>
                  </a:cubicBezTo>
                  <a:close/>
                </a:path>
              </a:pathLst>
            </a:custGeom>
            <a:solidFill>
              <a:srgbClr val="E6332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6" name="任意多边形: 形状 9985"/>
            <p:cNvSpPr/>
            <p:nvPr/>
          </p:nvSpPr>
          <p:spPr>
            <a:xfrm>
              <a:off x="8817996" y="2146412"/>
              <a:ext cx="149363" cy="224045"/>
            </a:xfrm>
            <a:custGeom>
              <a:avLst/>
              <a:gdLst>
                <a:gd name="connsiteX0" fmla="*/ 141895 w 149363"/>
                <a:gd name="connsiteY0" fmla="*/ 131440 h 224045"/>
                <a:gd name="connsiteX1" fmla="*/ 134427 w 149363"/>
                <a:gd name="connsiteY1" fmla="*/ 138908 h 224045"/>
                <a:gd name="connsiteX2" fmla="*/ 131440 w 149363"/>
                <a:gd name="connsiteY2" fmla="*/ 150857 h 224045"/>
                <a:gd name="connsiteX3" fmla="*/ 129946 w 149363"/>
                <a:gd name="connsiteY3" fmla="*/ 182224 h 224045"/>
                <a:gd name="connsiteX4" fmla="*/ 129946 w 149363"/>
                <a:gd name="connsiteY4" fmla="*/ 185211 h 224045"/>
                <a:gd name="connsiteX5" fmla="*/ 125465 w 149363"/>
                <a:gd name="connsiteY5" fmla="*/ 209109 h 224045"/>
                <a:gd name="connsiteX6" fmla="*/ 119491 w 149363"/>
                <a:gd name="connsiteY6" fmla="*/ 216577 h 224045"/>
                <a:gd name="connsiteX7" fmla="*/ 58252 w 149363"/>
                <a:gd name="connsiteY7" fmla="*/ 231513 h 224045"/>
                <a:gd name="connsiteX8" fmla="*/ 38835 w 149363"/>
                <a:gd name="connsiteY8" fmla="*/ 218071 h 224045"/>
                <a:gd name="connsiteX9" fmla="*/ 35847 w 149363"/>
                <a:gd name="connsiteY9" fmla="*/ 206122 h 224045"/>
                <a:gd name="connsiteX10" fmla="*/ 35847 w 149363"/>
                <a:gd name="connsiteY10" fmla="*/ 198653 h 224045"/>
                <a:gd name="connsiteX11" fmla="*/ 35847 w 149363"/>
                <a:gd name="connsiteY11" fmla="*/ 195666 h 224045"/>
                <a:gd name="connsiteX12" fmla="*/ 19417 w 149363"/>
                <a:gd name="connsiteY12" fmla="*/ 140402 h 224045"/>
                <a:gd name="connsiteX13" fmla="*/ 17924 w 149363"/>
                <a:gd name="connsiteY13" fmla="*/ 138908 h 224045"/>
                <a:gd name="connsiteX14" fmla="*/ 0 w 149363"/>
                <a:gd name="connsiteY14" fmla="*/ 88125 h 224045"/>
                <a:gd name="connsiteX15" fmla="*/ 76175 w 149363"/>
                <a:gd name="connsiteY15" fmla="*/ 7468 h 224045"/>
                <a:gd name="connsiteX16" fmla="*/ 107542 w 149363"/>
                <a:gd name="connsiteY16" fmla="*/ 0 h 224045"/>
                <a:gd name="connsiteX17" fmla="*/ 134427 w 149363"/>
                <a:gd name="connsiteY17" fmla="*/ 13443 h 224045"/>
                <a:gd name="connsiteX18" fmla="*/ 138908 w 149363"/>
                <a:gd name="connsiteY18" fmla="*/ 52277 h 224045"/>
                <a:gd name="connsiteX19" fmla="*/ 153844 w 149363"/>
                <a:gd name="connsiteY19" fmla="*/ 86631 h 224045"/>
                <a:gd name="connsiteX20" fmla="*/ 141895 w 149363"/>
                <a:gd name="connsiteY20" fmla="*/ 131440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9363" h="224045">
                  <a:moveTo>
                    <a:pt x="141895" y="131440"/>
                  </a:moveTo>
                  <a:cubicBezTo>
                    <a:pt x="138908" y="134427"/>
                    <a:pt x="135921" y="135921"/>
                    <a:pt x="134427" y="138908"/>
                  </a:cubicBezTo>
                  <a:cubicBezTo>
                    <a:pt x="132933" y="141895"/>
                    <a:pt x="131440" y="146376"/>
                    <a:pt x="131440" y="150857"/>
                  </a:cubicBezTo>
                  <a:cubicBezTo>
                    <a:pt x="129946" y="161313"/>
                    <a:pt x="129946" y="171768"/>
                    <a:pt x="129946" y="182224"/>
                  </a:cubicBezTo>
                  <a:cubicBezTo>
                    <a:pt x="129946" y="183717"/>
                    <a:pt x="129946" y="183717"/>
                    <a:pt x="129946" y="185211"/>
                  </a:cubicBezTo>
                  <a:cubicBezTo>
                    <a:pt x="129946" y="194172"/>
                    <a:pt x="129946" y="201641"/>
                    <a:pt x="125465" y="209109"/>
                  </a:cubicBezTo>
                  <a:cubicBezTo>
                    <a:pt x="123971" y="212096"/>
                    <a:pt x="120984" y="213590"/>
                    <a:pt x="119491" y="216577"/>
                  </a:cubicBezTo>
                  <a:cubicBezTo>
                    <a:pt x="103061" y="231513"/>
                    <a:pt x="79162" y="237488"/>
                    <a:pt x="58252" y="231513"/>
                  </a:cubicBezTo>
                  <a:cubicBezTo>
                    <a:pt x="50783" y="230020"/>
                    <a:pt x="41822" y="225539"/>
                    <a:pt x="38835" y="218071"/>
                  </a:cubicBezTo>
                  <a:cubicBezTo>
                    <a:pt x="37341" y="213590"/>
                    <a:pt x="35847" y="210603"/>
                    <a:pt x="35847" y="206122"/>
                  </a:cubicBezTo>
                  <a:cubicBezTo>
                    <a:pt x="35847" y="203134"/>
                    <a:pt x="35847" y="201641"/>
                    <a:pt x="35847" y="198653"/>
                  </a:cubicBezTo>
                  <a:cubicBezTo>
                    <a:pt x="35847" y="197160"/>
                    <a:pt x="35847" y="197160"/>
                    <a:pt x="35847" y="195666"/>
                  </a:cubicBezTo>
                  <a:cubicBezTo>
                    <a:pt x="34353" y="176249"/>
                    <a:pt x="29873" y="156832"/>
                    <a:pt x="19417" y="140402"/>
                  </a:cubicBezTo>
                  <a:cubicBezTo>
                    <a:pt x="19417" y="140402"/>
                    <a:pt x="19417" y="138908"/>
                    <a:pt x="17924" y="138908"/>
                  </a:cubicBezTo>
                  <a:cubicBezTo>
                    <a:pt x="10456" y="126959"/>
                    <a:pt x="0" y="101567"/>
                    <a:pt x="0" y="88125"/>
                  </a:cubicBezTo>
                  <a:cubicBezTo>
                    <a:pt x="1494" y="55265"/>
                    <a:pt x="68707" y="10456"/>
                    <a:pt x="76175" y="7468"/>
                  </a:cubicBezTo>
                  <a:cubicBezTo>
                    <a:pt x="86631" y="2987"/>
                    <a:pt x="97086" y="0"/>
                    <a:pt x="107542" y="0"/>
                  </a:cubicBezTo>
                  <a:cubicBezTo>
                    <a:pt x="117997" y="0"/>
                    <a:pt x="129946" y="4481"/>
                    <a:pt x="134427" y="13443"/>
                  </a:cubicBezTo>
                  <a:cubicBezTo>
                    <a:pt x="140402" y="25392"/>
                    <a:pt x="135921" y="38835"/>
                    <a:pt x="138908" y="52277"/>
                  </a:cubicBezTo>
                  <a:cubicBezTo>
                    <a:pt x="141895" y="64226"/>
                    <a:pt x="149363" y="74682"/>
                    <a:pt x="153844" y="86631"/>
                  </a:cubicBezTo>
                  <a:cubicBezTo>
                    <a:pt x="158325" y="101567"/>
                    <a:pt x="153844" y="119491"/>
                    <a:pt x="141895" y="131440"/>
                  </a:cubicBezTo>
                  <a:close/>
                </a:path>
              </a:pathLst>
            </a:custGeom>
            <a:solidFill>
              <a:srgbClr val="E6332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7" name="任意多边形: 形状 9986"/>
            <p:cNvSpPr/>
            <p:nvPr/>
          </p:nvSpPr>
          <p:spPr>
            <a:xfrm>
              <a:off x="8868779" y="2155373"/>
              <a:ext cx="44809" cy="29873"/>
            </a:xfrm>
            <a:custGeom>
              <a:avLst/>
              <a:gdLst>
                <a:gd name="connsiteX0" fmla="*/ 53771 w 44809"/>
                <a:gd name="connsiteY0" fmla="*/ 16430 h 29872"/>
                <a:gd name="connsiteX1" fmla="*/ 53771 w 44809"/>
                <a:gd name="connsiteY1" fmla="*/ 19417 h 29872"/>
                <a:gd name="connsiteX2" fmla="*/ 52277 w 44809"/>
                <a:gd name="connsiteY2" fmla="*/ 20911 h 29872"/>
                <a:gd name="connsiteX3" fmla="*/ 44809 w 44809"/>
                <a:gd name="connsiteY3" fmla="*/ 26885 h 29872"/>
                <a:gd name="connsiteX4" fmla="*/ 7468 w 44809"/>
                <a:gd name="connsiteY4" fmla="*/ 25392 h 29872"/>
                <a:gd name="connsiteX5" fmla="*/ 0 w 44809"/>
                <a:gd name="connsiteY5" fmla="*/ 13443 h 29872"/>
                <a:gd name="connsiteX6" fmla="*/ 8962 w 44809"/>
                <a:gd name="connsiteY6" fmla="*/ 2987 h 29872"/>
                <a:gd name="connsiteX7" fmla="*/ 16430 w 44809"/>
                <a:gd name="connsiteY7" fmla="*/ 0 h 29872"/>
                <a:gd name="connsiteX8" fmla="*/ 19418 w 44809"/>
                <a:gd name="connsiteY8" fmla="*/ 0 h 29872"/>
                <a:gd name="connsiteX9" fmla="*/ 20911 w 44809"/>
                <a:gd name="connsiteY9" fmla="*/ 0 h 29872"/>
                <a:gd name="connsiteX10" fmla="*/ 28379 w 44809"/>
                <a:gd name="connsiteY10" fmla="*/ 0 h 29872"/>
                <a:gd name="connsiteX11" fmla="*/ 46303 w 44809"/>
                <a:gd name="connsiteY11" fmla="*/ 5974 h 29872"/>
                <a:gd name="connsiteX12" fmla="*/ 50783 w 44809"/>
                <a:gd name="connsiteY12" fmla="*/ 8962 h 29872"/>
                <a:gd name="connsiteX13" fmla="*/ 50783 w 44809"/>
                <a:gd name="connsiteY13" fmla="*/ 8962 h 29872"/>
                <a:gd name="connsiteX14" fmla="*/ 52277 w 44809"/>
                <a:gd name="connsiteY14" fmla="*/ 11949 h 29872"/>
                <a:gd name="connsiteX15" fmla="*/ 53771 w 44809"/>
                <a:gd name="connsiteY15" fmla="*/ 1643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29872">
                  <a:moveTo>
                    <a:pt x="53771" y="16430"/>
                  </a:moveTo>
                  <a:cubicBezTo>
                    <a:pt x="53771" y="17924"/>
                    <a:pt x="53771" y="17924"/>
                    <a:pt x="53771" y="19417"/>
                  </a:cubicBezTo>
                  <a:cubicBezTo>
                    <a:pt x="53771" y="19417"/>
                    <a:pt x="53771" y="20911"/>
                    <a:pt x="52277" y="20911"/>
                  </a:cubicBezTo>
                  <a:cubicBezTo>
                    <a:pt x="50783" y="23898"/>
                    <a:pt x="49290" y="25392"/>
                    <a:pt x="44809" y="26885"/>
                  </a:cubicBezTo>
                  <a:cubicBezTo>
                    <a:pt x="34354" y="32860"/>
                    <a:pt x="17924" y="31366"/>
                    <a:pt x="7468" y="25392"/>
                  </a:cubicBezTo>
                  <a:cubicBezTo>
                    <a:pt x="2987" y="22405"/>
                    <a:pt x="0" y="17924"/>
                    <a:pt x="0" y="13443"/>
                  </a:cubicBezTo>
                  <a:cubicBezTo>
                    <a:pt x="0" y="8962"/>
                    <a:pt x="2987" y="5974"/>
                    <a:pt x="8962" y="2987"/>
                  </a:cubicBezTo>
                  <a:cubicBezTo>
                    <a:pt x="11949" y="1494"/>
                    <a:pt x="13443" y="1494"/>
                    <a:pt x="16430" y="0"/>
                  </a:cubicBezTo>
                  <a:cubicBezTo>
                    <a:pt x="17924" y="0"/>
                    <a:pt x="19418" y="0"/>
                    <a:pt x="19418" y="0"/>
                  </a:cubicBezTo>
                  <a:cubicBezTo>
                    <a:pt x="19418" y="0"/>
                    <a:pt x="19418" y="0"/>
                    <a:pt x="20911" y="0"/>
                  </a:cubicBezTo>
                  <a:cubicBezTo>
                    <a:pt x="23898" y="0"/>
                    <a:pt x="25392" y="0"/>
                    <a:pt x="28379" y="0"/>
                  </a:cubicBezTo>
                  <a:cubicBezTo>
                    <a:pt x="34354" y="0"/>
                    <a:pt x="41822" y="1494"/>
                    <a:pt x="46303" y="5974"/>
                  </a:cubicBezTo>
                  <a:cubicBezTo>
                    <a:pt x="47796" y="7468"/>
                    <a:pt x="49290" y="7468"/>
                    <a:pt x="50783" y="8962"/>
                  </a:cubicBezTo>
                  <a:cubicBezTo>
                    <a:pt x="50783" y="8962"/>
                    <a:pt x="50783" y="8962"/>
                    <a:pt x="50783" y="8962"/>
                  </a:cubicBezTo>
                  <a:cubicBezTo>
                    <a:pt x="52277" y="10455"/>
                    <a:pt x="52277" y="10455"/>
                    <a:pt x="52277" y="11949"/>
                  </a:cubicBezTo>
                  <a:cubicBezTo>
                    <a:pt x="53771" y="13443"/>
                    <a:pt x="53771" y="14936"/>
                    <a:pt x="53771" y="1643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8" name="任意多边形: 形状 9987"/>
            <p:cNvSpPr/>
            <p:nvPr/>
          </p:nvSpPr>
          <p:spPr>
            <a:xfrm>
              <a:off x="8869373" y="2089945"/>
              <a:ext cx="44809" cy="74682"/>
            </a:xfrm>
            <a:custGeom>
              <a:avLst/>
              <a:gdLst>
                <a:gd name="connsiteX0" fmla="*/ 0 w 44809"/>
                <a:gd name="connsiteY0" fmla="*/ 79083 h 74681"/>
                <a:gd name="connsiteX1" fmla="*/ 3471 w 44809"/>
                <a:gd name="connsiteY1" fmla="*/ 0 h 74681"/>
                <a:gd name="connsiteX2" fmla="*/ 57189 w 44809"/>
                <a:gd name="connsiteY2" fmla="*/ 2358 h 74681"/>
                <a:gd name="connsiteX3" fmla="*/ 53717 w 44809"/>
                <a:gd name="connsiteY3" fmla="*/ 8144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809" h="74681">
                  <a:moveTo>
                    <a:pt x="0" y="79083"/>
                  </a:moveTo>
                  <a:lnTo>
                    <a:pt x="3471" y="0"/>
                  </a:lnTo>
                  <a:lnTo>
                    <a:pt x="57189" y="2358"/>
                  </a:lnTo>
                  <a:lnTo>
                    <a:pt x="53717" y="81441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9" name="任意多边形: 形状 9988"/>
            <p:cNvSpPr/>
            <p:nvPr/>
          </p:nvSpPr>
          <p:spPr>
            <a:xfrm>
              <a:off x="8880729" y="2095628"/>
              <a:ext cx="29873" cy="74682"/>
            </a:xfrm>
            <a:custGeom>
              <a:avLst/>
              <a:gdLst>
                <a:gd name="connsiteX0" fmla="*/ 41822 w 29872"/>
                <a:gd name="connsiteY0" fmla="*/ 68707 h 74681"/>
                <a:gd name="connsiteX1" fmla="*/ 41822 w 29872"/>
                <a:gd name="connsiteY1" fmla="*/ 76175 h 74681"/>
                <a:gd name="connsiteX2" fmla="*/ 41822 w 29872"/>
                <a:gd name="connsiteY2" fmla="*/ 79163 h 74681"/>
                <a:gd name="connsiteX3" fmla="*/ 26885 w 29872"/>
                <a:gd name="connsiteY3" fmla="*/ 76175 h 74681"/>
                <a:gd name="connsiteX4" fmla="*/ 11949 w 29872"/>
                <a:gd name="connsiteY4" fmla="*/ 65720 h 74681"/>
                <a:gd name="connsiteX5" fmla="*/ 8961 w 29872"/>
                <a:gd name="connsiteY5" fmla="*/ 61239 h 74681"/>
                <a:gd name="connsiteX6" fmla="*/ 5974 w 29872"/>
                <a:gd name="connsiteY6" fmla="*/ 56758 h 74681"/>
                <a:gd name="connsiteX7" fmla="*/ 1493 w 29872"/>
                <a:gd name="connsiteY7" fmla="*/ 43315 h 74681"/>
                <a:gd name="connsiteX8" fmla="*/ 0 w 29872"/>
                <a:gd name="connsiteY8" fmla="*/ 16430 h 74681"/>
                <a:gd name="connsiteX9" fmla="*/ 0 w 29872"/>
                <a:gd name="connsiteY9" fmla="*/ 0 h 74681"/>
                <a:gd name="connsiteX10" fmla="*/ 0 w 29872"/>
                <a:gd name="connsiteY10" fmla="*/ 5974 h 74681"/>
                <a:gd name="connsiteX11" fmla="*/ 1493 w 29872"/>
                <a:gd name="connsiteY11" fmla="*/ 32860 h 74681"/>
                <a:gd name="connsiteX12" fmla="*/ 10455 w 29872"/>
                <a:gd name="connsiteY12" fmla="*/ 55264 h 74681"/>
                <a:gd name="connsiteX13" fmla="*/ 11949 w 29872"/>
                <a:gd name="connsiteY13" fmla="*/ 56758 h 74681"/>
                <a:gd name="connsiteX14" fmla="*/ 16430 w 29872"/>
                <a:gd name="connsiteY14" fmla="*/ 61239 h 74681"/>
                <a:gd name="connsiteX15" fmla="*/ 38834 w 29872"/>
                <a:gd name="connsiteY15" fmla="*/ 70201 h 74681"/>
                <a:gd name="connsiteX16" fmla="*/ 41822 w 29872"/>
                <a:gd name="connsiteY16" fmla="*/ 6870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72" h="74681">
                  <a:moveTo>
                    <a:pt x="41822" y="68707"/>
                  </a:moveTo>
                  <a:lnTo>
                    <a:pt x="41822" y="76175"/>
                  </a:lnTo>
                  <a:cubicBezTo>
                    <a:pt x="41822" y="77669"/>
                    <a:pt x="41822" y="77669"/>
                    <a:pt x="41822" y="79163"/>
                  </a:cubicBezTo>
                  <a:cubicBezTo>
                    <a:pt x="37341" y="79163"/>
                    <a:pt x="31366" y="77669"/>
                    <a:pt x="26885" y="76175"/>
                  </a:cubicBezTo>
                  <a:cubicBezTo>
                    <a:pt x="20911" y="73188"/>
                    <a:pt x="16430" y="70201"/>
                    <a:pt x="11949" y="65720"/>
                  </a:cubicBezTo>
                  <a:cubicBezTo>
                    <a:pt x="10455" y="64226"/>
                    <a:pt x="8961" y="62733"/>
                    <a:pt x="8961" y="61239"/>
                  </a:cubicBezTo>
                  <a:cubicBezTo>
                    <a:pt x="7468" y="59745"/>
                    <a:pt x="7468" y="58252"/>
                    <a:pt x="5974" y="56758"/>
                  </a:cubicBezTo>
                  <a:cubicBezTo>
                    <a:pt x="4481" y="52277"/>
                    <a:pt x="2987" y="47796"/>
                    <a:pt x="1493" y="43315"/>
                  </a:cubicBezTo>
                  <a:cubicBezTo>
                    <a:pt x="0" y="34354"/>
                    <a:pt x="0" y="25392"/>
                    <a:pt x="0" y="16430"/>
                  </a:cubicBezTo>
                  <a:cubicBezTo>
                    <a:pt x="0" y="11949"/>
                    <a:pt x="0" y="5974"/>
                    <a:pt x="0" y="0"/>
                  </a:cubicBezTo>
                  <a:cubicBezTo>
                    <a:pt x="0" y="2987"/>
                    <a:pt x="0" y="4481"/>
                    <a:pt x="0" y="5974"/>
                  </a:cubicBezTo>
                  <a:cubicBezTo>
                    <a:pt x="0" y="14936"/>
                    <a:pt x="0" y="23898"/>
                    <a:pt x="1493" y="32860"/>
                  </a:cubicBezTo>
                  <a:cubicBezTo>
                    <a:pt x="2987" y="40328"/>
                    <a:pt x="5974" y="49290"/>
                    <a:pt x="10455" y="55264"/>
                  </a:cubicBezTo>
                  <a:cubicBezTo>
                    <a:pt x="10455" y="55264"/>
                    <a:pt x="11949" y="56758"/>
                    <a:pt x="11949" y="56758"/>
                  </a:cubicBezTo>
                  <a:cubicBezTo>
                    <a:pt x="13443" y="58252"/>
                    <a:pt x="14936" y="59745"/>
                    <a:pt x="16430" y="61239"/>
                  </a:cubicBezTo>
                  <a:cubicBezTo>
                    <a:pt x="20911" y="65720"/>
                    <a:pt x="31366" y="68707"/>
                    <a:pt x="38834" y="70201"/>
                  </a:cubicBezTo>
                  <a:cubicBezTo>
                    <a:pt x="40328" y="68707"/>
                    <a:pt x="40328" y="68707"/>
                    <a:pt x="41822" y="68707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0" name="任意多边形: 形状 9989"/>
            <p:cNvSpPr/>
            <p:nvPr/>
          </p:nvSpPr>
          <p:spPr>
            <a:xfrm>
              <a:off x="8874449" y="2053409"/>
              <a:ext cx="59745" cy="104554"/>
            </a:xfrm>
            <a:custGeom>
              <a:avLst/>
              <a:gdLst>
                <a:gd name="connsiteX0" fmla="*/ 3292 w 59745"/>
                <a:gd name="connsiteY0" fmla="*/ 55662 h 104554"/>
                <a:gd name="connsiteX1" fmla="*/ 7773 w 59745"/>
                <a:gd name="connsiteY1" fmla="*/ 79560 h 104554"/>
                <a:gd name="connsiteX2" fmla="*/ 51089 w 59745"/>
                <a:gd name="connsiteY2" fmla="*/ 113914 h 104554"/>
                <a:gd name="connsiteX3" fmla="*/ 73493 w 59745"/>
                <a:gd name="connsiteY3" fmla="*/ 28776 h 104554"/>
                <a:gd name="connsiteX4" fmla="*/ 71999 w 59745"/>
                <a:gd name="connsiteY4" fmla="*/ 18321 h 104554"/>
                <a:gd name="connsiteX5" fmla="*/ 51089 w 59745"/>
                <a:gd name="connsiteY5" fmla="*/ 397 h 104554"/>
                <a:gd name="connsiteX6" fmla="*/ 19722 w 59745"/>
                <a:gd name="connsiteY6" fmla="*/ 4878 h 104554"/>
                <a:gd name="connsiteX7" fmla="*/ 12254 w 59745"/>
                <a:gd name="connsiteY7" fmla="*/ 9359 h 104554"/>
                <a:gd name="connsiteX8" fmla="*/ 305 w 59745"/>
                <a:gd name="connsiteY8" fmla="*/ 9359 h 104554"/>
                <a:gd name="connsiteX9" fmla="*/ 3292 w 59745"/>
                <a:gd name="connsiteY9" fmla="*/ 55662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745" h="104554">
                  <a:moveTo>
                    <a:pt x="3292" y="55662"/>
                  </a:moveTo>
                  <a:cubicBezTo>
                    <a:pt x="3292" y="64624"/>
                    <a:pt x="6280" y="70598"/>
                    <a:pt x="7773" y="79560"/>
                  </a:cubicBezTo>
                  <a:cubicBezTo>
                    <a:pt x="13748" y="106445"/>
                    <a:pt x="39139" y="118394"/>
                    <a:pt x="51089" y="113914"/>
                  </a:cubicBezTo>
                  <a:cubicBezTo>
                    <a:pt x="69012" y="109433"/>
                    <a:pt x="74986" y="51181"/>
                    <a:pt x="73493" y="28776"/>
                  </a:cubicBezTo>
                  <a:cubicBezTo>
                    <a:pt x="73493" y="25789"/>
                    <a:pt x="73493" y="21308"/>
                    <a:pt x="71999" y="18321"/>
                  </a:cubicBezTo>
                  <a:cubicBezTo>
                    <a:pt x="69012" y="7865"/>
                    <a:pt x="61544" y="1891"/>
                    <a:pt x="51089" y="397"/>
                  </a:cubicBezTo>
                  <a:cubicBezTo>
                    <a:pt x="40633" y="-1096"/>
                    <a:pt x="28684" y="1891"/>
                    <a:pt x="19722" y="4878"/>
                  </a:cubicBezTo>
                  <a:cubicBezTo>
                    <a:pt x="16735" y="6372"/>
                    <a:pt x="13748" y="7865"/>
                    <a:pt x="12254" y="9359"/>
                  </a:cubicBezTo>
                  <a:cubicBezTo>
                    <a:pt x="10760" y="10853"/>
                    <a:pt x="1798" y="7865"/>
                    <a:pt x="305" y="9359"/>
                  </a:cubicBezTo>
                  <a:cubicBezTo>
                    <a:pt x="-1189" y="10853"/>
                    <a:pt x="3292" y="42219"/>
                    <a:pt x="3292" y="55662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1" name="任意多边形: 形状 9990"/>
            <p:cNvSpPr/>
            <p:nvPr/>
          </p:nvSpPr>
          <p:spPr>
            <a:xfrm>
              <a:off x="8849635" y="2034903"/>
              <a:ext cx="89618" cy="104554"/>
            </a:xfrm>
            <a:custGeom>
              <a:avLst/>
              <a:gdLst>
                <a:gd name="connsiteX0" fmla="*/ 32587 w 89618"/>
                <a:gd name="connsiteY0" fmla="*/ 3967 h 104554"/>
                <a:gd name="connsiteX1" fmla="*/ 4208 w 89618"/>
                <a:gd name="connsiteY1" fmla="*/ 30853 h 104554"/>
                <a:gd name="connsiteX2" fmla="*/ 20638 w 89618"/>
                <a:gd name="connsiteY2" fmla="*/ 107028 h 104554"/>
                <a:gd name="connsiteX3" fmla="*/ 22132 w 89618"/>
                <a:gd name="connsiteY3" fmla="*/ 84623 h 104554"/>
                <a:gd name="connsiteX4" fmla="*/ 31094 w 89618"/>
                <a:gd name="connsiteY4" fmla="*/ 54751 h 104554"/>
                <a:gd name="connsiteX5" fmla="*/ 98308 w 89618"/>
                <a:gd name="connsiteY5" fmla="*/ 41308 h 104554"/>
                <a:gd name="connsiteX6" fmla="*/ 32587 w 89618"/>
                <a:gd name="connsiteY6" fmla="*/ 3967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618" h="104554">
                  <a:moveTo>
                    <a:pt x="32587" y="3967"/>
                  </a:moveTo>
                  <a:cubicBezTo>
                    <a:pt x="20638" y="6954"/>
                    <a:pt x="7196" y="20397"/>
                    <a:pt x="4208" y="30853"/>
                  </a:cubicBezTo>
                  <a:cubicBezTo>
                    <a:pt x="-9234" y="74168"/>
                    <a:pt x="13170" y="102547"/>
                    <a:pt x="20638" y="107028"/>
                  </a:cubicBezTo>
                  <a:cubicBezTo>
                    <a:pt x="20638" y="92092"/>
                    <a:pt x="22132" y="87611"/>
                    <a:pt x="22132" y="84623"/>
                  </a:cubicBezTo>
                  <a:cubicBezTo>
                    <a:pt x="22132" y="81636"/>
                    <a:pt x="26613" y="71181"/>
                    <a:pt x="31094" y="54751"/>
                  </a:cubicBezTo>
                  <a:cubicBezTo>
                    <a:pt x="43043" y="26372"/>
                    <a:pt x="98308" y="12929"/>
                    <a:pt x="98308" y="41308"/>
                  </a:cubicBezTo>
                  <a:cubicBezTo>
                    <a:pt x="99801" y="42802"/>
                    <a:pt x="98308" y="-15450"/>
                    <a:pt x="32587" y="3967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2" name="任意多边形: 形状 9991"/>
            <p:cNvSpPr/>
            <p:nvPr/>
          </p:nvSpPr>
          <p:spPr>
            <a:xfrm>
              <a:off x="8865792" y="2098615"/>
              <a:ext cx="14936" cy="14936"/>
            </a:xfrm>
            <a:custGeom>
              <a:avLst/>
              <a:gdLst>
                <a:gd name="connsiteX0" fmla="*/ 5974 w 14936"/>
                <a:gd name="connsiteY0" fmla="*/ 0 h 14936"/>
                <a:gd name="connsiteX1" fmla="*/ 13443 w 14936"/>
                <a:gd name="connsiteY1" fmla="*/ 4481 h 14936"/>
                <a:gd name="connsiteX2" fmla="*/ 16430 w 14936"/>
                <a:gd name="connsiteY2" fmla="*/ 13443 h 14936"/>
                <a:gd name="connsiteX3" fmla="*/ 14936 w 14936"/>
                <a:gd name="connsiteY3" fmla="*/ 25392 h 14936"/>
                <a:gd name="connsiteX4" fmla="*/ 11949 w 14936"/>
                <a:gd name="connsiteY4" fmla="*/ 28379 h 14936"/>
                <a:gd name="connsiteX5" fmla="*/ 5974 w 14936"/>
                <a:gd name="connsiteY5" fmla="*/ 26885 h 14936"/>
                <a:gd name="connsiteX6" fmla="*/ 2987 w 14936"/>
                <a:gd name="connsiteY6" fmla="*/ 22405 h 14936"/>
                <a:gd name="connsiteX7" fmla="*/ 0 w 14936"/>
                <a:gd name="connsiteY7" fmla="*/ 8962 h 14936"/>
                <a:gd name="connsiteX8" fmla="*/ 0 w 14936"/>
                <a:gd name="connsiteY8" fmla="*/ 2987 h 14936"/>
                <a:gd name="connsiteX9" fmla="*/ 5974 w 14936"/>
                <a:gd name="connsiteY9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14936">
                  <a:moveTo>
                    <a:pt x="5974" y="0"/>
                  </a:moveTo>
                  <a:cubicBezTo>
                    <a:pt x="8961" y="0"/>
                    <a:pt x="11949" y="1494"/>
                    <a:pt x="13443" y="4481"/>
                  </a:cubicBezTo>
                  <a:cubicBezTo>
                    <a:pt x="14936" y="7468"/>
                    <a:pt x="14936" y="10455"/>
                    <a:pt x="16430" y="13443"/>
                  </a:cubicBezTo>
                  <a:cubicBezTo>
                    <a:pt x="16430" y="17924"/>
                    <a:pt x="17923" y="20911"/>
                    <a:pt x="14936" y="25392"/>
                  </a:cubicBezTo>
                  <a:cubicBezTo>
                    <a:pt x="14936" y="26885"/>
                    <a:pt x="13443" y="26885"/>
                    <a:pt x="11949" y="28379"/>
                  </a:cubicBezTo>
                  <a:cubicBezTo>
                    <a:pt x="10455" y="28379"/>
                    <a:pt x="7468" y="28379"/>
                    <a:pt x="5974" y="26885"/>
                  </a:cubicBezTo>
                  <a:cubicBezTo>
                    <a:pt x="4481" y="25392"/>
                    <a:pt x="4481" y="23898"/>
                    <a:pt x="2987" y="22405"/>
                  </a:cubicBezTo>
                  <a:cubicBezTo>
                    <a:pt x="1493" y="17924"/>
                    <a:pt x="0" y="13443"/>
                    <a:pt x="0" y="8962"/>
                  </a:cubicBezTo>
                  <a:cubicBezTo>
                    <a:pt x="0" y="7468"/>
                    <a:pt x="0" y="4481"/>
                    <a:pt x="0" y="2987"/>
                  </a:cubicBezTo>
                  <a:cubicBezTo>
                    <a:pt x="1493" y="1494"/>
                    <a:pt x="2987" y="0"/>
                    <a:pt x="5974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3" name="任意多边形: 形状 9992"/>
            <p:cNvSpPr/>
            <p:nvPr/>
          </p:nvSpPr>
          <p:spPr>
            <a:xfrm>
              <a:off x="8869987" y="2265902"/>
              <a:ext cx="59745" cy="29873"/>
            </a:xfrm>
            <a:custGeom>
              <a:avLst/>
              <a:gdLst>
                <a:gd name="connsiteX0" fmla="*/ 42108 w 59745"/>
                <a:gd name="connsiteY0" fmla="*/ 35847 h 29872"/>
                <a:gd name="connsiteX1" fmla="*/ 10742 w 59745"/>
                <a:gd name="connsiteY1" fmla="*/ 29873 h 29872"/>
                <a:gd name="connsiteX2" fmla="*/ 286 w 59745"/>
                <a:gd name="connsiteY2" fmla="*/ 0 h 29872"/>
                <a:gd name="connsiteX3" fmla="*/ 24184 w 59745"/>
                <a:gd name="connsiteY3" fmla="*/ 26885 h 29872"/>
                <a:gd name="connsiteX4" fmla="*/ 60032 w 59745"/>
                <a:gd name="connsiteY4" fmla="*/ 23898 h 29872"/>
                <a:gd name="connsiteX5" fmla="*/ 42108 w 59745"/>
                <a:gd name="connsiteY5" fmla="*/ 35847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745" h="29872">
                  <a:moveTo>
                    <a:pt x="42108" y="35847"/>
                  </a:moveTo>
                  <a:cubicBezTo>
                    <a:pt x="31653" y="38835"/>
                    <a:pt x="19703" y="37341"/>
                    <a:pt x="10742" y="29873"/>
                  </a:cubicBezTo>
                  <a:cubicBezTo>
                    <a:pt x="3274" y="22405"/>
                    <a:pt x="-1208" y="10456"/>
                    <a:pt x="286" y="0"/>
                  </a:cubicBezTo>
                  <a:cubicBezTo>
                    <a:pt x="4767" y="11949"/>
                    <a:pt x="12235" y="22405"/>
                    <a:pt x="24184" y="26885"/>
                  </a:cubicBezTo>
                  <a:cubicBezTo>
                    <a:pt x="36133" y="31366"/>
                    <a:pt x="49576" y="31366"/>
                    <a:pt x="60032" y="23898"/>
                  </a:cubicBezTo>
                  <a:cubicBezTo>
                    <a:pt x="55551" y="28379"/>
                    <a:pt x="49576" y="32860"/>
                    <a:pt x="42108" y="35847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4" name="任意多边形: 形状 9993"/>
            <p:cNvSpPr/>
            <p:nvPr/>
          </p:nvSpPr>
          <p:spPr>
            <a:xfrm>
              <a:off x="8835920" y="2231549"/>
              <a:ext cx="14936" cy="119491"/>
            </a:xfrm>
            <a:custGeom>
              <a:avLst/>
              <a:gdLst>
                <a:gd name="connsiteX0" fmla="*/ 17923 w 14936"/>
                <a:gd name="connsiteY0" fmla="*/ 91112 h 119490"/>
                <a:gd name="connsiteX1" fmla="*/ 16430 w 14936"/>
                <a:gd name="connsiteY1" fmla="*/ 119491 h 119490"/>
                <a:gd name="connsiteX2" fmla="*/ 16430 w 14936"/>
                <a:gd name="connsiteY2" fmla="*/ 112023 h 119490"/>
                <a:gd name="connsiteX3" fmla="*/ 0 w 14936"/>
                <a:gd name="connsiteY3" fmla="*/ 53771 h 119490"/>
                <a:gd name="connsiteX4" fmla="*/ 1493 w 14936"/>
                <a:gd name="connsiteY4" fmla="*/ 46303 h 119490"/>
                <a:gd name="connsiteX5" fmla="*/ 20911 w 14936"/>
                <a:gd name="connsiteY5" fmla="*/ 0 h 119490"/>
                <a:gd name="connsiteX6" fmla="*/ 17923 w 14936"/>
                <a:gd name="connsiteY6" fmla="*/ 91112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36" h="119490">
                  <a:moveTo>
                    <a:pt x="17923" y="91112"/>
                  </a:moveTo>
                  <a:cubicBezTo>
                    <a:pt x="17923" y="100073"/>
                    <a:pt x="20911" y="110529"/>
                    <a:pt x="16430" y="119491"/>
                  </a:cubicBezTo>
                  <a:cubicBezTo>
                    <a:pt x="16430" y="116503"/>
                    <a:pt x="16430" y="115010"/>
                    <a:pt x="16430" y="112023"/>
                  </a:cubicBezTo>
                  <a:cubicBezTo>
                    <a:pt x="16430" y="91112"/>
                    <a:pt x="10455" y="71694"/>
                    <a:pt x="0" y="53771"/>
                  </a:cubicBezTo>
                  <a:cubicBezTo>
                    <a:pt x="0" y="50783"/>
                    <a:pt x="1493" y="49290"/>
                    <a:pt x="1493" y="46303"/>
                  </a:cubicBezTo>
                  <a:cubicBezTo>
                    <a:pt x="5974" y="29873"/>
                    <a:pt x="10455" y="13443"/>
                    <a:pt x="20911" y="0"/>
                  </a:cubicBezTo>
                  <a:cubicBezTo>
                    <a:pt x="28379" y="29873"/>
                    <a:pt x="16430" y="61239"/>
                    <a:pt x="17923" y="91112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5" name="任意多边形: 形状 9994"/>
            <p:cNvSpPr/>
            <p:nvPr/>
          </p:nvSpPr>
          <p:spPr>
            <a:xfrm>
              <a:off x="8802869" y="2315192"/>
              <a:ext cx="29873" cy="29873"/>
            </a:xfrm>
            <a:custGeom>
              <a:avLst/>
              <a:gdLst>
                <a:gd name="connsiteX0" fmla="*/ 1684 w 29872"/>
                <a:gd name="connsiteY0" fmla="*/ 0 h 29872"/>
                <a:gd name="connsiteX1" fmla="*/ 190 w 29872"/>
                <a:gd name="connsiteY1" fmla="*/ 7468 h 29872"/>
                <a:gd name="connsiteX2" fmla="*/ 16620 w 29872"/>
                <a:gd name="connsiteY2" fmla="*/ 31366 h 29872"/>
                <a:gd name="connsiteX3" fmla="*/ 16620 w 29872"/>
                <a:gd name="connsiteY3" fmla="*/ 31366 h 29872"/>
                <a:gd name="connsiteX4" fmla="*/ 40519 w 29872"/>
                <a:gd name="connsiteY4" fmla="*/ 14936 h 29872"/>
                <a:gd name="connsiteX5" fmla="*/ 42012 w 29872"/>
                <a:gd name="connsiteY5" fmla="*/ 8962 h 29872"/>
                <a:gd name="connsiteX6" fmla="*/ 1684 w 29872"/>
                <a:gd name="connsiteY6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72" h="29872">
                  <a:moveTo>
                    <a:pt x="1684" y="0"/>
                  </a:moveTo>
                  <a:lnTo>
                    <a:pt x="190" y="7468"/>
                  </a:lnTo>
                  <a:cubicBezTo>
                    <a:pt x="-1303" y="17924"/>
                    <a:pt x="6165" y="28379"/>
                    <a:pt x="16620" y="31366"/>
                  </a:cubicBezTo>
                  <a:lnTo>
                    <a:pt x="16620" y="31366"/>
                  </a:lnTo>
                  <a:cubicBezTo>
                    <a:pt x="27076" y="32860"/>
                    <a:pt x="37531" y="25392"/>
                    <a:pt x="40519" y="14936"/>
                  </a:cubicBezTo>
                  <a:lnTo>
                    <a:pt x="42012" y="8962"/>
                  </a:lnTo>
                  <a:cubicBezTo>
                    <a:pt x="27076" y="8962"/>
                    <a:pt x="12139" y="8962"/>
                    <a:pt x="1684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6" name="任意多边形: 形状 9995"/>
            <p:cNvSpPr/>
            <p:nvPr/>
          </p:nvSpPr>
          <p:spPr>
            <a:xfrm>
              <a:off x="8803059" y="2309218"/>
              <a:ext cx="29873" cy="134427"/>
            </a:xfrm>
            <a:custGeom>
              <a:avLst/>
              <a:gdLst>
                <a:gd name="connsiteX0" fmla="*/ 23898 w 29872"/>
                <a:gd name="connsiteY0" fmla="*/ 143389 h 134427"/>
                <a:gd name="connsiteX1" fmla="*/ 4481 w 29872"/>
                <a:gd name="connsiteY1" fmla="*/ 140402 h 134427"/>
                <a:gd name="connsiteX2" fmla="*/ 0 w 29872"/>
                <a:gd name="connsiteY2" fmla="*/ 19417 h 134427"/>
                <a:gd name="connsiteX3" fmla="*/ 19417 w 29872"/>
                <a:gd name="connsiteY3" fmla="*/ 0 h 134427"/>
                <a:gd name="connsiteX4" fmla="*/ 19417 w 29872"/>
                <a:gd name="connsiteY4" fmla="*/ 0 h 134427"/>
                <a:gd name="connsiteX5" fmla="*/ 38835 w 29872"/>
                <a:gd name="connsiteY5" fmla="*/ 19417 h 134427"/>
                <a:gd name="connsiteX6" fmla="*/ 23898 w 29872"/>
                <a:gd name="connsiteY6" fmla="*/ 143389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72" h="134427">
                  <a:moveTo>
                    <a:pt x="23898" y="143389"/>
                  </a:moveTo>
                  <a:lnTo>
                    <a:pt x="4481" y="140402"/>
                  </a:lnTo>
                  <a:lnTo>
                    <a:pt x="0" y="19417"/>
                  </a:lnTo>
                  <a:cubicBezTo>
                    <a:pt x="0" y="8962"/>
                    <a:pt x="8962" y="0"/>
                    <a:pt x="19417" y="0"/>
                  </a:cubicBezTo>
                  <a:lnTo>
                    <a:pt x="19417" y="0"/>
                  </a:lnTo>
                  <a:cubicBezTo>
                    <a:pt x="29873" y="0"/>
                    <a:pt x="38835" y="8962"/>
                    <a:pt x="38835" y="19417"/>
                  </a:cubicBezTo>
                  <a:lnTo>
                    <a:pt x="23898" y="143389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7" name="任意多边形: 形状 9996"/>
            <p:cNvSpPr/>
            <p:nvPr/>
          </p:nvSpPr>
          <p:spPr>
            <a:xfrm>
              <a:off x="8786629" y="2444483"/>
              <a:ext cx="29873" cy="74682"/>
            </a:xfrm>
            <a:custGeom>
              <a:avLst/>
              <a:gdLst>
                <a:gd name="connsiteX0" fmla="*/ 40328 w 29872"/>
                <a:gd name="connsiteY0" fmla="*/ 8124 h 74681"/>
                <a:gd name="connsiteX1" fmla="*/ 19418 w 29872"/>
                <a:gd name="connsiteY1" fmla="*/ 6630 h 74681"/>
                <a:gd name="connsiteX2" fmla="*/ 5974 w 29872"/>
                <a:gd name="connsiteY2" fmla="*/ 32022 h 74681"/>
                <a:gd name="connsiteX3" fmla="*/ 2987 w 29872"/>
                <a:gd name="connsiteY3" fmla="*/ 43971 h 74681"/>
                <a:gd name="connsiteX4" fmla="*/ 0 w 29872"/>
                <a:gd name="connsiteY4" fmla="*/ 60401 h 74681"/>
                <a:gd name="connsiteX5" fmla="*/ 0 w 29872"/>
                <a:gd name="connsiteY5" fmla="*/ 66376 h 74681"/>
                <a:gd name="connsiteX6" fmla="*/ 1494 w 29872"/>
                <a:gd name="connsiteY6" fmla="*/ 70857 h 74681"/>
                <a:gd name="connsiteX7" fmla="*/ 14936 w 29872"/>
                <a:gd name="connsiteY7" fmla="*/ 84299 h 74681"/>
                <a:gd name="connsiteX8" fmla="*/ 22405 w 29872"/>
                <a:gd name="connsiteY8" fmla="*/ 67869 h 74681"/>
                <a:gd name="connsiteX9" fmla="*/ 28379 w 29872"/>
                <a:gd name="connsiteY9" fmla="*/ 51439 h 74681"/>
                <a:gd name="connsiteX10" fmla="*/ 37341 w 29872"/>
                <a:gd name="connsiteY10" fmla="*/ 33516 h 74681"/>
                <a:gd name="connsiteX11" fmla="*/ 38835 w 29872"/>
                <a:gd name="connsiteY11" fmla="*/ 23060 h 74681"/>
                <a:gd name="connsiteX12" fmla="*/ 40328 w 29872"/>
                <a:gd name="connsiteY12" fmla="*/ 8124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72" h="74681">
                  <a:moveTo>
                    <a:pt x="40328" y="8124"/>
                  </a:moveTo>
                  <a:cubicBezTo>
                    <a:pt x="38835" y="-838"/>
                    <a:pt x="22405" y="-3825"/>
                    <a:pt x="19418" y="6630"/>
                  </a:cubicBezTo>
                  <a:cubicBezTo>
                    <a:pt x="16430" y="15592"/>
                    <a:pt x="8962" y="23060"/>
                    <a:pt x="5974" y="32022"/>
                  </a:cubicBezTo>
                  <a:cubicBezTo>
                    <a:pt x="4481" y="36503"/>
                    <a:pt x="4481" y="39490"/>
                    <a:pt x="2987" y="43971"/>
                  </a:cubicBezTo>
                  <a:cubicBezTo>
                    <a:pt x="1494" y="49946"/>
                    <a:pt x="1494" y="55920"/>
                    <a:pt x="0" y="60401"/>
                  </a:cubicBezTo>
                  <a:cubicBezTo>
                    <a:pt x="0" y="61895"/>
                    <a:pt x="0" y="63388"/>
                    <a:pt x="0" y="66376"/>
                  </a:cubicBezTo>
                  <a:cubicBezTo>
                    <a:pt x="0" y="67869"/>
                    <a:pt x="1494" y="69363"/>
                    <a:pt x="1494" y="70857"/>
                  </a:cubicBezTo>
                  <a:cubicBezTo>
                    <a:pt x="2987" y="73844"/>
                    <a:pt x="10456" y="85793"/>
                    <a:pt x="14936" y="84299"/>
                  </a:cubicBezTo>
                  <a:cubicBezTo>
                    <a:pt x="17924" y="85793"/>
                    <a:pt x="20911" y="73844"/>
                    <a:pt x="22405" y="67869"/>
                  </a:cubicBezTo>
                  <a:cubicBezTo>
                    <a:pt x="23898" y="61895"/>
                    <a:pt x="25392" y="58907"/>
                    <a:pt x="28379" y="51439"/>
                  </a:cubicBezTo>
                  <a:cubicBezTo>
                    <a:pt x="29873" y="45465"/>
                    <a:pt x="35847" y="39490"/>
                    <a:pt x="37341" y="33516"/>
                  </a:cubicBezTo>
                  <a:cubicBezTo>
                    <a:pt x="38835" y="30528"/>
                    <a:pt x="38835" y="26047"/>
                    <a:pt x="38835" y="23060"/>
                  </a:cubicBezTo>
                  <a:cubicBezTo>
                    <a:pt x="40328" y="17086"/>
                    <a:pt x="40328" y="12605"/>
                    <a:pt x="40328" y="8124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8" name="任意多边形: 形状 9997"/>
            <p:cNvSpPr/>
            <p:nvPr/>
          </p:nvSpPr>
          <p:spPr>
            <a:xfrm>
              <a:off x="8817996" y="2453727"/>
              <a:ext cx="14936" cy="44809"/>
            </a:xfrm>
            <a:custGeom>
              <a:avLst/>
              <a:gdLst>
                <a:gd name="connsiteX0" fmla="*/ 14936 w 14936"/>
                <a:gd name="connsiteY0" fmla="*/ 39208 h 44809"/>
                <a:gd name="connsiteX1" fmla="*/ 14936 w 14936"/>
                <a:gd name="connsiteY1" fmla="*/ 57132 h 44809"/>
                <a:gd name="connsiteX2" fmla="*/ 8962 w 14936"/>
                <a:gd name="connsiteY2" fmla="*/ 55638 h 44809"/>
                <a:gd name="connsiteX3" fmla="*/ 7468 w 14936"/>
                <a:gd name="connsiteY3" fmla="*/ 48170 h 44809"/>
                <a:gd name="connsiteX4" fmla="*/ 7468 w 14936"/>
                <a:gd name="connsiteY4" fmla="*/ 40702 h 44809"/>
                <a:gd name="connsiteX5" fmla="*/ 1494 w 14936"/>
                <a:gd name="connsiteY5" fmla="*/ 25765 h 44809"/>
                <a:gd name="connsiteX6" fmla="*/ 0 w 14936"/>
                <a:gd name="connsiteY6" fmla="*/ 10829 h 44809"/>
                <a:gd name="connsiteX7" fmla="*/ 1494 w 14936"/>
                <a:gd name="connsiteY7" fmla="*/ 1867 h 44809"/>
                <a:gd name="connsiteX8" fmla="*/ 8962 w 14936"/>
                <a:gd name="connsiteY8" fmla="*/ 373 h 44809"/>
                <a:gd name="connsiteX9" fmla="*/ 14936 w 14936"/>
                <a:gd name="connsiteY9" fmla="*/ 24272 h 44809"/>
                <a:gd name="connsiteX10" fmla="*/ 16430 w 14936"/>
                <a:gd name="connsiteY10" fmla="*/ 33233 h 44809"/>
                <a:gd name="connsiteX11" fmla="*/ 14936 w 14936"/>
                <a:gd name="connsiteY11" fmla="*/ 39208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936" h="44809">
                  <a:moveTo>
                    <a:pt x="14936" y="39208"/>
                  </a:moveTo>
                  <a:cubicBezTo>
                    <a:pt x="13443" y="45182"/>
                    <a:pt x="14936" y="51157"/>
                    <a:pt x="14936" y="57132"/>
                  </a:cubicBezTo>
                  <a:cubicBezTo>
                    <a:pt x="13443" y="58625"/>
                    <a:pt x="10456" y="57132"/>
                    <a:pt x="8962" y="55638"/>
                  </a:cubicBezTo>
                  <a:cubicBezTo>
                    <a:pt x="7468" y="54144"/>
                    <a:pt x="7468" y="51157"/>
                    <a:pt x="7468" y="48170"/>
                  </a:cubicBezTo>
                  <a:cubicBezTo>
                    <a:pt x="7468" y="45182"/>
                    <a:pt x="7468" y="43689"/>
                    <a:pt x="7468" y="40702"/>
                  </a:cubicBezTo>
                  <a:cubicBezTo>
                    <a:pt x="7468" y="34727"/>
                    <a:pt x="2987" y="30246"/>
                    <a:pt x="1494" y="25765"/>
                  </a:cubicBezTo>
                  <a:cubicBezTo>
                    <a:pt x="0" y="21284"/>
                    <a:pt x="0" y="15310"/>
                    <a:pt x="0" y="10829"/>
                  </a:cubicBezTo>
                  <a:cubicBezTo>
                    <a:pt x="0" y="7842"/>
                    <a:pt x="0" y="4854"/>
                    <a:pt x="1494" y="1867"/>
                  </a:cubicBezTo>
                  <a:cubicBezTo>
                    <a:pt x="2987" y="-1120"/>
                    <a:pt x="5974" y="373"/>
                    <a:pt x="8962" y="373"/>
                  </a:cubicBezTo>
                  <a:cubicBezTo>
                    <a:pt x="11949" y="9335"/>
                    <a:pt x="11949" y="13816"/>
                    <a:pt x="14936" y="24272"/>
                  </a:cubicBezTo>
                  <a:cubicBezTo>
                    <a:pt x="16430" y="27259"/>
                    <a:pt x="16430" y="30246"/>
                    <a:pt x="16430" y="33233"/>
                  </a:cubicBezTo>
                  <a:cubicBezTo>
                    <a:pt x="16430" y="33233"/>
                    <a:pt x="16430" y="36221"/>
                    <a:pt x="14936" y="39208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9" name="任意多边形: 形状 9998"/>
            <p:cNvSpPr/>
            <p:nvPr/>
          </p:nvSpPr>
          <p:spPr>
            <a:xfrm>
              <a:off x="8847869" y="2340584"/>
              <a:ext cx="104554" cy="44809"/>
            </a:xfrm>
            <a:custGeom>
              <a:avLst/>
              <a:gdLst>
                <a:gd name="connsiteX0" fmla="*/ 106048 w 104554"/>
                <a:gd name="connsiteY0" fmla="*/ 17924 h 44809"/>
                <a:gd name="connsiteX1" fmla="*/ 98580 w 104554"/>
                <a:gd name="connsiteY1" fmla="*/ 31366 h 44809"/>
                <a:gd name="connsiteX2" fmla="*/ 23898 w 104554"/>
                <a:gd name="connsiteY2" fmla="*/ 49290 h 44809"/>
                <a:gd name="connsiteX3" fmla="*/ 13443 w 104554"/>
                <a:gd name="connsiteY3" fmla="*/ 44809 h 44809"/>
                <a:gd name="connsiteX4" fmla="*/ 0 w 104554"/>
                <a:gd name="connsiteY4" fmla="*/ 26885 h 44809"/>
                <a:gd name="connsiteX5" fmla="*/ 5974 w 104554"/>
                <a:gd name="connsiteY5" fmla="*/ 10456 h 44809"/>
                <a:gd name="connsiteX6" fmla="*/ 8962 w 104554"/>
                <a:gd name="connsiteY6" fmla="*/ 22405 h 44809"/>
                <a:gd name="connsiteX7" fmla="*/ 28379 w 104554"/>
                <a:gd name="connsiteY7" fmla="*/ 35847 h 44809"/>
                <a:gd name="connsiteX8" fmla="*/ 47796 w 104554"/>
                <a:gd name="connsiteY8" fmla="*/ 37341 h 44809"/>
                <a:gd name="connsiteX9" fmla="*/ 73188 w 104554"/>
                <a:gd name="connsiteY9" fmla="*/ 31366 h 44809"/>
                <a:gd name="connsiteX10" fmla="*/ 89618 w 104554"/>
                <a:gd name="connsiteY10" fmla="*/ 20911 h 44809"/>
                <a:gd name="connsiteX11" fmla="*/ 95593 w 104554"/>
                <a:gd name="connsiteY11" fmla="*/ 13443 h 44809"/>
                <a:gd name="connsiteX12" fmla="*/ 100074 w 104554"/>
                <a:gd name="connsiteY12" fmla="*/ 0 h 44809"/>
                <a:gd name="connsiteX13" fmla="*/ 106048 w 104554"/>
                <a:gd name="connsiteY13" fmla="*/ 17924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554" h="44809">
                  <a:moveTo>
                    <a:pt x="106048" y="17924"/>
                  </a:moveTo>
                  <a:cubicBezTo>
                    <a:pt x="104554" y="22405"/>
                    <a:pt x="101567" y="26885"/>
                    <a:pt x="98580" y="31366"/>
                  </a:cubicBezTo>
                  <a:cubicBezTo>
                    <a:pt x="91112" y="38835"/>
                    <a:pt x="59745" y="61239"/>
                    <a:pt x="23898" y="49290"/>
                  </a:cubicBezTo>
                  <a:cubicBezTo>
                    <a:pt x="20911" y="47796"/>
                    <a:pt x="16430" y="47796"/>
                    <a:pt x="13443" y="44809"/>
                  </a:cubicBezTo>
                  <a:cubicBezTo>
                    <a:pt x="5974" y="40328"/>
                    <a:pt x="1494" y="34354"/>
                    <a:pt x="0" y="26885"/>
                  </a:cubicBezTo>
                  <a:lnTo>
                    <a:pt x="5974" y="10456"/>
                  </a:lnTo>
                  <a:cubicBezTo>
                    <a:pt x="5974" y="14936"/>
                    <a:pt x="7468" y="19417"/>
                    <a:pt x="8962" y="22405"/>
                  </a:cubicBezTo>
                  <a:cubicBezTo>
                    <a:pt x="13443" y="29873"/>
                    <a:pt x="20911" y="34354"/>
                    <a:pt x="28379" y="35847"/>
                  </a:cubicBezTo>
                  <a:cubicBezTo>
                    <a:pt x="34353" y="37341"/>
                    <a:pt x="41822" y="38835"/>
                    <a:pt x="47796" y="37341"/>
                  </a:cubicBezTo>
                  <a:cubicBezTo>
                    <a:pt x="56758" y="37341"/>
                    <a:pt x="65720" y="34354"/>
                    <a:pt x="73188" y="31366"/>
                  </a:cubicBezTo>
                  <a:cubicBezTo>
                    <a:pt x="79162" y="28379"/>
                    <a:pt x="85137" y="25392"/>
                    <a:pt x="89618" y="20911"/>
                  </a:cubicBezTo>
                  <a:cubicBezTo>
                    <a:pt x="92606" y="19417"/>
                    <a:pt x="94099" y="16430"/>
                    <a:pt x="95593" y="13443"/>
                  </a:cubicBezTo>
                  <a:cubicBezTo>
                    <a:pt x="98580" y="8962"/>
                    <a:pt x="98580" y="4481"/>
                    <a:pt x="100074" y="0"/>
                  </a:cubicBezTo>
                  <a:cubicBezTo>
                    <a:pt x="101567" y="5975"/>
                    <a:pt x="104554" y="11949"/>
                    <a:pt x="106048" y="17924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0" name="任意多边形: 形状 9999"/>
            <p:cNvSpPr/>
            <p:nvPr/>
          </p:nvSpPr>
          <p:spPr>
            <a:xfrm>
              <a:off x="8897158" y="2428709"/>
              <a:ext cx="29873" cy="74682"/>
            </a:xfrm>
            <a:custGeom>
              <a:avLst/>
              <a:gdLst>
                <a:gd name="connsiteX0" fmla="*/ 16430 w 29872"/>
                <a:gd name="connsiteY0" fmla="*/ 47796 h 74681"/>
                <a:gd name="connsiteX1" fmla="*/ 22405 w 29872"/>
                <a:gd name="connsiteY1" fmla="*/ 25392 h 74681"/>
                <a:gd name="connsiteX2" fmla="*/ 40328 w 29872"/>
                <a:gd name="connsiteY2" fmla="*/ 0 h 74681"/>
                <a:gd name="connsiteX3" fmla="*/ 22405 w 29872"/>
                <a:gd name="connsiteY3" fmla="*/ 16430 h 74681"/>
                <a:gd name="connsiteX4" fmla="*/ 0 w 29872"/>
                <a:gd name="connsiteY4" fmla="*/ 17924 h 74681"/>
                <a:gd name="connsiteX5" fmla="*/ 7468 w 29872"/>
                <a:gd name="connsiteY5" fmla="*/ 34354 h 74681"/>
                <a:gd name="connsiteX6" fmla="*/ 10456 w 29872"/>
                <a:gd name="connsiteY6" fmla="*/ 79163 h 74681"/>
                <a:gd name="connsiteX7" fmla="*/ 16430 w 29872"/>
                <a:gd name="connsiteY7" fmla="*/ 47796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72" h="74681">
                  <a:moveTo>
                    <a:pt x="16430" y="47796"/>
                  </a:moveTo>
                  <a:cubicBezTo>
                    <a:pt x="17924" y="40328"/>
                    <a:pt x="17924" y="32860"/>
                    <a:pt x="22405" y="25392"/>
                  </a:cubicBezTo>
                  <a:cubicBezTo>
                    <a:pt x="26886" y="16430"/>
                    <a:pt x="37341" y="10455"/>
                    <a:pt x="40328" y="0"/>
                  </a:cubicBezTo>
                  <a:cubicBezTo>
                    <a:pt x="34354" y="5974"/>
                    <a:pt x="29873" y="11949"/>
                    <a:pt x="22405" y="16430"/>
                  </a:cubicBezTo>
                  <a:cubicBezTo>
                    <a:pt x="14936" y="20911"/>
                    <a:pt x="5975" y="22405"/>
                    <a:pt x="0" y="17924"/>
                  </a:cubicBezTo>
                  <a:cubicBezTo>
                    <a:pt x="5975" y="20911"/>
                    <a:pt x="7468" y="28379"/>
                    <a:pt x="7468" y="34354"/>
                  </a:cubicBezTo>
                  <a:cubicBezTo>
                    <a:pt x="8962" y="50783"/>
                    <a:pt x="8962" y="62733"/>
                    <a:pt x="10456" y="79163"/>
                  </a:cubicBezTo>
                  <a:lnTo>
                    <a:pt x="16430" y="47796"/>
                  </a:ln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1" name="任意多边形: 形状 10000"/>
            <p:cNvSpPr/>
            <p:nvPr/>
          </p:nvSpPr>
          <p:spPr>
            <a:xfrm>
              <a:off x="8904626" y="2377925"/>
              <a:ext cx="14936" cy="14936"/>
            </a:xfrm>
            <a:custGeom>
              <a:avLst/>
              <a:gdLst>
                <a:gd name="connsiteX0" fmla="*/ 11949 w 0"/>
                <a:gd name="connsiteY0" fmla="*/ 8962 h 0"/>
                <a:gd name="connsiteX1" fmla="*/ 0 w 0"/>
                <a:gd name="connsiteY1" fmla="*/ 10456 h 0"/>
                <a:gd name="connsiteX2" fmla="*/ 1494 w 0"/>
                <a:gd name="connsiteY2" fmla="*/ 1494 h 0"/>
                <a:gd name="connsiteX3" fmla="*/ 11949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949" y="8962"/>
                  </a:moveTo>
                  <a:lnTo>
                    <a:pt x="0" y="10456"/>
                  </a:lnTo>
                  <a:lnTo>
                    <a:pt x="1494" y="1494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CBBBA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2" name="任意多边形: 形状 10001"/>
            <p:cNvSpPr/>
            <p:nvPr/>
          </p:nvSpPr>
          <p:spPr>
            <a:xfrm>
              <a:off x="8804553" y="2217880"/>
              <a:ext cx="44809" cy="104554"/>
            </a:xfrm>
            <a:custGeom>
              <a:avLst/>
              <a:gdLst>
                <a:gd name="connsiteX0" fmla="*/ 37341 w 44809"/>
                <a:gd name="connsiteY0" fmla="*/ 226 h 104554"/>
                <a:gd name="connsiteX1" fmla="*/ 37341 w 44809"/>
                <a:gd name="connsiteY1" fmla="*/ 226 h 104554"/>
                <a:gd name="connsiteX2" fmla="*/ 13443 w 44809"/>
                <a:gd name="connsiteY2" fmla="*/ 16656 h 104554"/>
                <a:gd name="connsiteX3" fmla="*/ 0 w 44809"/>
                <a:gd name="connsiteY3" fmla="*/ 97312 h 104554"/>
                <a:gd name="connsiteX4" fmla="*/ 40328 w 44809"/>
                <a:gd name="connsiteY4" fmla="*/ 106274 h 104554"/>
                <a:gd name="connsiteX5" fmla="*/ 53771 w 44809"/>
                <a:gd name="connsiteY5" fmla="*/ 24124 h 104554"/>
                <a:gd name="connsiteX6" fmla="*/ 37341 w 44809"/>
                <a:gd name="connsiteY6" fmla="*/ 226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09" h="104554">
                  <a:moveTo>
                    <a:pt x="37341" y="226"/>
                  </a:moveTo>
                  <a:lnTo>
                    <a:pt x="37341" y="226"/>
                  </a:lnTo>
                  <a:cubicBezTo>
                    <a:pt x="25392" y="-1268"/>
                    <a:pt x="14936" y="4706"/>
                    <a:pt x="13443" y="16656"/>
                  </a:cubicBezTo>
                  <a:lnTo>
                    <a:pt x="0" y="97312"/>
                  </a:lnTo>
                  <a:cubicBezTo>
                    <a:pt x="10455" y="106274"/>
                    <a:pt x="25392" y="107767"/>
                    <a:pt x="40328" y="106274"/>
                  </a:cubicBezTo>
                  <a:lnTo>
                    <a:pt x="53771" y="24124"/>
                  </a:lnTo>
                  <a:cubicBezTo>
                    <a:pt x="55264" y="12175"/>
                    <a:pt x="47796" y="1719"/>
                    <a:pt x="37341" y="226"/>
                  </a:cubicBezTo>
                  <a:close/>
                </a:path>
              </a:pathLst>
            </a:custGeom>
            <a:solidFill>
              <a:srgbClr val="E6332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3" name="任意多边形: 形状 10002"/>
            <p:cNvSpPr/>
            <p:nvPr/>
          </p:nvSpPr>
          <p:spPr>
            <a:xfrm>
              <a:off x="8901639" y="2174791"/>
              <a:ext cx="29873" cy="59745"/>
            </a:xfrm>
            <a:custGeom>
              <a:avLst/>
              <a:gdLst>
                <a:gd name="connsiteX0" fmla="*/ 34353 w 29872"/>
                <a:gd name="connsiteY0" fmla="*/ 71694 h 59745"/>
                <a:gd name="connsiteX1" fmla="*/ 19417 w 29872"/>
                <a:gd name="connsiteY1" fmla="*/ 0 h 59745"/>
                <a:gd name="connsiteX2" fmla="*/ 2987 w 29872"/>
                <a:gd name="connsiteY2" fmla="*/ 5974 h 59745"/>
                <a:gd name="connsiteX3" fmla="*/ 0 w 29872"/>
                <a:gd name="connsiteY3" fmla="*/ 7468 h 59745"/>
                <a:gd name="connsiteX4" fmla="*/ 34353 w 29872"/>
                <a:gd name="connsiteY4" fmla="*/ 71694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72" h="59745">
                  <a:moveTo>
                    <a:pt x="34353" y="71694"/>
                  </a:moveTo>
                  <a:cubicBezTo>
                    <a:pt x="32860" y="47796"/>
                    <a:pt x="20911" y="23898"/>
                    <a:pt x="19417" y="0"/>
                  </a:cubicBezTo>
                  <a:cubicBezTo>
                    <a:pt x="13443" y="1493"/>
                    <a:pt x="7468" y="2987"/>
                    <a:pt x="2987" y="5974"/>
                  </a:cubicBezTo>
                  <a:cubicBezTo>
                    <a:pt x="1494" y="5974"/>
                    <a:pt x="0" y="7468"/>
                    <a:pt x="0" y="7468"/>
                  </a:cubicBezTo>
                  <a:cubicBezTo>
                    <a:pt x="10455" y="29873"/>
                    <a:pt x="29873" y="47796"/>
                    <a:pt x="34353" y="71694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4" name="任意多边形: 形状 10003"/>
            <p:cNvSpPr/>
            <p:nvPr/>
          </p:nvSpPr>
          <p:spPr>
            <a:xfrm>
              <a:off x="8895665" y="2053268"/>
              <a:ext cx="74682" cy="14936"/>
            </a:xfrm>
            <a:custGeom>
              <a:avLst/>
              <a:gdLst>
                <a:gd name="connsiteX0" fmla="*/ 0 w 74681"/>
                <a:gd name="connsiteY0" fmla="*/ 19956 h 14936"/>
                <a:gd name="connsiteX1" fmla="*/ 23898 w 74681"/>
                <a:gd name="connsiteY1" fmla="*/ 18462 h 14936"/>
                <a:gd name="connsiteX2" fmla="*/ 52277 w 74681"/>
                <a:gd name="connsiteY2" fmla="*/ 28918 h 14936"/>
                <a:gd name="connsiteX3" fmla="*/ 74682 w 74681"/>
                <a:gd name="connsiteY3" fmla="*/ 24437 h 14936"/>
                <a:gd name="connsiteX4" fmla="*/ 61239 w 74681"/>
                <a:gd name="connsiteY4" fmla="*/ 19956 h 14936"/>
                <a:gd name="connsiteX5" fmla="*/ 53770 w 74681"/>
                <a:gd name="connsiteY5" fmla="*/ 6513 h 14936"/>
                <a:gd name="connsiteX6" fmla="*/ 32860 w 74681"/>
                <a:gd name="connsiteY6" fmla="*/ 539 h 14936"/>
                <a:gd name="connsiteX7" fmla="*/ 11949 w 74681"/>
                <a:gd name="connsiteY7" fmla="*/ 9501 h 14936"/>
                <a:gd name="connsiteX8" fmla="*/ 0 w 74681"/>
                <a:gd name="connsiteY8" fmla="*/ 1995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681" h="14936">
                  <a:moveTo>
                    <a:pt x="0" y="19956"/>
                  </a:moveTo>
                  <a:cubicBezTo>
                    <a:pt x="7468" y="16969"/>
                    <a:pt x="16430" y="15475"/>
                    <a:pt x="23898" y="18462"/>
                  </a:cubicBezTo>
                  <a:cubicBezTo>
                    <a:pt x="34353" y="21450"/>
                    <a:pt x="41822" y="27424"/>
                    <a:pt x="52277" y="28918"/>
                  </a:cubicBezTo>
                  <a:cubicBezTo>
                    <a:pt x="59745" y="30411"/>
                    <a:pt x="68707" y="28918"/>
                    <a:pt x="74682" y="24437"/>
                  </a:cubicBezTo>
                  <a:cubicBezTo>
                    <a:pt x="70201" y="27424"/>
                    <a:pt x="64226" y="24437"/>
                    <a:pt x="61239" y="19956"/>
                  </a:cubicBezTo>
                  <a:cubicBezTo>
                    <a:pt x="58252" y="15475"/>
                    <a:pt x="56758" y="10994"/>
                    <a:pt x="53770" y="6513"/>
                  </a:cubicBezTo>
                  <a:cubicBezTo>
                    <a:pt x="49290" y="539"/>
                    <a:pt x="40328" y="-955"/>
                    <a:pt x="32860" y="539"/>
                  </a:cubicBezTo>
                  <a:cubicBezTo>
                    <a:pt x="25392" y="2032"/>
                    <a:pt x="17923" y="5020"/>
                    <a:pt x="11949" y="9501"/>
                  </a:cubicBezTo>
                  <a:cubicBezTo>
                    <a:pt x="8961" y="12488"/>
                    <a:pt x="2987" y="15475"/>
                    <a:pt x="0" y="19956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5" name="任意多边形: 形状 10004"/>
            <p:cNvSpPr/>
            <p:nvPr/>
          </p:nvSpPr>
          <p:spPr>
            <a:xfrm>
              <a:off x="8861311" y="2134463"/>
              <a:ext cx="14936" cy="14936"/>
            </a:xfrm>
            <a:custGeom>
              <a:avLst/>
              <a:gdLst>
                <a:gd name="connsiteX0" fmla="*/ 8962 w 0"/>
                <a:gd name="connsiteY0" fmla="*/ 8962 h 0"/>
                <a:gd name="connsiteX1" fmla="*/ 0 w 0"/>
                <a:gd name="connsiteY1" fmla="*/ 7468 h 0"/>
                <a:gd name="connsiteX2" fmla="*/ 1494 w 0"/>
                <a:gd name="connsiteY2" fmla="*/ 0 h 0"/>
                <a:gd name="connsiteX3" fmla="*/ 8962 w 0"/>
                <a:gd name="connsiteY3" fmla="*/ 14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8962" y="8962"/>
                  </a:moveTo>
                  <a:lnTo>
                    <a:pt x="0" y="7468"/>
                  </a:lnTo>
                  <a:lnTo>
                    <a:pt x="1494" y="0"/>
                  </a:lnTo>
                  <a:lnTo>
                    <a:pt x="8962" y="1493"/>
                  </a:lnTo>
                  <a:close/>
                </a:path>
              </a:pathLst>
            </a:custGeom>
            <a:solidFill>
              <a:srgbClr val="E6332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6" name="任意多边形: 形状 10005"/>
            <p:cNvSpPr/>
            <p:nvPr/>
          </p:nvSpPr>
          <p:spPr>
            <a:xfrm>
              <a:off x="8418961" y="5540974"/>
              <a:ext cx="44809" cy="44809"/>
            </a:xfrm>
            <a:custGeom>
              <a:avLst/>
              <a:gdLst>
                <a:gd name="connsiteX0" fmla="*/ 56992 w 44809"/>
                <a:gd name="connsiteY0" fmla="*/ 4949 h 44809"/>
                <a:gd name="connsiteX1" fmla="*/ 33094 w 44809"/>
                <a:gd name="connsiteY1" fmla="*/ 1962 h 44809"/>
                <a:gd name="connsiteX2" fmla="*/ 18158 w 44809"/>
                <a:gd name="connsiteY2" fmla="*/ 19886 h 44809"/>
                <a:gd name="connsiteX3" fmla="*/ 12183 w 44809"/>
                <a:gd name="connsiteY3" fmla="*/ 31835 h 44809"/>
                <a:gd name="connsiteX4" fmla="*/ 234 w 44809"/>
                <a:gd name="connsiteY4" fmla="*/ 43784 h 44809"/>
                <a:gd name="connsiteX5" fmla="*/ 9196 w 44809"/>
                <a:gd name="connsiteY5" fmla="*/ 49758 h 44809"/>
                <a:gd name="connsiteX6" fmla="*/ 24132 w 44809"/>
                <a:gd name="connsiteY6" fmla="*/ 39303 h 44809"/>
                <a:gd name="connsiteX7" fmla="*/ 37575 w 44809"/>
                <a:gd name="connsiteY7" fmla="*/ 34822 h 44809"/>
                <a:gd name="connsiteX8" fmla="*/ 48030 w 44809"/>
                <a:gd name="connsiteY8" fmla="*/ 21380 h 44809"/>
                <a:gd name="connsiteX9" fmla="*/ 56992 w 44809"/>
                <a:gd name="connsiteY9" fmla="*/ 4949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09" h="44809">
                  <a:moveTo>
                    <a:pt x="56992" y="4949"/>
                  </a:moveTo>
                  <a:cubicBezTo>
                    <a:pt x="49524" y="-1025"/>
                    <a:pt x="42056" y="-1025"/>
                    <a:pt x="33094" y="1962"/>
                  </a:cubicBezTo>
                  <a:cubicBezTo>
                    <a:pt x="25626" y="4949"/>
                    <a:pt x="21145" y="12418"/>
                    <a:pt x="18158" y="19886"/>
                  </a:cubicBezTo>
                  <a:cubicBezTo>
                    <a:pt x="16664" y="24367"/>
                    <a:pt x="15170" y="28848"/>
                    <a:pt x="12183" y="31835"/>
                  </a:cubicBezTo>
                  <a:cubicBezTo>
                    <a:pt x="7702" y="36316"/>
                    <a:pt x="234" y="37810"/>
                    <a:pt x="234" y="43784"/>
                  </a:cubicBezTo>
                  <a:cubicBezTo>
                    <a:pt x="-1259" y="49758"/>
                    <a:pt x="4715" y="52746"/>
                    <a:pt x="9196" y="49758"/>
                  </a:cubicBezTo>
                  <a:cubicBezTo>
                    <a:pt x="19651" y="45278"/>
                    <a:pt x="21145" y="40797"/>
                    <a:pt x="24132" y="39303"/>
                  </a:cubicBezTo>
                  <a:cubicBezTo>
                    <a:pt x="28613" y="36316"/>
                    <a:pt x="33094" y="37810"/>
                    <a:pt x="37575" y="34822"/>
                  </a:cubicBezTo>
                  <a:cubicBezTo>
                    <a:pt x="42056" y="31835"/>
                    <a:pt x="46537" y="25860"/>
                    <a:pt x="48030" y="21380"/>
                  </a:cubicBezTo>
                  <a:lnTo>
                    <a:pt x="56992" y="4949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7" name="任意多边形: 形状 10006"/>
            <p:cNvSpPr/>
            <p:nvPr/>
          </p:nvSpPr>
          <p:spPr>
            <a:xfrm>
              <a:off x="8431145" y="5541442"/>
              <a:ext cx="44809" cy="74682"/>
            </a:xfrm>
            <a:custGeom>
              <a:avLst/>
              <a:gdLst>
                <a:gd name="connsiteX0" fmla="*/ 34353 w 44809"/>
                <a:gd name="connsiteY0" fmla="*/ 71694 h 74681"/>
                <a:gd name="connsiteX1" fmla="*/ 23898 w 44809"/>
                <a:gd name="connsiteY1" fmla="*/ 82150 h 74681"/>
                <a:gd name="connsiteX2" fmla="*/ 10455 w 44809"/>
                <a:gd name="connsiteY2" fmla="*/ 83643 h 74681"/>
                <a:gd name="connsiteX3" fmla="*/ 0 w 44809"/>
                <a:gd name="connsiteY3" fmla="*/ 73188 h 74681"/>
                <a:gd name="connsiteX4" fmla="*/ 0 w 44809"/>
                <a:gd name="connsiteY4" fmla="*/ 61239 h 74681"/>
                <a:gd name="connsiteX5" fmla="*/ 2987 w 44809"/>
                <a:gd name="connsiteY5" fmla="*/ 44809 h 74681"/>
                <a:gd name="connsiteX6" fmla="*/ 10455 w 44809"/>
                <a:gd name="connsiteY6" fmla="*/ 29873 h 74681"/>
                <a:gd name="connsiteX7" fmla="*/ 40328 w 44809"/>
                <a:gd name="connsiteY7" fmla="*/ 0 h 74681"/>
                <a:gd name="connsiteX8" fmla="*/ 53771 w 44809"/>
                <a:gd name="connsiteY8" fmla="*/ 17923 h 74681"/>
                <a:gd name="connsiteX9" fmla="*/ 49290 w 44809"/>
                <a:gd name="connsiteY9" fmla="*/ 40328 h 74681"/>
                <a:gd name="connsiteX10" fmla="*/ 43315 w 44809"/>
                <a:gd name="connsiteY10" fmla="*/ 59745 h 74681"/>
                <a:gd name="connsiteX11" fmla="*/ 34353 w 44809"/>
                <a:gd name="connsiteY11" fmla="*/ 71694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809" h="74681">
                  <a:moveTo>
                    <a:pt x="34353" y="71694"/>
                  </a:moveTo>
                  <a:cubicBezTo>
                    <a:pt x="32860" y="79162"/>
                    <a:pt x="28379" y="85137"/>
                    <a:pt x="23898" y="82150"/>
                  </a:cubicBezTo>
                  <a:cubicBezTo>
                    <a:pt x="22405" y="86631"/>
                    <a:pt x="13443" y="91111"/>
                    <a:pt x="10455" y="83643"/>
                  </a:cubicBezTo>
                  <a:cubicBezTo>
                    <a:pt x="5974" y="86631"/>
                    <a:pt x="0" y="79162"/>
                    <a:pt x="0" y="73188"/>
                  </a:cubicBezTo>
                  <a:cubicBezTo>
                    <a:pt x="0" y="64226"/>
                    <a:pt x="0" y="64226"/>
                    <a:pt x="0" y="61239"/>
                  </a:cubicBezTo>
                  <a:cubicBezTo>
                    <a:pt x="0" y="55264"/>
                    <a:pt x="1494" y="49290"/>
                    <a:pt x="2987" y="44809"/>
                  </a:cubicBezTo>
                  <a:cubicBezTo>
                    <a:pt x="4481" y="38834"/>
                    <a:pt x="5974" y="34353"/>
                    <a:pt x="10455" y="29873"/>
                  </a:cubicBezTo>
                  <a:cubicBezTo>
                    <a:pt x="19417" y="17923"/>
                    <a:pt x="26885" y="4481"/>
                    <a:pt x="40328" y="0"/>
                  </a:cubicBezTo>
                  <a:cubicBezTo>
                    <a:pt x="46303" y="2987"/>
                    <a:pt x="50783" y="5974"/>
                    <a:pt x="53771" y="17923"/>
                  </a:cubicBezTo>
                  <a:cubicBezTo>
                    <a:pt x="55264" y="26885"/>
                    <a:pt x="52277" y="32860"/>
                    <a:pt x="49290" y="40328"/>
                  </a:cubicBezTo>
                  <a:cubicBezTo>
                    <a:pt x="44809" y="47796"/>
                    <a:pt x="44809" y="50783"/>
                    <a:pt x="43315" y="59745"/>
                  </a:cubicBezTo>
                  <a:cubicBezTo>
                    <a:pt x="43315" y="73188"/>
                    <a:pt x="35847" y="74682"/>
                    <a:pt x="34353" y="71694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8" name="任意多边形: 形状 10007"/>
            <p:cNvSpPr/>
            <p:nvPr/>
          </p:nvSpPr>
          <p:spPr>
            <a:xfrm>
              <a:off x="8439414" y="5399547"/>
              <a:ext cx="89618" cy="164300"/>
            </a:xfrm>
            <a:custGeom>
              <a:avLst/>
              <a:gdLst>
                <a:gd name="connsiteX0" fmla="*/ 52970 w 89618"/>
                <a:gd name="connsiteY0" fmla="*/ 164300 h 164299"/>
                <a:gd name="connsiteX1" fmla="*/ 76868 w 89618"/>
                <a:gd name="connsiteY1" fmla="*/ 104554 h 164299"/>
                <a:gd name="connsiteX2" fmla="*/ 84336 w 89618"/>
                <a:gd name="connsiteY2" fmla="*/ 86631 h 164299"/>
                <a:gd name="connsiteX3" fmla="*/ 102260 w 89618"/>
                <a:gd name="connsiteY3" fmla="*/ 41822 h 164299"/>
                <a:gd name="connsiteX4" fmla="*/ 84336 w 89618"/>
                <a:gd name="connsiteY4" fmla="*/ 1493 h 164299"/>
                <a:gd name="connsiteX5" fmla="*/ 72387 w 89618"/>
                <a:gd name="connsiteY5" fmla="*/ 0 h 164299"/>
                <a:gd name="connsiteX6" fmla="*/ 66413 w 89618"/>
                <a:gd name="connsiteY6" fmla="*/ 0 h 164299"/>
                <a:gd name="connsiteX7" fmla="*/ 63425 w 89618"/>
                <a:gd name="connsiteY7" fmla="*/ 1493 h 164299"/>
                <a:gd name="connsiteX8" fmla="*/ 44008 w 89618"/>
                <a:gd name="connsiteY8" fmla="*/ 19417 h 164299"/>
                <a:gd name="connsiteX9" fmla="*/ 693 w 89618"/>
                <a:gd name="connsiteY9" fmla="*/ 134427 h 164299"/>
                <a:gd name="connsiteX10" fmla="*/ 52970 w 89618"/>
                <a:gd name="connsiteY10" fmla="*/ 164300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618" h="164299">
                  <a:moveTo>
                    <a:pt x="52970" y="164300"/>
                  </a:moveTo>
                  <a:lnTo>
                    <a:pt x="76868" y="104554"/>
                  </a:lnTo>
                  <a:lnTo>
                    <a:pt x="84336" y="86631"/>
                  </a:lnTo>
                  <a:lnTo>
                    <a:pt x="102260" y="41822"/>
                  </a:lnTo>
                  <a:cubicBezTo>
                    <a:pt x="108234" y="25392"/>
                    <a:pt x="100766" y="7468"/>
                    <a:pt x="84336" y="1493"/>
                  </a:cubicBezTo>
                  <a:cubicBezTo>
                    <a:pt x="79855" y="0"/>
                    <a:pt x="76868" y="0"/>
                    <a:pt x="72387" y="0"/>
                  </a:cubicBezTo>
                  <a:cubicBezTo>
                    <a:pt x="70893" y="0"/>
                    <a:pt x="67906" y="0"/>
                    <a:pt x="66413" y="0"/>
                  </a:cubicBezTo>
                  <a:cubicBezTo>
                    <a:pt x="64919" y="0"/>
                    <a:pt x="64919" y="0"/>
                    <a:pt x="63425" y="1493"/>
                  </a:cubicBezTo>
                  <a:cubicBezTo>
                    <a:pt x="54463" y="4481"/>
                    <a:pt x="46995" y="10455"/>
                    <a:pt x="44008" y="19417"/>
                  </a:cubicBezTo>
                  <a:lnTo>
                    <a:pt x="693" y="134427"/>
                  </a:lnTo>
                  <a:cubicBezTo>
                    <a:pt x="-6775" y="152350"/>
                    <a:pt x="48489" y="174755"/>
                    <a:pt x="52970" y="164300"/>
                  </a:cubicBez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9" name="任意多边形: 形状 10008"/>
            <p:cNvSpPr/>
            <p:nvPr/>
          </p:nvSpPr>
          <p:spPr>
            <a:xfrm>
              <a:off x="8583449" y="6025173"/>
              <a:ext cx="89618" cy="59745"/>
            </a:xfrm>
            <a:custGeom>
              <a:avLst/>
              <a:gdLst>
                <a:gd name="connsiteX0" fmla="*/ 92652 w 89618"/>
                <a:gd name="connsiteY0" fmla="*/ 3194 h 59745"/>
                <a:gd name="connsiteX1" fmla="*/ 94145 w 89618"/>
                <a:gd name="connsiteY1" fmla="*/ 22611 h 59745"/>
                <a:gd name="connsiteX2" fmla="*/ 41868 w 89618"/>
                <a:gd name="connsiteY2" fmla="*/ 55471 h 59745"/>
                <a:gd name="connsiteX3" fmla="*/ 7514 w 89618"/>
                <a:gd name="connsiteY3" fmla="*/ 56965 h 59745"/>
                <a:gd name="connsiteX4" fmla="*/ 7514 w 89618"/>
                <a:gd name="connsiteY4" fmla="*/ 56965 h 59745"/>
                <a:gd name="connsiteX5" fmla="*/ 6021 w 89618"/>
                <a:gd name="connsiteY5" fmla="*/ 37548 h 59745"/>
                <a:gd name="connsiteX6" fmla="*/ 58298 w 89618"/>
                <a:gd name="connsiteY6" fmla="*/ 4688 h 59745"/>
                <a:gd name="connsiteX7" fmla="*/ 92652 w 89618"/>
                <a:gd name="connsiteY7" fmla="*/ 3194 h 59745"/>
                <a:gd name="connsiteX8" fmla="*/ 92652 w 89618"/>
                <a:gd name="connsiteY8" fmla="*/ 3194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59745">
                  <a:moveTo>
                    <a:pt x="92652" y="3194"/>
                  </a:moveTo>
                  <a:cubicBezTo>
                    <a:pt x="101614" y="7675"/>
                    <a:pt x="103107" y="16637"/>
                    <a:pt x="94145" y="22611"/>
                  </a:cubicBezTo>
                  <a:lnTo>
                    <a:pt x="41868" y="55471"/>
                  </a:lnTo>
                  <a:cubicBezTo>
                    <a:pt x="32906" y="61446"/>
                    <a:pt x="17970" y="61446"/>
                    <a:pt x="7514" y="56965"/>
                  </a:cubicBezTo>
                  <a:lnTo>
                    <a:pt x="7514" y="56965"/>
                  </a:lnTo>
                  <a:cubicBezTo>
                    <a:pt x="-1447" y="52484"/>
                    <a:pt x="-2941" y="43522"/>
                    <a:pt x="6021" y="37548"/>
                  </a:cubicBezTo>
                  <a:lnTo>
                    <a:pt x="58298" y="4688"/>
                  </a:lnTo>
                  <a:cubicBezTo>
                    <a:pt x="67260" y="-1287"/>
                    <a:pt x="82196" y="-1287"/>
                    <a:pt x="92652" y="3194"/>
                  </a:cubicBezTo>
                  <a:lnTo>
                    <a:pt x="92652" y="3194"/>
                  </a:ln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0" name="任意多边形: 形状 10009"/>
            <p:cNvSpPr/>
            <p:nvPr/>
          </p:nvSpPr>
          <p:spPr>
            <a:xfrm>
              <a:off x="8584606" y="5995507"/>
              <a:ext cx="89618" cy="74682"/>
            </a:xfrm>
            <a:custGeom>
              <a:avLst/>
              <a:gdLst>
                <a:gd name="connsiteX0" fmla="*/ 40711 w 89618"/>
                <a:gd name="connsiteY0" fmla="*/ 4481 h 74681"/>
                <a:gd name="connsiteX1" fmla="*/ 79545 w 89618"/>
                <a:gd name="connsiteY1" fmla="*/ 0 h 74681"/>
                <a:gd name="connsiteX2" fmla="*/ 98962 w 89618"/>
                <a:gd name="connsiteY2" fmla="*/ 43315 h 74681"/>
                <a:gd name="connsiteX3" fmla="*/ 382 w 89618"/>
                <a:gd name="connsiteY3" fmla="*/ 80656 h 74681"/>
                <a:gd name="connsiteX4" fmla="*/ 30255 w 89618"/>
                <a:gd name="connsiteY4" fmla="*/ 32860 h 74681"/>
                <a:gd name="connsiteX5" fmla="*/ 40711 w 89618"/>
                <a:gd name="connsiteY5" fmla="*/ 448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40711" y="4481"/>
                  </a:moveTo>
                  <a:lnTo>
                    <a:pt x="79545" y="0"/>
                  </a:lnTo>
                  <a:cubicBezTo>
                    <a:pt x="88507" y="10455"/>
                    <a:pt x="95975" y="23898"/>
                    <a:pt x="98962" y="43315"/>
                  </a:cubicBezTo>
                  <a:lnTo>
                    <a:pt x="382" y="80656"/>
                  </a:lnTo>
                  <a:cubicBezTo>
                    <a:pt x="-2605" y="67214"/>
                    <a:pt x="12332" y="46303"/>
                    <a:pt x="30255" y="32860"/>
                  </a:cubicBezTo>
                  <a:cubicBezTo>
                    <a:pt x="37723" y="23898"/>
                    <a:pt x="33243" y="11949"/>
                    <a:pt x="40711" y="4481"/>
                  </a:cubicBez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1" name="任意多边形: 形状 10010"/>
            <p:cNvSpPr/>
            <p:nvPr/>
          </p:nvSpPr>
          <p:spPr>
            <a:xfrm>
              <a:off x="8474636" y="5960947"/>
              <a:ext cx="89618" cy="59745"/>
            </a:xfrm>
            <a:custGeom>
              <a:avLst/>
              <a:gdLst>
                <a:gd name="connsiteX0" fmla="*/ 93923 w 89618"/>
                <a:gd name="connsiteY0" fmla="*/ 3194 h 59745"/>
                <a:gd name="connsiteX1" fmla="*/ 93923 w 89618"/>
                <a:gd name="connsiteY1" fmla="*/ 22611 h 59745"/>
                <a:gd name="connsiteX2" fmla="*/ 41646 w 89618"/>
                <a:gd name="connsiteY2" fmla="*/ 55471 h 59745"/>
                <a:gd name="connsiteX3" fmla="*/ 7292 w 89618"/>
                <a:gd name="connsiteY3" fmla="*/ 56965 h 59745"/>
                <a:gd name="connsiteX4" fmla="*/ 7292 w 89618"/>
                <a:gd name="connsiteY4" fmla="*/ 56965 h 59745"/>
                <a:gd name="connsiteX5" fmla="*/ 7292 w 89618"/>
                <a:gd name="connsiteY5" fmla="*/ 37547 h 59745"/>
                <a:gd name="connsiteX6" fmla="*/ 59570 w 89618"/>
                <a:gd name="connsiteY6" fmla="*/ 4688 h 59745"/>
                <a:gd name="connsiteX7" fmla="*/ 93923 w 89618"/>
                <a:gd name="connsiteY7" fmla="*/ 3194 h 59745"/>
                <a:gd name="connsiteX8" fmla="*/ 93923 w 89618"/>
                <a:gd name="connsiteY8" fmla="*/ 3194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59745">
                  <a:moveTo>
                    <a:pt x="93923" y="3194"/>
                  </a:moveTo>
                  <a:cubicBezTo>
                    <a:pt x="102885" y="7675"/>
                    <a:pt x="104379" y="16637"/>
                    <a:pt x="93923" y="22611"/>
                  </a:cubicBezTo>
                  <a:lnTo>
                    <a:pt x="41646" y="55471"/>
                  </a:lnTo>
                  <a:cubicBezTo>
                    <a:pt x="32684" y="61446"/>
                    <a:pt x="17748" y="61446"/>
                    <a:pt x="7292" y="56965"/>
                  </a:cubicBezTo>
                  <a:lnTo>
                    <a:pt x="7292" y="56965"/>
                  </a:lnTo>
                  <a:cubicBezTo>
                    <a:pt x="-1670" y="52484"/>
                    <a:pt x="-3163" y="43522"/>
                    <a:pt x="7292" y="37547"/>
                  </a:cubicBezTo>
                  <a:lnTo>
                    <a:pt x="59570" y="4688"/>
                  </a:lnTo>
                  <a:cubicBezTo>
                    <a:pt x="68531" y="-1287"/>
                    <a:pt x="83468" y="-1287"/>
                    <a:pt x="93923" y="3194"/>
                  </a:cubicBezTo>
                  <a:lnTo>
                    <a:pt x="93923" y="3194"/>
                  </a:ln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2" name="任意多边形: 形状 10011"/>
            <p:cNvSpPr/>
            <p:nvPr/>
          </p:nvSpPr>
          <p:spPr>
            <a:xfrm>
              <a:off x="8477065" y="5931281"/>
              <a:ext cx="89618" cy="74682"/>
            </a:xfrm>
            <a:custGeom>
              <a:avLst/>
              <a:gdLst>
                <a:gd name="connsiteX0" fmla="*/ 40710 w 89618"/>
                <a:gd name="connsiteY0" fmla="*/ 4481 h 74681"/>
                <a:gd name="connsiteX1" fmla="*/ 79545 w 89618"/>
                <a:gd name="connsiteY1" fmla="*/ 0 h 74681"/>
                <a:gd name="connsiteX2" fmla="*/ 98962 w 89618"/>
                <a:gd name="connsiteY2" fmla="*/ 43316 h 74681"/>
                <a:gd name="connsiteX3" fmla="*/ 383 w 89618"/>
                <a:gd name="connsiteY3" fmla="*/ 80657 h 74681"/>
                <a:gd name="connsiteX4" fmla="*/ 30255 w 89618"/>
                <a:gd name="connsiteY4" fmla="*/ 32860 h 74681"/>
                <a:gd name="connsiteX5" fmla="*/ 40710 w 89618"/>
                <a:gd name="connsiteY5" fmla="*/ 448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40710" y="4481"/>
                  </a:moveTo>
                  <a:lnTo>
                    <a:pt x="79545" y="0"/>
                  </a:lnTo>
                  <a:cubicBezTo>
                    <a:pt x="88507" y="10456"/>
                    <a:pt x="95975" y="23898"/>
                    <a:pt x="98962" y="43316"/>
                  </a:cubicBezTo>
                  <a:lnTo>
                    <a:pt x="383" y="80657"/>
                  </a:lnTo>
                  <a:cubicBezTo>
                    <a:pt x="-2605" y="67214"/>
                    <a:pt x="12331" y="46303"/>
                    <a:pt x="30255" y="32860"/>
                  </a:cubicBezTo>
                  <a:cubicBezTo>
                    <a:pt x="37723" y="25392"/>
                    <a:pt x="33242" y="11949"/>
                    <a:pt x="40710" y="4481"/>
                  </a:cubicBez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3" name="任意多边形: 形状 10012"/>
            <p:cNvSpPr/>
            <p:nvPr/>
          </p:nvSpPr>
          <p:spPr>
            <a:xfrm>
              <a:off x="8498358" y="5541442"/>
              <a:ext cx="89618" cy="224045"/>
            </a:xfrm>
            <a:custGeom>
              <a:avLst/>
              <a:gdLst>
                <a:gd name="connsiteX0" fmla="*/ 0 w 89618"/>
                <a:gd name="connsiteY0" fmla="*/ 216577 h 224045"/>
                <a:gd name="connsiteX1" fmla="*/ 82150 w 89618"/>
                <a:gd name="connsiteY1" fmla="*/ 225538 h 224045"/>
                <a:gd name="connsiteX2" fmla="*/ 83644 w 89618"/>
                <a:gd name="connsiteY2" fmla="*/ 207615 h 224045"/>
                <a:gd name="connsiteX3" fmla="*/ 89618 w 89618"/>
                <a:gd name="connsiteY3" fmla="*/ 152350 h 224045"/>
                <a:gd name="connsiteX4" fmla="*/ 91112 w 89618"/>
                <a:gd name="connsiteY4" fmla="*/ 132933 h 224045"/>
                <a:gd name="connsiteX5" fmla="*/ 91112 w 89618"/>
                <a:gd name="connsiteY5" fmla="*/ 128452 h 224045"/>
                <a:gd name="connsiteX6" fmla="*/ 94099 w 89618"/>
                <a:gd name="connsiteY6" fmla="*/ 106048 h 224045"/>
                <a:gd name="connsiteX7" fmla="*/ 98580 w 89618"/>
                <a:gd name="connsiteY7" fmla="*/ 50783 h 224045"/>
                <a:gd name="connsiteX8" fmla="*/ 103061 w 89618"/>
                <a:gd name="connsiteY8" fmla="*/ 7468 h 224045"/>
                <a:gd name="connsiteX9" fmla="*/ 20911 w 89618"/>
                <a:gd name="connsiteY9" fmla="*/ 0 h 224045"/>
                <a:gd name="connsiteX10" fmla="*/ 11949 w 89618"/>
                <a:gd name="connsiteY10" fmla="*/ 86631 h 224045"/>
                <a:gd name="connsiteX11" fmla="*/ 10455 w 89618"/>
                <a:gd name="connsiteY11" fmla="*/ 110529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9618" h="224045">
                  <a:moveTo>
                    <a:pt x="0" y="216577"/>
                  </a:moveTo>
                  <a:lnTo>
                    <a:pt x="82150" y="225538"/>
                  </a:lnTo>
                  <a:lnTo>
                    <a:pt x="83644" y="207615"/>
                  </a:lnTo>
                  <a:lnTo>
                    <a:pt x="89618" y="152350"/>
                  </a:lnTo>
                  <a:lnTo>
                    <a:pt x="91112" y="132933"/>
                  </a:lnTo>
                  <a:lnTo>
                    <a:pt x="91112" y="128452"/>
                  </a:lnTo>
                  <a:lnTo>
                    <a:pt x="94099" y="106048"/>
                  </a:lnTo>
                  <a:lnTo>
                    <a:pt x="98580" y="50783"/>
                  </a:lnTo>
                  <a:lnTo>
                    <a:pt x="103061" y="7468"/>
                  </a:lnTo>
                  <a:lnTo>
                    <a:pt x="20911" y="0"/>
                  </a:lnTo>
                  <a:lnTo>
                    <a:pt x="11949" y="86631"/>
                  </a:lnTo>
                  <a:lnTo>
                    <a:pt x="10455" y="110529"/>
                  </a:ln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4" name="任意多边形: 形状 10013"/>
            <p:cNvSpPr/>
            <p:nvPr/>
          </p:nvSpPr>
          <p:spPr>
            <a:xfrm>
              <a:off x="8564078" y="5631060"/>
              <a:ext cx="14936" cy="29873"/>
            </a:xfrm>
            <a:custGeom>
              <a:avLst/>
              <a:gdLst>
                <a:gd name="connsiteX0" fmla="*/ 0 w 14936"/>
                <a:gd name="connsiteY0" fmla="*/ 0 h 29872"/>
                <a:gd name="connsiteX1" fmla="*/ 8962 w 14936"/>
                <a:gd name="connsiteY1" fmla="*/ 29873 h 29872"/>
                <a:gd name="connsiteX2" fmla="*/ 26885 w 14936"/>
                <a:gd name="connsiteY2" fmla="*/ 37341 h 29872"/>
                <a:gd name="connsiteX3" fmla="*/ 28379 w 14936"/>
                <a:gd name="connsiteY3" fmla="*/ 13443 h 29872"/>
                <a:gd name="connsiteX4" fmla="*/ 25392 w 14936"/>
                <a:gd name="connsiteY4" fmla="*/ 11949 h 29872"/>
                <a:gd name="connsiteX5" fmla="*/ 0 w 14936"/>
                <a:gd name="connsiteY5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 h="29872">
                  <a:moveTo>
                    <a:pt x="0" y="0"/>
                  </a:moveTo>
                  <a:cubicBezTo>
                    <a:pt x="4481" y="10455"/>
                    <a:pt x="7468" y="19417"/>
                    <a:pt x="8962" y="29873"/>
                  </a:cubicBezTo>
                  <a:cubicBezTo>
                    <a:pt x="14936" y="32860"/>
                    <a:pt x="20911" y="35847"/>
                    <a:pt x="26885" y="37341"/>
                  </a:cubicBezTo>
                  <a:lnTo>
                    <a:pt x="28379" y="13443"/>
                  </a:lnTo>
                  <a:cubicBezTo>
                    <a:pt x="26885" y="11949"/>
                    <a:pt x="25392" y="11949"/>
                    <a:pt x="25392" y="11949"/>
                  </a:cubicBezTo>
                  <a:cubicBezTo>
                    <a:pt x="16430" y="8961"/>
                    <a:pt x="7468" y="4481"/>
                    <a:pt x="0" y="0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5" name="任意多边形: 形状 10014"/>
            <p:cNvSpPr/>
            <p:nvPr/>
          </p:nvSpPr>
          <p:spPr>
            <a:xfrm>
              <a:off x="8497791" y="5923019"/>
              <a:ext cx="74682" cy="44809"/>
            </a:xfrm>
            <a:custGeom>
              <a:avLst/>
              <a:gdLst>
                <a:gd name="connsiteX0" fmla="*/ 12516 w 74681"/>
                <a:gd name="connsiteY0" fmla="*/ 5275 h 44809"/>
                <a:gd name="connsiteX1" fmla="*/ 11022 w 74681"/>
                <a:gd name="connsiteY1" fmla="*/ 38134 h 44809"/>
                <a:gd name="connsiteX2" fmla="*/ 69274 w 74681"/>
                <a:gd name="connsiteY2" fmla="*/ 41122 h 44809"/>
                <a:gd name="connsiteX3" fmla="*/ 70768 w 74681"/>
                <a:gd name="connsiteY3" fmla="*/ 8262 h 44809"/>
                <a:gd name="connsiteX4" fmla="*/ 12516 w 74681"/>
                <a:gd name="connsiteY4" fmla="*/ 5275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12516" y="5275"/>
                  </a:moveTo>
                  <a:cubicBezTo>
                    <a:pt x="-3914" y="14237"/>
                    <a:pt x="-3914" y="29173"/>
                    <a:pt x="11022" y="38134"/>
                  </a:cubicBezTo>
                  <a:cubicBezTo>
                    <a:pt x="25959" y="48590"/>
                    <a:pt x="52844" y="48590"/>
                    <a:pt x="69274" y="41122"/>
                  </a:cubicBezTo>
                  <a:cubicBezTo>
                    <a:pt x="85704" y="32160"/>
                    <a:pt x="85704" y="17224"/>
                    <a:pt x="70768" y="8262"/>
                  </a:cubicBezTo>
                  <a:cubicBezTo>
                    <a:pt x="55831" y="-2194"/>
                    <a:pt x="28946" y="-2194"/>
                    <a:pt x="12516" y="5275"/>
                  </a:cubicBez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6" name="任意多边形: 形状 10015"/>
            <p:cNvSpPr/>
            <p:nvPr/>
          </p:nvSpPr>
          <p:spPr>
            <a:xfrm>
              <a:off x="8500225" y="5708537"/>
              <a:ext cx="74682" cy="238981"/>
            </a:xfrm>
            <a:custGeom>
              <a:avLst/>
              <a:gdLst>
                <a:gd name="connsiteX0" fmla="*/ 80283 w 74681"/>
                <a:gd name="connsiteY0" fmla="*/ 239174 h 238981"/>
                <a:gd name="connsiteX1" fmla="*/ 81777 w 74681"/>
                <a:gd name="connsiteY1" fmla="*/ 56951 h 238981"/>
                <a:gd name="connsiteX2" fmla="*/ 68334 w 74681"/>
                <a:gd name="connsiteY2" fmla="*/ 13635 h 238981"/>
                <a:gd name="connsiteX3" fmla="*/ 35474 w 74681"/>
                <a:gd name="connsiteY3" fmla="*/ 192 h 238981"/>
                <a:gd name="connsiteX4" fmla="*/ 1120 w 74681"/>
                <a:gd name="connsiteY4" fmla="*/ 49482 h 238981"/>
                <a:gd name="connsiteX5" fmla="*/ 1120 w 74681"/>
                <a:gd name="connsiteY5" fmla="*/ 236187 h 238981"/>
                <a:gd name="connsiteX6" fmla="*/ 25018 w 74681"/>
                <a:gd name="connsiteY6" fmla="*/ 237680 h 238981"/>
                <a:gd name="connsiteX7" fmla="*/ 80283 w 74681"/>
                <a:gd name="connsiteY7" fmla="*/ 239174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238981">
                  <a:moveTo>
                    <a:pt x="80283" y="239174"/>
                  </a:moveTo>
                  <a:cubicBezTo>
                    <a:pt x="86257" y="179428"/>
                    <a:pt x="81777" y="65912"/>
                    <a:pt x="81777" y="56951"/>
                  </a:cubicBezTo>
                  <a:cubicBezTo>
                    <a:pt x="80283" y="47989"/>
                    <a:pt x="74308" y="19610"/>
                    <a:pt x="68334" y="13635"/>
                  </a:cubicBezTo>
                  <a:cubicBezTo>
                    <a:pt x="59372" y="6167"/>
                    <a:pt x="47423" y="-1301"/>
                    <a:pt x="35474" y="192"/>
                  </a:cubicBezTo>
                  <a:cubicBezTo>
                    <a:pt x="20537" y="1686"/>
                    <a:pt x="1120" y="34546"/>
                    <a:pt x="1120" y="49482"/>
                  </a:cubicBezTo>
                  <a:cubicBezTo>
                    <a:pt x="-373" y="65912"/>
                    <a:pt x="-373" y="227225"/>
                    <a:pt x="1120" y="236187"/>
                  </a:cubicBezTo>
                  <a:cubicBezTo>
                    <a:pt x="2614" y="245148"/>
                    <a:pt x="16056" y="233199"/>
                    <a:pt x="25018" y="237680"/>
                  </a:cubicBezTo>
                  <a:lnTo>
                    <a:pt x="80283" y="239174"/>
                  </a:ln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7" name="任意多边形: 形状 10016"/>
            <p:cNvSpPr/>
            <p:nvPr/>
          </p:nvSpPr>
          <p:spPr>
            <a:xfrm>
              <a:off x="8587010" y="5589497"/>
              <a:ext cx="89618" cy="209109"/>
            </a:xfrm>
            <a:custGeom>
              <a:avLst/>
              <a:gdLst>
                <a:gd name="connsiteX0" fmla="*/ 0 w 89618"/>
                <a:gd name="connsiteY0" fmla="*/ 3181 h 209108"/>
                <a:gd name="connsiteX1" fmla="*/ 82092 w 89618"/>
                <a:gd name="connsiteY1" fmla="*/ 0 h 209108"/>
                <a:gd name="connsiteX2" fmla="*/ 90535 w 89618"/>
                <a:gd name="connsiteY2" fmla="*/ 217918 h 209108"/>
                <a:gd name="connsiteX3" fmla="*/ 8443 w 89618"/>
                <a:gd name="connsiteY3" fmla="*/ 221099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618" h="209108">
                  <a:moveTo>
                    <a:pt x="0" y="3181"/>
                  </a:moveTo>
                  <a:lnTo>
                    <a:pt x="82092" y="0"/>
                  </a:lnTo>
                  <a:lnTo>
                    <a:pt x="90535" y="217918"/>
                  </a:lnTo>
                  <a:lnTo>
                    <a:pt x="8443" y="221099"/>
                  </a:ln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8" name="任意多边形: 形状 10017"/>
            <p:cNvSpPr/>
            <p:nvPr/>
          </p:nvSpPr>
          <p:spPr>
            <a:xfrm>
              <a:off x="8483875" y="5274535"/>
              <a:ext cx="89618" cy="164300"/>
            </a:xfrm>
            <a:custGeom>
              <a:avLst/>
              <a:gdLst>
                <a:gd name="connsiteX0" fmla="*/ 1041 w 89618"/>
                <a:gd name="connsiteY0" fmla="*/ 151898 h 164299"/>
                <a:gd name="connsiteX1" fmla="*/ 23445 w 89618"/>
                <a:gd name="connsiteY1" fmla="*/ 175796 h 164299"/>
                <a:gd name="connsiteX2" fmla="*/ 23445 w 89618"/>
                <a:gd name="connsiteY2" fmla="*/ 175796 h 164299"/>
                <a:gd name="connsiteX3" fmla="*/ 60786 w 89618"/>
                <a:gd name="connsiteY3" fmla="*/ 153392 h 164299"/>
                <a:gd name="connsiteX4" fmla="*/ 89165 w 89618"/>
                <a:gd name="connsiteY4" fmla="*/ 38381 h 164299"/>
                <a:gd name="connsiteX5" fmla="*/ 66761 w 89618"/>
                <a:gd name="connsiteY5" fmla="*/ 1041 h 164299"/>
                <a:gd name="connsiteX6" fmla="*/ 66761 w 89618"/>
                <a:gd name="connsiteY6" fmla="*/ 1041 h 164299"/>
                <a:gd name="connsiteX7" fmla="*/ 29420 w 89618"/>
                <a:gd name="connsiteY7" fmla="*/ 23445 h 164299"/>
                <a:gd name="connsiteX8" fmla="*/ 1041 w 89618"/>
                <a:gd name="connsiteY8" fmla="*/ 151898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164299">
                  <a:moveTo>
                    <a:pt x="1041" y="151898"/>
                  </a:moveTo>
                  <a:cubicBezTo>
                    <a:pt x="-3440" y="168328"/>
                    <a:pt x="7015" y="172809"/>
                    <a:pt x="23445" y="175796"/>
                  </a:cubicBezTo>
                  <a:lnTo>
                    <a:pt x="23445" y="175796"/>
                  </a:lnTo>
                  <a:cubicBezTo>
                    <a:pt x="39875" y="180277"/>
                    <a:pt x="56305" y="169822"/>
                    <a:pt x="60786" y="153392"/>
                  </a:cubicBezTo>
                  <a:lnTo>
                    <a:pt x="89165" y="38381"/>
                  </a:lnTo>
                  <a:cubicBezTo>
                    <a:pt x="93646" y="21951"/>
                    <a:pt x="83191" y="5522"/>
                    <a:pt x="66761" y="1041"/>
                  </a:cubicBezTo>
                  <a:lnTo>
                    <a:pt x="66761" y="1041"/>
                  </a:lnTo>
                  <a:cubicBezTo>
                    <a:pt x="50331" y="-3440"/>
                    <a:pt x="33900" y="7015"/>
                    <a:pt x="29420" y="23445"/>
                  </a:cubicBezTo>
                  <a:lnTo>
                    <a:pt x="1041" y="151898"/>
                  </a:ln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9" name="任意多边形: 形状 10018"/>
            <p:cNvSpPr/>
            <p:nvPr/>
          </p:nvSpPr>
          <p:spPr>
            <a:xfrm>
              <a:off x="8502839" y="5277126"/>
              <a:ext cx="179236" cy="403281"/>
            </a:xfrm>
            <a:custGeom>
              <a:avLst/>
              <a:gdLst>
                <a:gd name="connsiteX0" fmla="*/ 0 w 179236"/>
                <a:gd name="connsiteY0" fmla="*/ 344973 h 403281"/>
                <a:gd name="connsiteX1" fmla="*/ 10456 w 179236"/>
                <a:gd name="connsiteY1" fmla="*/ 350947 h 403281"/>
                <a:gd name="connsiteX2" fmla="*/ 70201 w 179236"/>
                <a:gd name="connsiteY2" fmla="*/ 383807 h 403281"/>
                <a:gd name="connsiteX3" fmla="*/ 77669 w 179236"/>
                <a:gd name="connsiteY3" fmla="*/ 386794 h 403281"/>
                <a:gd name="connsiteX4" fmla="*/ 88124 w 179236"/>
                <a:gd name="connsiteY4" fmla="*/ 391275 h 403281"/>
                <a:gd name="connsiteX5" fmla="*/ 180730 w 179236"/>
                <a:gd name="connsiteY5" fmla="*/ 389782 h 403281"/>
                <a:gd name="connsiteX6" fmla="*/ 182224 w 179236"/>
                <a:gd name="connsiteY6" fmla="*/ 374845 h 403281"/>
                <a:gd name="connsiteX7" fmla="*/ 183717 w 179236"/>
                <a:gd name="connsiteY7" fmla="*/ 252367 h 403281"/>
                <a:gd name="connsiteX8" fmla="*/ 186704 w 179236"/>
                <a:gd name="connsiteY8" fmla="*/ 70144 h 403281"/>
                <a:gd name="connsiteX9" fmla="*/ 122478 w 179236"/>
                <a:gd name="connsiteY9" fmla="*/ 10399 h 403281"/>
                <a:gd name="connsiteX10" fmla="*/ 19418 w 179236"/>
                <a:gd name="connsiteY10" fmla="*/ 59688 h 403281"/>
                <a:gd name="connsiteX11" fmla="*/ 19418 w 179236"/>
                <a:gd name="connsiteY11" fmla="*/ 59688 h 403281"/>
                <a:gd name="connsiteX12" fmla="*/ 17924 w 179236"/>
                <a:gd name="connsiteY12" fmla="*/ 80599 h 403281"/>
                <a:gd name="connsiteX13" fmla="*/ 17924 w 179236"/>
                <a:gd name="connsiteY13" fmla="*/ 85080 h 403281"/>
                <a:gd name="connsiteX14" fmla="*/ 10456 w 179236"/>
                <a:gd name="connsiteY14" fmla="*/ 246393 h 403281"/>
                <a:gd name="connsiteX15" fmla="*/ 1494 w 179236"/>
                <a:gd name="connsiteY15" fmla="*/ 336011 h 403281"/>
                <a:gd name="connsiteX16" fmla="*/ 1494 w 179236"/>
                <a:gd name="connsiteY16" fmla="*/ 336011 h 403281"/>
                <a:gd name="connsiteX17" fmla="*/ 0 w 179236"/>
                <a:gd name="connsiteY17" fmla="*/ 344973 h 403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9236" h="403281">
                  <a:moveTo>
                    <a:pt x="0" y="344973"/>
                  </a:moveTo>
                  <a:cubicBezTo>
                    <a:pt x="0" y="344973"/>
                    <a:pt x="4481" y="347960"/>
                    <a:pt x="10456" y="350947"/>
                  </a:cubicBezTo>
                  <a:cubicBezTo>
                    <a:pt x="22405" y="358415"/>
                    <a:pt x="44809" y="371858"/>
                    <a:pt x="70201" y="383807"/>
                  </a:cubicBezTo>
                  <a:cubicBezTo>
                    <a:pt x="73188" y="385300"/>
                    <a:pt x="74682" y="385300"/>
                    <a:pt x="77669" y="386794"/>
                  </a:cubicBezTo>
                  <a:cubicBezTo>
                    <a:pt x="80656" y="388288"/>
                    <a:pt x="85137" y="389782"/>
                    <a:pt x="88124" y="391275"/>
                  </a:cubicBezTo>
                  <a:cubicBezTo>
                    <a:pt x="128453" y="409199"/>
                    <a:pt x="170274" y="418161"/>
                    <a:pt x="180730" y="389782"/>
                  </a:cubicBezTo>
                  <a:cubicBezTo>
                    <a:pt x="182224" y="385300"/>
                    <a:pt x="182224" y="380820"/>
                    <a:pt x="182224" y="374845"/>
                  </a:cubicBezTo>
                  <a:lnTo>
                    <a:pt x="183717" y="252367"/>
                  </a:lnTo>
                  <a:lnTo>
                    <a:pt x="186704" y="70144"/>
                  </a:lnTo>
                  <a:cubicBezTo>
                    <a:pt x="171768" y="46246"/>
                    <a:pt x="150857" y="26828"/>
                    <a:pt x="122478" y="10399"/>
                  </a:cubicBezTo>
                  <a:cubicBezTo>
                    <a:pt x="76175" y="-16487"/>
                    <a:pt x="28379" y="11892"/>
                    <a:pt x="19418" y="59688"/>
                  </a:cubicBezTo>
                  <a:lnTo>
                    <a:pt x="19418" y="59688"/>
                  </a:lnTo>
                  <a:cubicBezTo>
                    <a:pt x="17924" y="65663"/>
                    <a:pt x="17924" y="73131"/>
                    <a:pt x="17924" y="80599"/>
                  </a:cubicBezTo>
                  <a:lnTo>
                    <a:pt x="17924" y="85080"/>
                  </a:lnTo>
                  <a:lnTo>
                    <a:pt x="10456" y="246393"/>
                  </a:lnTo>
                  <a:cubicBezTo>
                    <a:pt x="7468" y="271785"/>
                    <a:pt x="4481" y="301657"/>
                    <a:pt x="1494" y="336011"/>
                  </a:cubicBezTo>
                  <a:cubicBezTo>
                    <a:pt x="1494" y="336011"/>
                    <a:pt x="1494" y="336011"/>
                    <a:pt x="1494" y="336011"/>
                  </a:cubicBezTo>
                  <a:cubicBezTo>
                    <a:pt x="0" y="340491"/>
                    <a:pt x="0" y="343479"/>
                    <a:pt x="0" y="344973"/>
                  </a:cubicBez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0" name="任意多边形: 形状 10019"/>
            <p:cNvSpPr/>
            <p:nvPr/>
          </p:nvSpPr>
          <p:spPr>
            <a:xfrm>
              <a:off x="8604533" y="5986358"/>
              <a:ext cx="74682" cy="44809"/>
            </a:xfrm>
            <a:custGeom>
              <a:avLst/>
              <a:gdLst>
                <a:gd name="connsiteX0" fmla="*/ 13316 w 74681"/>
                <a:gd name="connsiteY0" fmla="*/ 4668 h 44809"/>
                <a:gd name="connsiteX1" fmla="*/ 10329 w 74681"/>
                <a:gd name="connsiteY1" fmla="*/ 37528 h 44809"/>
                <a:gd name="connsiteX2" fmla="*/ 68580 w 74681"/>
                <a:gd name="connsiteY2" fmla="*/ 42008 h 44809"/>
                <a:gd name="connsiteX3" fmla="*/ 71568 w 74681"/>
                <a:gd name="connsiteY3" fmla="*/ 9149 h 44809"/>
                <a:gd name="connsiteX4" fmla="*/ 13316 w 74681"/>
                <a:gd name="connsiteY4" fmla="*/ 4668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13316" y="4668"/>
                  </a:moveTo>
                  <a:cubicBezTo>
                    <a:pt x="-3114" y="12136"/>
                    <a:pt x="-4608" y="27072"/>
                    <a:pt x="10329" y="37528"/>
                  </a:cubicBezTo>
                  <a:cubicBezTo>
                    <a:pt x="25265" y="47983"/>
                    <a:pt x="50657" y="49477"/>
                    <a:pt x="68580" y="42008"/>
                  </a:cubicBezTo>
                  <a:cubicBezTo>
                    <a:pt x="85010" y="34540"/>
                    <a:pt x="86504" y="19604"/>
                    <a:pt x="71568" y="9149"/>
                  </a:cubicBezTo>
                  <a:cubicBezTo>
                    <a:pt x="55138" y="-1307"/>
                    <a:pt x="29746" y="-2801"/>
                    <a:pt x="13316" y="4668"/>
                  </a:cubicBez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1" name="任意多边形: 形状 10020"/>
            <p:cNvSpPr/>
            <p:nvPr/>
          </p:nvSpPr>
          <p:spPr>
            <a:xfrm>
              <a:off x="8593420" y="5774219"/>
              <a:ext cx="89618" cy="238981"/>
            </a:xfrm>
            <a:custGeom>
              <a:avLst/>
              <a:gdLst>
                <a:gd name="connsiteX0" fmla="*/ 93137 w 89618"/>
                <a:gd name="connsiteY0" fmla="*/ 239212 h 238981"/>
                <a:gd name="connsiteX1" fmla="*/ 84175 w 89618"/>
                <a:gd name="connsiteY1" fmla="*/ 33090 h 238981"/>
                <a:gd name="connsiteX2" fmla="*/ 66251 w 89618"/>
                <a:gd name="connsiteY2" fmla="*/ 12180 h 238981"/>
                <a:gd name="connsiteX3" fmla="*/ 31898 w 89618"/>
                <a:gd name="connsiteY3" fmla="*/ 230 h 238981"/>
                <a:gd name="connsiteX4" fmla="*/ 531 w 89618"/>
                <a:gd name="connsiteY4" fmla="*/ 36078 h 238981"/>
                <a:gd name="connsiteX5" fmla="*/ 10987 w 89618"/>
                <a:gd name="connsiteY5" fmla="*/ 233237 h 238981"/>
                <a:gd name="connsiteX6" fmla="*/ 21442 w 89618"/>
                <a:gd name="connsiteY6" fmla="*/ 243693 h 238981"/>
                <a:gd name="connsiteX7" fmla="*/ 93137 w 89618"/>
                <a:gd name="connsiteY7" fmla="*/ 239212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618" h="238981">
                  <a:moveTo>
                    <a:pt x="93137" y="239212"/>
                  </a:moveTo>
                  <a:cubicBezTo>
                    <a:pt x="96124" y="177973"/>
                    <a:pt x="88655" y="40559"/>
                    <a:pt x="84175" y="33090"/>
                  </a:cubicBezTo>
                  <a:cubicBezTo>
                    <a:pt x="79694" y="25622"/>
                    <a:pt x="73719" y="16660"/>
                    <a:pt x="66251" y="12180"/>
                  </a:cubicBezTo>
                  <a:cubicBezTo>
                    <a:pt x="55796" y="4711"/>
                    <a:pt x="43846" y="-1263"/>
                    <a:pt x="31898" y="230"/>
                  </a:cubicBezTo>
                  <a:cubicBezTo>
                    <a:pt x="16961" y="3218"/>
                    <a:pt x="3519" y="21142"/>
                    <a:pt x="531" y="36078"/>
                  </a:cubicBezTo>
                  <a:cubicBezTo>
                    <a:pt x="-2456" y="51014"/>
                    <a:pt x="7999" y="224275"/>
                    <a:pt x="10987" y="233237"/>
                  </a:cubicBezTo>
                  <a:cubicBezTo>
                    <a:pt x="13974" y="242199"/>
                    <a:pt x="13974" y="240706"/>
                    <a:pt x="21442" y="243693"/>
                  </a:cubicBezTo>
                  <a:lnTo>
                    <a:pt x="93137" y="239212"/>
                  </a:ln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2" name="任意多边形: 形状 10021"/>
            <p:cNvSpPr/>
            <p:nvPr/>
          </p:nvSpPr>
          <p:spPr>
            <a:xfrm>
              <a:off x="8544661" y="5300967"/>
              <a:ext cx="44809" cy="89618"/>
            </a:xfrm>
            <a:custGeom>
              <a:avLst/>
              <a:gdLst>
                <a:gd name="connsiteX0" fmla="*/ 47796 w 44809"/>
                <a:gd name="connsiteY0" fmla="*/ 65720 h 89618"/>
                <a:gd name="connsiteX1" fmla="*/ 56758 w 44809"/>
                <a:gd name="connsiteY1" fmla="*/ 34353 h 89618"/>
                <a:gd name="connsiteX2" fmla="*/ 56758 w 44809"/>
                <a:gd name="connsiteY2" fmla="*/ 29873 h 89618"/>
                <a:gd name="connsiteX3" fmla="*/ 8961 w 44809"/>
                <a:gd name="connsiteY3" fmla="*/ 1494 h 89618"/>
                <a:gd name="connsiteX4" fmla="*/ 7468 w 44809"/>
                <a:gd name="connsiteY4" fmla="*/ 0 h 89618"/>
                <a:gd name="connsiteX5" fmla="*/ 0 w 44809"/>
                <a:gd name="connsiteY5" fmla="*/ 46303 h 89618"/>
                <a:gd name="connsiteX6" fmla="*/ 13443 w 44809"/>
                <a:gd name="connsiteY6" fmla="*/ 92605 h 89618"/>
                <a:gd name="connsiteX7" fmla="*/ 14936 w 44809"/>
                <a:gd name="connsiteY7" fmla="*/ 101567 h 89618"/>
                <a:gd name="connsiteX8" fmla="*/ 47796 w 44809"/>
                <a:gd name="connsiteY8" fmla="*/ 65720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09" h="89618">
                  <a:moveTo>
                    <a:pt x="47796" y="65720"/>
                  </a:moveTo>
                  <a:lnTo>
                    <a:pt x="56758" y="34353"/>
                  </a:lnTo>
                  <a:lnTo>
                    <a:pt x="56758" y="29873"/>
                  </a:lnTo>
                  <a:lnTo>
                    <a:pt x="8961" y="1494"/>
                  </a:lnTo>
                  <a:lnTo>
                    <a:pt x="7468" y="0"/>
                  </a:lnTo>
                  <a:cubicBezTo>
                    <a:pt x="1493" y="13443"/>
                    <a:pt x="1493" y="26885"/>
                    <a:pt x="0" y="46303"/>
                  </a:cubicBezTo>
                  <a:cubicBezTo>
                    <a:pt x="4481" y="62732"/>
                    <a:pt x="8961" y="77669"/>
                    <a:pt x="13443" y="92605"/>
                  </a:cubicBezTo>
                  <a:lnTo>
                    <a:pt x="14936" y="101567"/>
                  </a:lnTo>
                  <a:cubicBezTo>
                    <a:pt x="13443" y="104554"/>
                    <a:pt x="47796" y="65720"/>
                    <a:pt x="47796" y="65720"/>
                  </a:cubicBezTo>
                  <a:close/>
                </a:path>
              </a:pathLst>
            </a:custGeom>
            <a:solidFill>
              <a:srgbClr val="FFFF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3" name="任意多边形: 形状 10022"/>
            <p:cNvSpPr/>
            <p:nvPr/>
          </p:nvSpPr>
          <p:spPr>
            <a:xfrm>
              <a:off x="8561091" y="5314410"/>
              <a:ext cx="14936" cy="14936"/>
            </a:xfrm>
            <a:custGeom>
              <a:avLst/>
              <a:gdLst>
                <a:gd name="connsiteX0" fmla="*/ 0 w 14936"/>
                <a:gd name="connsiteY0" fmla="*/ 22405 h 14936"/>
                <a:gd name="connsiteX1" fmla="*/ 10456 w 14936"/>
                <a:gd name="connsiteY1" fmla="*/ 28379 h 14936"/>
                <a:gd name="connsiteX2" fmla="*/ 17924 w 14936"/>
                <a:gd name="connsiteY2" fmla="*/ 5974 h 14936"/>
                <a:gd name="connsiteX3" fmla="*/ 0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22405"/>
                  </a:moveTo>
                  <a:lnTo>
                    <a:pt x="10456" y="28379"/>
                  </a:lnTo>
                  <a:lnTo>
                    <a:pt x="17924" y="59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162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4" name="任意多边形: 形状 10023"/>
            <p:cNvSpPr/>
            <p:nvPr/>
          </p:nvSpPr>
          <p:spPr>
            <a:xfrm>
              <a:off x="8548021" y="5275575"/>
              <a:ext cx="74682" cy="74682"/>
            </a:xfrm>
            <a:custGeom>
              <a:avLst/>
              <a:gdLst>
                <a:gd name="connsiteX0" fmla="*/ 72815 w 74681"/>
                <a:gd name="connsiteY0" fmla="*/ 2987 h 74681"/>
                <a:gd name="connsiteX1" fmla="*/ 86258 w 74681"/>
                <a:gd name="connsiteY1" fmla="*/ 20911 h 74681"/>
                <a:gd name="connsiteX2" fmla="*/ 86258 w 74681"/>
                <a:gd name="connsiteY2" fmla="*/ 29873 h 74681"/>
                <a:gd name="connsiteX3" fmla="*/ 71321 w 74681"/>
                <a:gd name="connsiteY3" fmla="*/ 50783 h 74681"/>
                <a:gd name="connsiteX4" fmla="*/ 36967 w 74681"/>
                <a:gd name="connsiteY4" fmla="*/ 77669 h 74681"/>
                <a:gd name="connsiteX5" fmla="*/ 20537 w 74681"/>
                <a:gd name="connsiteY5" fmla="*/ 43315 h 74681"/>
                <a:gd name="connsiteX6" fmla="*/ 1120 w 74681"/>
                <a:gd name="connsiteY6" fmla="*/ 61239 h 74681"/>
                <a:gd name="connsiteX7" fmla="*/ 1120 w 74681"/>
                <a:gd name="connsiteY7" fmla="*/ 31366 h 74681"/>
                <a:gd name="connsiteX8" fmla="*/ 17550 w 74681"/>
                <a:gd name="connsiteY8" fmla="*/ 5974 h 74681"/>
                <a:gd name="connsiteX9" fmla="*/ 42942 w 74681"/>
                <a:gd name="connsiteY9" fmla="*/ 0 h 74681"/>
                <a:gd name="connsiteX10" fmla="*/ 68334 w 74681"/>
                <a:gd name="connsiteY10" fmla="*/ 5974 h 74681"/>
                <a:gd name="connsiteX11" fmla="*/ 72815 w 74681"/>
                <a:gd name="connsiteY11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74681">
                  <a:moveTo>
                    <a:pt x="72815" y="2987"/>
                  </a:moveTo>
                  <a:cubicBezTo>
                    <a:pt x="75802" y="8962"/>
                    <a:pt x="83270" y="17924"/>
                    <a:pt x="86258" y="20911"/>
                  </a:cubicBezTo>
                  <a:cubicBezTo>
                    <a:pt x="87751" y="23898"/>
                    <a:pt x="87751" y="26886"/>
                    <a:pt x="86258" y="29873"/>
                  </a:cubicBezTo>
                  <a:cubicBezTo>
                    <a:pt x="83270" y="38835"/>
                    <a:pt x="78789" y="44809"/>
                    <a:pt x="71321" y="50783"/>
                  </a:cubicBezTo>
                  <a:cubicBezTo>
                    <a:pt x="60866" y="59745"/>
                    <a:pt x="48917" y="68707"/>
                    <a:pt x="36967" y="77669"/>
                  </a:cubicBezTo>
                  <a:cubicBezTo>
                    <a:pt x="30993" y="67214"/>
                    <a:pt x="25019" y="55265"/>
                    <a:pt x="20537" y="43315"/>
                  </a:cubicBezTo>
                  <a:cubicBezTo>
                    <a:pt x="14563" y="49290"/>
                    <a:pt x="7095" y="55265"/>
                    <a:pt x="1120" y="61239"/>
                  </a:cubicBezTo>
                  <a:cubicBezTo>
                    <a:pt x="-373" y="50783"/>
                    <a:pt x="-373" y="40328"/>
                    <a:pt x="1120" y="31366"/>
                  </a:cubicBezTo>
                  <a:cubicBezTo>
                    <a:pt x="2614" y="22405"/>
                    <a:pt x="8588" y="11949"/>
                    <a:pt x="17550" y="5974"/>
                  </a:cubicBezTo>
                  <a:cubicBezTo>
                    <a:pt x="25019" y="1494"/>
                    <a:pt x="33980" y="0"/>
                    <a:pt x="42942" y="0"/>
                  </a:cubicBezTo>
                  <a:cubicBezTo>
                    <a:pt x="51904" y="0"/>
                    <a:pt x="60866" y="2987"/>
                    <a:pt x="68334" y="5974"/>
                  </a:cubicBezTo>
                  <a:cubicBezTo>
                    <a:pt x="71321" y="4481"/>
                    <a:pt x="72815" y="1494"/>
                    <a:pt x="72815" y="2987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5" name="任意多边形: 形状 10024"/>
            <p:cNvSpPr/>
            <p:nvPr/>
          </p:nvSpPr>
          <p:spPr>
            <a:xfrm>
              <a:off x="8552129" y="5336814"/>
              <a:ext cx="14936" cy="74682"/>
            </a:xfrm>
            <a:custGeom>
              <a:avLst/>
              <a:gdLst>
                <a:gd name="connsiteX0" fmla="*/ 4481 w 14936"/>
                <a:gd name="connsiteY0" fmla="*/ 73188 h 74681"/>
                <a:gd name="connsiteX1" fmla="*/ 2987 w 14936"/>
                <a:gd name="connsiteY1" fmla="*/ 76175 h 74681"/>
                <a:gd name="connsiteX2" fmla="*/ 10455 w 14936"/>
                <a:gd name="connsiteY2" fmla="*/ 80656 h 74681"/>
                <a:gd name="connsiteX3" fmla="*/ 19417 w 14936"/>
                <a:gd name="connsiteY3" fmla="*/ 70201 h 74681"/>
                <a:gd name="connsiteX4" fmla="*/ 19417 w 14936"/>
                <a:gd name="connsiteY4" fmla="*/ 41822 h 74681"/>
                <a:gd name="connsiteX5" fmla="*/ 17923 w 14936"/>
                <a:gd name="connsiteY5" fmla="*/ 5974 h 74681"/>
                <a:gd name="connsiteX6" fmla="*/ 7468 w 14936"/>
                <a:gd name="connsiteY6" fmla="*/ 0 h 74681"/>
                <a:gd name="connsiteX7" fmla="*/ 2987 w 14936"/>
                <a:gd name="connsiteY7" fmla="*/ 40328 h 74681"/>
                <a:gd name="connsiteX8" fmla="*/ 0 w 14936"/>
                <a:gd name="connsiteY8" fmla="*/ 64226 h 74681"/>
                <a:gd name="connsiteX9" fmla="*/ 4481 w 14936"/>
                <a:gd name="connsiteY9" fmla="*/ 73188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74681">
                  <a:moveTo>
                    <a:pt x="4481" y="73188"/>
                  </a:moveTo>
                  <a:cubicBezTo>
                    <a:pt x="4481" y="74682"/>
                    <a:pt x="2987" y="74682"/>
                    <a:pt x="2987" y="76175"/>
                  </a:cubicBezTo>
                  <a:lnTo>
                    <a:pt x="10455" y="80656"/>
                  </a:lnTo>
                  <a:lnTo>
                    <a:pt x="19417" y="70201"/>
                  </a:lnTo>
                  <a:lnTo>
                    <a:pt x="19417" y="41822"/>
                  </a:lnTo>
                  <a:lnTo>
                    <a:pt x="17923" y="5974"/>
                  </a:lnTo>
                  <a:lnTo>
                    <a:pt x="7468" y="0"/>
                  </a:lnTo>
                  <a:lnTo>
                    <a:pt x="2987" y="40328"/>
                  </a:lnTo>
                  <a:lnTo>
                    <a:pt x="0" y="64226"/>
                  </a:lnTo>
                  <a:lnTo>
                    <a:pt x="4481" y="73188"/>
                  </a:lnTo>
                  <a:close/>
                </a:path>
              </a:pathLst>
            </a:custGeom>
            <a:solidFill>
              <a:srgbClr val="99121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6" name="任意多边形: 形状 10025"/>
            <p:cNvSpPr/>
            <p:nvPr/>
          </p:nvSpPr>
          <p:spPr>
            <a:xfrm>
              <a:off x="8625317" y="5284537"/>
              <a:ext cx="14936" cy="14936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7" name="任意多边形: 形状 10026"/>
            <p:cNvSpPr/>
            <p:nvPr/>
          </p:nvSpPr>
          <p:spPr>
            <a:xfrm>
              <a:off x="8547648" y="5286031"/>
              <a:ext cx="89618" cy="149363"/>
            </a:xfrm>
            <a:custGeom>
              <a:avLst/>
              <a:gdLst>
                <a:gd name="connsiteX0" fmla="*/ 0 w 89618"/>
                <a:gd name="connsiteY0" fmla="*/ 149363 h 149363"/>
                <a:gd name="connsiteX1" fmla="*/ 16430 w 89618"/>
                <a:gd name="connsiteY1" fmla="*/ 131440 h 149363"/>
                <a:gd name="connsiteX2" fmla="*/ 25392 w 89618"/>
                <a:gd name="connsiteY2" fmla="*/ 120984 h 149363"/>
                <a:gd name="connsiteX3" fmla="*/ 53771 w 89618"/>
                <a:gd name="connsiteY3" fmla="*/ 91112 h 149363"/>
                <a:gd name="connsiteX4" fmla="*/ 71695 w 89618"/>
                <a:gd name="connsiteY4" fmla="*/ 70201 h 149363"/>
                <a:gd name="connsiteX5" fmla="*/ 62733 w 89618"/>
                <a:gd name="connsiteY5" fmla="*/ 55264 h 149363"/>
                <a:gd name="connsiteX6" fmla="*/ 74682 w 89618"/>
                <a:gd name="connsiteY6" fmla="*/ 64226 h 149363"/>
                <a:gd name="connsiteX7" fmla="*/ 89618 w 89618"/>
                <a:gd name="connsiteY7" fmla="*/ 11949 h 149363"/>
                <a:gd name="connsiteX8" fmla="*/ 79163 w 89618"/>
                <a:gd name="connsiteY8" fmla="*/ 0 h 149363"/>
                <a:gd name="connsiteX9" fmla="*/ 59745 w 89618"/>
                <a:gd name="connsiteY9" fmla="*/ 43315 h 149363"/>
                <a:gd name="connsiteX10" fmla="*/ 53771 w 89618"/>
                <a:gd name="connsiteY10" fmla="*/ 49290 h 149363"/>
                <a:gd name="connsiteX11" fmla="*/ 26886 w 89618"/>
                <a:gd name="connsiteY11" fmla="*/ 88124 h 149363"/>
                <a:gd name="connsiteX12" fmla="*/ 25392 w 89618"/>
                <a:gd name="connsiteY12" fmla="*/ 91112 h 149363"/>
                <a:gd name="connsiteX13" fmla="*/ 11949 w 89618"/>
                <a:gd name="connsiteY13" fmla="*/ 117997 h 149363"/>
                <a:gd name="connsiteX14" fmla="*/ 10456 w 89618"/>
                <a:gd name="connsiteY14" fmla="*/ 122478 h 149363"/>
                <a:gd name="connsiteX15" fmla="*/ 8962 w 89618"/>
                <a:gd name="connsiteY15" fmla="*/ 125465 h 149363"/>
                <a:gd name="connsiteX16" fmla="*/ 0 w 89618"/>
                <a:gd name="connsiteY16" fmla="*/ 149363 h 14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9618" h="149363">
                  <a:moveTo>
                    <a:pt x="0" y="149363"/>
                  </a:moveTo>
                  <a:lnTo>
                    <a:pt x="16430" y="131440"/>
                  </a:lnTo>
                  <a:lnTo>
                    <a:pt x="25392" y="120984"/>
                  </a:lnTo>
                  <a:lnTo>
                    <a:pt x="53771" y="91112"/>
                  </a:lnTo>
                  <a:lnTo>
                    <a:pt x="71695" y="70201"/>
                  </a:lnTo>
                  <a:lnTo>
                    <a:pt x="62733" y="55264"/>
                  </a:lnTo>
                  <a:lnTo>
                    <a:pt x="74682" y="64226"/>
                  </a:lnTo>
                  <a:cubicBezTo>
                    <a:pt x="94099" y="41822"/>
                    <a:pt x="101567" y="22405"/>
                    <a:pt x="89618" y="11949"/>
                  </a:cubicBezTo>
                  <a:lnTo>
                    <a:pt x="79163" y="0"/>
                  </a:lnTo>
                  <a:cubicBezTo>
                    <a:pt x="82150" y="4481"/>
                    <a:pt x="89618" y="17923"/>
                    <a:pt x="59745" y="43315"/>
                  </a:cubicBezTo>
                  <a:cubicBezTo>
                    <a:pt x="56758" y="44809"/>
                    <a:pt x="55265" y="47796"/>
                    <a:pt x="53771" y="49290"/>
                  </a:cubicBezTo>
                  <a:cubicBezTo>
                    <a:pt x="44809" y="58252"/>
                    <a:pt x="40328" y="68707"/>
                    <a:pt x="26886" y="88124"/>
                  </a:cubicBezTo>
                  <a:cubicBezTo>
                    <a:pt x="25392" y="89618"/>
                    <a:pt x="25392" y="91112"/>
                    <a:pt x="25392" y="91112"/>
                  </a:cubicBezTo>
                  <a:cubicBezTo>
                    <a:pt x="19418" y="100073"/>
                    <a:pt x="14936" y="109035"/>
                    <a:pt x="11949" y="117997"/>
                  </a:cubicBezTo>
                  <a:cubicBezTo>
                    <a:pt x="11949" y="119491"/>
                    <a:pt x="10456" y="120984"/>
                    <a:pt x="10456" y="122478"/>
                  </a:cubicBezTo>
                  <a:cubicBezTo>
                    <a:pt x="10456" y="123971"/>
                    <a:pt x="8962" y="123971"/>
                    <a:pt x="8962" y="125465"/>
                  </a:cubicBezTo>
                  <a:cubicBezTo>
                    <a:pt x="2987" y="138908"/>
                    <a:pt x="0" y="149363"/>
                    <a:pt x="0" y="149363"/>
                  </a:cubicBezTo>
                  <a:close/>
                </a:path>
              </a:pathLst>
            </a:custGeom>
            <a:solidFill>
              <a:srgbClr val="5C4F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8" name="任意多边形: 形状 10027"/>
            <p:cNvSpPr/>
            <p:nvPr/>
          </p:nvSpPr>
          <p:spPr>
            <a:xfrm>
              <a:off x="8531218" y="5292005"/>
              <a:ext cx="14936" cy="119491"/>
            </a:xfrm>
            <a:custGeom>
              <a:avLst/>
              <a:gdLst>
                <a:gd name="connsiteX0" fmla="*/ 0 w 14936"/>
                <a:gd name="connsiteY0" fmla="*/ 22405 h 119490"/>
                <a:gd name="connsiteX1" fmla="*/ 7468 w 14936"/>
                <a:gd name="connsiteY1" fmla="*/ 59745 h 119490"/>
                <a:gd name="connsiteX2" fmla="*/ 22405 w 14936"/>
                <a:gd name="connsiteY2" fmla="*/ 110529 h 119490"/>
                <a:gd name="connsiteX3" fmla="*/ 25392 w 14936"/>
                <a:gd name="connsiteY3" fmla="*/ 119491 h 119490"/>
                <a:gd name="connsiteX4" fmla="*/ 28379 w 14936"/>
                <a:gd name="connsiteY4" fmla="*/ 125465 h 119490"/>
                <a:gd name="connsiteX5" fmla="*/ 26886 w 14936"/>
                <a:gd name="connsiteY5" fmla="*/ 116503 h 119490"/>
                <a:gd name="connsiteX6" fmla="*/ 23898 w 14936"/>
                <a:gd name="connsiteY6" fmla="*/ 89618 h 119490"/>
                <a:gd name="connsiteX7" fmla="*/ 20911 w 14936"/>
                <a:gd name="connsiteY7" fmla="*/ 14936 h 119490"/>
                <a:gd name="connsiteX8" fmla="*/ 22405 w 14936"/>
                <a:gd name="connsiteY8" fmla="*/ 2987 h 119490"/>
                <a:gd name="connsiteX9" fmla="*/ 16430 w 14936"/>
                <a:gd name="connsiteY9" fmla="*/ 0 h 119490"/>
                <a:gd name="connsiteX10" fmla="*/ 2987 w 14936"/>
                <a:gd name="connsiteY10" fmla="*/ 19417 h 119490"/>
                <a:gd name="connsiteX11" fmla="*/ 14936 w 14936"/>
                <a:gd name="connsiteY11" fmla="*/ 23898 h 119490"/>
                <a:gd name="connsiteX12" fmla="*/ 0 w 14936"/>
                <a:gd name="connsiteY12" fmla="*/ 22405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936" h="119490">
                  <a:moveTo>
                    <a:pt x="0" y="22405"/>
                  </a:moveTo>
                  <a:cubicBezTo>
                    <a:pt x="0" y="22405"/>
                    <a:pt x="2987" y="38835"/>
                    <a:pt x="7468" y="59745"/>
                  </a:cubicBezTo>
                  <a:cubicBezTo>
                    <a:pt x="11949" y="76175"/>
                    <a:pt x="16430" y="95593"/>
                    <a:pt x="22405" y="110529"/>
                  </a:cubicBezTo>
                  <a:lnTo>
                    <a:pt x="25392" y="119491"/>
                  </a:lnTo>
                  <a:cubicBezTo>
                    <a:pt x="26886" y="120984"/>
                    <a:pt x="26886" y="123971"/>
                    <a:pt x="28379" y="125465"/>
                  </a:cubicBezTo>
                  <a:cubicBezTo>
                    <a:pt x="28379" y="122478"/>
                    <a:pt x="28379" y="119491"/>
                    <a:pt x="26886" y="116503"/>
                  </a:cubicBezTo>
                  <a:cubicBezTo>
                    <a:pt x="25392" y="107542"/>
                    <a:pt x="25392" y="98580"/>
                    <a:pt x="23898" y="89618"/>
                  </a:cubicBezTo>
                  <a:cubicBezTo>
                    <a:pt x="20911" y="61239"/>
                    <a:pt x="20911" y="32860"/>
                    <a:pt x="20911" y="14936"/>
                  </a:cubicBezTo>
                  <a:cubicBezTo>
                    <a:pt x="20911" y="10456"/>
                    <a:pt x="20911" y="5974"/>
                    <a:pt x="22405" y="2987"/>
                  </a:cubicBezTo>
                  <a:lnTo>
                    <a:pt x="16430" y="0"/>
                  </a:lnTo>
                  <a:lnTo>
                    <a:pt x="2987" y="19417"/>
                  </a:lnTo>
                  <a:lnTo>
                    <a:pt x="14936" y="23898"/>
                  </a:lnTo>
                  <a:cubicBezTo>
                    <a:pt x="11949" y="19417"/>
                    <a:pt x="0" y="22405"/>
                    <a:pt x="0" y="22405"/>
                  </a:cubicBezTo>
                  <a:close/>
                </a:path>
              </a:pathLst>
            </a:custGeom>
            <a:solidFill>
              <a:srgbClr val="5C4F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9" name="任意多边形: 形状 10028"/>
            <p:cNvSpPr/>
            <p:nvPr/>
          </p:nvSpPr>
          <p:spPr>
            <a:xfrm>
              <a:off x="8508813" y="5628073"/>
              <a:ext cx="164300" cy="104554"/>
            </a:xfrm>
            <a:custGeom>
              <a:avLst/>
              <a:gdLst>
                <a:gd name="connsiteX0" fmla="*/ 0 w 164299"/>
                <a:gd name="connsiteY0" fmla="*/ 23898 h 104554"/>
                <a:gd name="connsiteX1" fmla="*/ 2987 w 164299"/>
                <a:gd name="connsiteY1" fmla="*/ 0 h 104554"/>
                <a:gd name="connsiteX2" fmla="*/ 64227 w 164299"/>
                <a:gd name="connsiteY2" fmla="*/ 34353 h 104554"/>
                <a:gd name="connsiteX3" fmla="*/ 71695 w 164299"/>
                <a:gd name="connsiteY3" fmla="*/ 38835 h 104554"/>
                <a:gd name="connsiteX4" fmla="*/ 73188 w 164299"/>
                <a:gd name="connsiteY4" fmla="*/ 38835 h 104554"/>
                <a:gd name="connsiteX5" fmla="*/ 80657 w 164299"/>
                <a:gd name="connsiteY5" fmla="*/ 41822 h 104554"/>
                <a:gd name="connsiteX6" fmla="*/ 80657 w 164299"/>
                <a:gd name="connsiteY6" fmla="*/ 41822 h 104554"/>
                <a:gd name="connsiteX7" fmla="*/ 80657 w 164299"/>
                <a:gd name="connsiteY7" fmla="*/ 41822 h 104554"/>
                <a:gd name="connsiteX8" fmla="*/ 162807 w 164299"/>
                <a:gd name="connsiteY8" fmla="*/ 53771 h 104554"/>
                <a:gd name="connsiteX9" fmla="*/ 164300 w 164299"/>
                <a:gd name="connsiteY9" fmla="*/ 85137 h 104554"/>
                <a:gd name="connsiteX10" fmla="*/ 135921 w 164299"/>
                <a:gd name="connsiteY10" fmla="*/ 85137 h 104554"/>
                <a:gd name="connsiteX11" fmla="*/ 94099 w 164299"/>
                <a:gd name="connsiteY11" fmla="*/ 71694 h 104554"/>
                <a:gd name="connsiteX12" fmla="*/ 80657 w 164299"/>
                <a:gd name="connsiteY12" fmla="*/ 65720 h 104554"/>
                <a:gd name="connsiteX13" fmla="*/ 79163 w 164299"/>
                <a:gd name="connsiteY13" fmla="*/ 44809 h 104554"/>
                <a:gd name="connsiteX14" fmla="*/ 77669 w 164299"/>
                <a:gd name="connsiteY14" fmla="*/ 64226 h 104554"/>
                <a:gd name="connsiteX15" fmla="*/ 77669 w 164299"/>
                <a:gd name="connsiteY15" fmla="*/ 64226 h 104554"/>
                <a:gd name="connsiteX16" fmla="*/ 73188 w 164299"/>
                <a:gd name="connsiteY16" fmla="*/ 117997 h 104554"/>
                <a:gd name="connsiteX17" fmla="*/ 67214 w 164299"/>
                <a:gd name="connsiteY17" fmla="*/ 61239 h 104554"/>
                <a:gd name="connsiteX18" fmla="*/ 67214 w 164299"/>
                <a:gd name="connsiteY18" fmla="*/ 59745 h 104554"/>
                <a:gd name="connsiteX19" fmla="*/ 2987 w 164299"/>
                <a:gd name="connsiteY19" fmla="*/ 23898 h 104554"/>
                <a:gd name="connsiteX20" fmla="*/ 0 w 164299"/>
                <a:gd name="connsiteY20" fmla="*/ 23898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64299" h="104554">
                  <a:moveTo>
                    <a:pt x="0" y="23898"/>
                  </a:moveTo>
                  <a:lnTo>
                    <a:pt x="2987" y="0"/>
                  </a:lnTo>
                  <a:cubicBezTo>
                    <a:pt x="14936" y="7468"/>
                    <a:pt x="38835" y="22405"/>
                    <a:pt x="64227" y="34353"/>
                  </a:cubicBezTo>
                  <a:cubicBezTo>
                    <a:pt x="67214" y="35847"/>
                    <a:pt x="70201" y="37341"/>
                    <a:pt x="71695" y="38835"/>
                  </a:cubicBezTo>
                  <a:cubicBezTo>
                    <a:pt x="71695" y="38835"/>
                    <a:pt x="71695" y="38835"/>
                    <a:pt x="73188" y="38835"/>
                  </a:cubicBezTo>
                  <a:cubicBezTo>
                    <a:pt x="76175" y="40328"/>
                    <a:pt x="77669" y="40328"/>
                    <a:pt x="80657" y="41822"/>
                  </a:cubicBezTo>
                  <a:cubicBezTo>
                    <a:pt x="80657" y="41822"/>
                    <a:pt x="80657" y="41822"/>
                    <a:pt x="80657" y="41822"/>
                  </a:cubicBezTo>
                  <a:cubicBezTo>
                    <a:pt x="80657" y="41822"/>
                    <a:pt x="80657" y="41822"/>
                    <a:pt x="80657" y="41822"/>
                  </a:cubicBezTo>
                  <a:cubicBezTo>
                    <a:pt x="113516" y="55265"/>
                    <a:pt x="146376" y="64226"/>
                    <a:pt x="162807" y="53771"/>
                  </a:cubicBezTo>
                  <a:lnTo>
                    <a:pt x="164300" y="85137"/>
                  </a:lnTo>
                  <a:cubicBezTo>
                    <a:pt x="155338" y="86631"/>
                    <a:pt x="144883" y="86631"/>
                    <a:pt x="135921" y="85137"/>
                  </a:cubicBezTo>
                  <a:cubicBezTo>
                    <a:pt x="120984" y="83644"/>
                    <a:pt x="107542" y="77669"/>
                    <a:pt x="94099" y="71694"/>
                  </a:cubicBezTo>
                  <a:cubicBezTo>
                    <a:pt x="89618" y="70201"/>
                    <a:pt x="85137" y="68707"/>
                    <a:pt x="80657" y="65720"/>
                  </a:cubicBezTo>
                  <a:lnTo>
                    <a:pt x="79163" y="44809"/>
                  </a:lnTo>
                  <a:lnTo>
                    <a:pt x="77669" y="64226"/>
                  </a:lnTo>
                  <a:lnTo>
                    <a:pt x="77669" y="64226"/>
                  </a:lnTo>
                  <a:lnTo>
                    <a:pt x="73188" y="117997"/>
                  </a:lnTo>
                  <a:cubicBezTo>
                    <a:pt x="71695" y="98580"/>
                    <a:pt x="68707" y="79162"/>
                    <a:pt x="67214" y="61239"/>
                  </a:cubicBezTo>
                  <a:cubicBezTo>
                    <a:pt x="67214" y="61239"/>
                    <a:pt x="67214" y="59745"/>
                    <a:pt x="67214" y="59745"/>
                  </a:cubicBezTo>
                  <a:cubicBezTo>
                    <a:pt x="44809" y="49290"/>
                    <a:pt x="23898" y="37341"/>
                    <a:pt x="2987" y="23898"/>
                  </a:cubicBezTo>
                  <a:cubicBezTo>
                    <a:pt x="1494" y="25392"/>
                    <a:pt x="1494" y="23898"/>
                    <a:pt x="0" y="23898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0" name="任意多边形: 形状 10029"/>
            <p:cNvSpPr/>
            <p:nvPr/>
          </p:nvSpPr>
          <p:spPr>
            <a:xfrm>
              <a:off x="8579014" y="5374155"/>
              <a:ext cx="104554" cy="298727"/>
            </a:xfrm>
            <a:custGeom>
              <a:avLst/>
              <a:gdLst>
                <a:gd name="connsiteX0" fmla="*/ 0 w 104554"/>
                <a:gd name="connsiteY0" fmla="*/ 291259 h 298726"/>
                <a:gd name="connsiteX1" fmla="*/ 10456 w 104554"/>
                <a:gd name="connsiteY1" fmla="*/ 295739 h 298726"/>
                <a:gd name="connsiteX2" fmla="*/ 103061 w 104554"/>
                <a:gd name="connsiteY2" fmla="*/ 294246 h 298726"/>
                <a:gd name="connsiteX3" fmla="*/ 104554 w 104554"/>
                <a:gd name="connsiteY3" fmla="*/ 279310 h 298726"/>
                <a:gd name="connsiteX4" fmla="*/ 106048 w 104554"/>
                <a:gd name="connsiteY4" fmla="*/ 156832 h 298726"/>
                <a:gd name="connsiteX5" fmla="*/ 64226 w 104554"/>
                <a:gd name="connsiteY5" fmla="*/ 0 h 298726"/>
                <a:gd name="connsiteX6" fmla="*/ 65720 w 104554"/>
                <a:gd name="connsiteY6" fmla="*/ 59745 h 298726"/>
                <a:gd name="connsiteX7" fmla="*/ 58252 w 104554"/>
                <a:gd name="connsiteY7" fmla="*/ 197160 h 298726"/>
                <a:gd name="connsiteX8" fmla="*/ 53771 w 104554"/>
                <a:gd name="connsiteY8" fmla="*/ 219564 h 298726"/>
                <a:gd name="connsiteX9" fmla="*/ 11949 w 104554"/>
                <a:gd name="connsiteY9" fmla="*/ 277816 h 298726"/>
                <a:gd name="connsiteX10" fmla="*/ 0 w 104554"/>
                <a:gd name="connsiteY10" fmla="*/ 291259 h 298726"/>
                <a:gd name="connsiteX11" fmla="*/ 0 w 104554"/>
                <a:gd name="connsiteY11" fmla="*/ 291259 h 29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554" h="298726">
                  <a:moveTo>
                    <a:pt x="0" y="291259"/>
                  </a:moveTo>
                  <a:cubicBezTo>
                    <a:pt x="2987" y="292752"/>
                    <a:pt x="7468" y="294246"/>
                    <a:pt x="10456" y="295739"/>
                  </a:cubicBezTo>
                  <a:cubicBezTo>
                    <a:pt x="50783" y="313663"/>
                    <a:pt x="92606" y="322625"/>
                    <a:pt x="103061" y="294246"/>
                  </a:cubicBezTo>
                  <a:cubicBezTo>
                    <a:pt x="104554" y="289765"/>
                    <a:pt x="104554" y="285284"/>
                    <a:pt x="104554" y="279310"/>
                  </a:cubicBezTo>
                  <a:lnTo>
                    <a:pt x="106048" y="156832"/>
                  </a:lnTo>
                  <a:cubicBezTo>
                    <a:pt x="97086" y="103061"/>
                    <a:pt x="82150" y="50783"/>
                    <a:pt x="64226" y="0"/>
                  </a:cubicBezTo>
                  <a:cubicBezTo>
                    <a:pt x="62733" y="19417"/>
                    <a:pt x="64226" y="40328"/>
                    <a:pt x="65720" y="59745"/>
                  </a:cubicBezTo>
                  <a:cubicBezTo>
                    <a:pt x="68707" y="106048"/>
                    <a:pt x="65720" y="152351"/>
                    <a:pt x="58252" y="197160"/>
                  </a:cubicBezTo>
                  <a:cubicBezTo>
                    <a:pt x="56758" y="204628"/>
                    <a:pt x="55265" y="212096"/>
                    <a:pt x="53771" y="219564"/>
                  </a:cubicBezTo>
                  <a:cubicBezTo>
                    <a:pt x="46303" y="243462"/>
                    <a:pt x="31366" y="262880"/>
                    <a:pt x="11949" y="277816"/>
                  </a:cubicBezTo>
                  <a:cubicBezTo>
                    <a:pt x="7468" y="282297"/>
                    <a:pt x="2987" y="285284"/>
                    <a:pt x="0" y="291259"/>
                  </a:cubicBezTo>
                  <a:cubicBezTo>
                    <a:pt x="0" y="289765"/>
                    <a:pt x="0" y="291259"/>
                    <a:pt x="0" y="291259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1" name="任意多边形: 形状 10030"/>
            <p:cNvSpPr/>
            <p:nvPr/>
          </p:nvSpPr>
          <p:spPr>
            <a:xfrm>
              <a:off x="8638251" y="5342280"/>
              <a:ext cx="74682" cy="164300"/>
            </a:xfrm>
            <a:custGeom>
              <a:avLst/>
              <a:gdLst>
                <a:gd name="connsiteX0" fmla="*/ 22913 w 74681"/>
                <a:gd name="connsiteY0" fmla="*/ 152859 h 164299"/>
                <a:gd name="connsiteX1" fmla="*/ 58760 w 74681"/>
                <a:gd name="connsiteY1" fmla="*/ 176758 h 164299"/>
                <a:gd name="connsiteX2" fmla="*/ 58760 w 74681"/>
                <a:gd name="connsiteY2" fmla="*/ 176758 h 164299"/>
                <a:gd name="connsiteX3" fmla="*/ 82659 w 74681"/>
                <a:gd name="connsiteY3" fmla="*/ 140910 h 164299"/>
                <a:gd name="connsiteX4" fmla="*/ 60254 w 74681"/>
                <a:gd name="connsiteY4" fmla="*/ 24407 h 164299"/>
                <a:gd name="connsiteX5" fmla="*/ 24407 w 74681"/>
                <a:gd name="connsiteY5" fmla="*/ 509 h 164299"/>
                <a:gd name="connsiteX6" fmla="*/ 24407 w 74681"/>
                <a:gd name="connsiteY6" fmla="*/ 509 h 164299"/>
                <a:gd name="connsiteX7" fmla="*/ 509 w 74681"/>
                <a:gd name="connsiteY7" fmla="*/ 36356 h 164299"/>
                <a:gd name="connsiteX8" fmla="*/ 22913 w 74681"/>
                <a:gd name="connsiteY8" fmla="*/ 152859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681" h="164299">
                  <a:moveTo>
                    <a:pt x="22913" y="152859"/>
                  </a:moveTo>
                  <a:cubicBezTo>
                    <a:pt x="25901" y="169290"/>
                    <a:pt x="42330" y="179745"/>
                    <a:pt x="58760" y="176758"/>
                  </a:cubicBezTo>
                  <a:lnTo>
                    <a:pt x="58760" y="176758"/>
                  </a:lnTo>
                  <a:cubicBezTo>
                    <a:pt x="75190" y="173770"/>
                    <a:pt x="85646" y="157340"/>
                    <a:pt x="82659" y="140910"/>
                  </a:cubicBezTo>
                  <a:lnTo>
                    <a:pt x="60254" y="24407"/>
                  </a:lnTo>
                  <a:cubicBezTo>
                    <a:pt x="57267" y="7977"/>
                    <a:pt x="40837" y="-2478"/>
                    <a:pt x="24407" y="509"/>
                  </a:cubicBezTo>
                  <a:lnTo>
                    <a:pt x="24407" y="509"/>
                  </a:lnTo>
                  <a:cubicBezTo>
                    <a:pt x="7977" y="3496"/>
                    <a:pt x="-2479" y="19926"/>
                    <a:pt x="509" y="36356"/>
                  </a:cubicBezTo>
                  <a:lnTo>
                    <a:pt x="22913" y="152859"/>
                  </a:ln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2" name="任意多边形: 形状 10031"/>
            <p:cNvSpPr/>
            <p:nvPr/>
          </p:nvSpPr>
          <p:spPr>
            <a:xfrm>
              <a:off x="8502839" y="5362156"/>
              <a:ext cx="14936" cy="253918"/>
            </a:xfrm>
            <a:custGeom>
              <a:avLst/>
              <a:gdLst>
                <a:gd name="connsiteX0" fmla="*/ 0 w 14936"/>
                <a:gd name="connsiteY0" fmla="*/ 259943 h 253917"/>
                <a:gd name="connsiteX1" fmla="*/ 10456 w 14936"/>
                <a:gd name="connsiteY1" fmla="*/ 265917 h 253917"/>
                <a:gd name="connsiteX2" fmla="*/ 11949 w 14936"/>
                <a:gd name="connsiteY2" fmla="*/ 262930 h 253917"/>
                <a:gd name="connsiteX3" fmla="*/ 22405 w 14936"/>
                <a:gd name="connsiteY3" fmla="*/ 176299 h 253917"/>
                <a:gd name="connsiteX4" fmla="*/ 23898 w 14936"/>
                <a:gd name="connsiteY4" fmla="*/ 138959 h 253917"/>
                <a:gd name="connsiteX5" fmla="*/ 16430 w 14936"/>
                <a:gd name="connsiteY5" fmla="*/ 51 h 253917"/>
                <a:gd name="connsiteX6" fmla="*/ 8962 w 14936"/>
                <a:gd name="connsiteY6" fmla="*/ 161363 h 253917"/>
                <a:gd name="connsiteX7" fmla="*/ 0 w 14936"/>
                <a:gd name="connsiteY7" fmla="*/ 250981 h 253917"/>
                <a:gd name="connsiteX8" fmla="*/ 0 w 14936"/>
                <a:gd name="connsiteY8" fmla="*/ 250981 h 253917"/>
                <a:gd name="connsiteX9" fmla="*/ 0 w 14936"/>
                <a:gd name="connsiteY9" fmla="*/ 259943 h 253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53917">
                  <a:moveTo>
                    <a:pt x="0" y="259943"/>
                  </a:moveTo>
                  <a:cubicBezTo>
                    <a:pt x="0" y="259943"/>
                    <a:pt x="4481" y="262930"/>
                    <a:pt x="10456" y="265917"/>
                  </a:cubicBezTo>
                  <a:cubicBezTo>
                    <a:pt x="10456" y="264424"/>
                    <a:pt x="10456" y="264424"/>
                    <a:pt x="11949" y="262930"/>
                  </a:cubicBezTo>
                  <a:cubicBezTo>
                    <a:pt x="19418" y="234551"/>
                    <a:pt x="20911" y="206172"/>
                    <a:pt x="22405" y="176299"/>
                  </a:cubicBezTo>
                  <a:lnTo>
                    <a:pt x="23898" y="138959"/>
                  </a:lnTo>
                  <a:cubicBezTo>
                    <a:pt x="23898" y="127010"/>
                    <a:pt x="17924" y="-2937"/>
                    <a:pt x="16430" y="51"/>
                  </a:cubicBezTo>
                  <a:lnTo>
                    <a:pt x="8962" y="161363"/>
                  </a:lnTo>
                  <a:cubicBezTo>
                    <a:pt x="5974" y="186755"/>
                    <a:pt x="2987" y="216628"/>
                    <a:pt x="0" y="250981"/>
                  </a:cubicBezTo>
                  <a:cubicBezTo>
                    <a:pt x="0" y="250981"/>
                    <a:pt x="0" y="250981"/>
                    <a:pt x="0" y="250981"/>
                  </a:cubicBezTo>
                  <a:cubicBezTo>
                    <a:pt x="0" y="255462"/>
                    <a:pt x="0" y="258449"/>
                    <a:pt x="0" y="259943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3" name="任意多边形: 形状 10032"/>
            <p:cNvSpPr/>
            <p:nvPr/>
          </p:nvSpPr>
          <p:spPr>
            <a:xfrm>
              <a:off x="8550635" y="5467668"/>
              <a:ext cx="14936" cy="14936"/>
            </a:xfrm>
            <a:custGeom>
              <a:avLst/>
              <a:gdLst>
                <a:gd name="connsiteX0" fmla="*/ 0 w 0"/>
                <a:gd name="connsiteY0" fmla="*/ 3573 h 0"/>
                <a:gd name="connsiteX1" fmla="*/ 4481 w 0"/>
                <a:gd name="connsiteY1" fmla="*/ 11041 h 0"/>
                <a:gd name="connsiteX2" fmla="*/ 8962 w 0"/>
                <a:gd name="connsiteY2" fmla="*/ 8054 h 0"/>
                <a:gd name="connsiteX3" fmla="*/ 4481 w 0"/>
                <a:gd name="connsiteY3" fmla="*/ 586 h 0"/>
                <a:gd name="connsiteX4" fmla="*/ 0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573"/>
                  </a:moveTo>
                  <a:cubicBezTo>
                    <a:pt x="0" y="6561"/>
                    <a:pt x="1494" y="9548"/>
                    <a:pt x="4481" y="11041"/>
                  </a:cubicBezTo>
                  <a:cubicBezTo>
                    <a:pt x="7468" y="12535"/>
                    <a:pt x="8962" y="11041"/>
                    <a:pt x="8962" y="8054"/>
                  </a:cubicBezTo>
                  <a:cubicBezTo>
                    <a:pt x="8962" y="5067"/>
                    <a:pt x="7468" y="2080"/>
                    <a:pt x="4481" y="586"/>
                  </a:cubicBezTo>
                  <a:cubicBezTo>
                    <a:pt x="1494" y="-907"/>
                    <a:pt x="0" y="586"/>
                    <a:pt x="0" y="3573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4" name="任意多边形: 形状 10033"/>
            <p:cNvSpPr/>
            <p:nvPr/>
          </p:nvSpPr>
          <p:spPr>
            <a:xfrm>
              <a:off x="8553622" y="5532480"/>
              <a:ext cx="14936" cy="14936"/>
            </a:xfrm>
            <a:custGeom>
              <a:avLst/>
              <a:gdLst>
                <a:gd name="connsiteX0" fmla="*/ 0 w 0"/>
                <a:gd name="connsiteY0" fmla="*/ 2987 h 0"/>
                <a:gd name="connsiteX1" fmla="*/ 4481 w 0"/>
                <a:gd name="connsiteY1" fmla="*/ 10455 h 0"/>
                <a:gd name="connsiteX2" fmla="*/ 8962 w 0"/>
                <a:gd name="connsiteY2" fmla="*/ 7468 h 0"/>
                <a:gd name="connsiteX3" fmla="*/ 4481 w 0"/>
                <a:gd name="connsiteY3" fmla="*/ 0 h 0"/>
                <a:gd name="connsiteX4" fmla="*/ 0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2987"/>
                  </a:moveTo>
                  <a:cubicBezTo>
                    <a:pt x="0" y="5974"/>
                    <a:pt x="1494" y="8962"/>
                    <a:pt x="4481" y="10455"/>
                  </a:cubicBezTo>
                  <a:cubicBezTo>
                    <a:pt x="7468" y="11949"/>
                    <a:pt x="8962" y="10455"/>
                    <a:pt x="8962" y="7468"/>
                  </a:cubicBezTo>
                  <a:cubicBezTo>
                    <a:pt x="8962" y="4481"/>
                    <a:pt x="7468" y="1494"/>
                    <a:pt x="4481" y="0"/>
                  </a:cubicBezTo>
                  <a:cubicBezTo>
                    <a:pt x="1494" y="0"/>
                    <a:pt x="0" y="1494"/>
                    <a:pt x="0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5" name="任意多边形: 形状 10034"/>
            <p:cNvSpPr/>
            <p:nvPr/>
          </p:nvSpPr>
          <p:spPr>
            <a:xfrm>
              <a:off x="8556610" y="5598200"/>
              <a:ext cx="14936" cy="14936"/>
            </a:xfrm>
            <a:custGeom>
              <a:avLst/>
              <a:gdLst>
                <a:gd name="connsiteX0" fmla="*/ 0 w 0"/>
                <a:gd name="connsiteY0" fmla="*/ 2987 h 0"/>
                <a:gd name="connsiteX1" fmla="*/ 4481 w 0"/>
                <a:gd name="connsiteY1" fmla="*/ 10456 h 0"/>
                <a:gd name="connsiteX2" fmla="*/ 8962 w 0"/>
                <a:gd name="connsiteY2" fmla="*/ 7468 h 0"/>
                <a:gd name="connsiteX3" fmla="*/ 4481 w 0"/>
                <a:gd name="connsiteY3" fmla="*/ 0 h 0"/>
                <a:gd name="connsiteX4" fmla="*/ 0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2987"/>
                  </a:moveTo>
                  <a:cubicBezTo>
                    <a:pt x="0" y="5974"/>
                    <a:pt x="1494" y="8962"/>
                    <a:pt x="4481" y="10456"/>
                  </a:cubicBezTo>
                  <a:cubicBezTo>
                    <a:pt x="7468" y="11949"/>
                    <a:pt x="8962" y="10456"/>
                    <a:pt x="8962" y="7468"/>
                  </a:cubicBezTo>
                  <a:cubicBezTo>
                    <a:pt x="8962" y="4481"/>
                    <a:pt x="7468" y="1494"/>
                    <a:pt x="4481" y="0"/>
                  </a:cubicBezTo>
                  <a:cubicBezTo>
                    <a:pt x="1494" y="0"/>
                    <a:pt x="0" y="0"/>
                    <a:pt x="0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6" name="任意多边形: 形状 10035"/>
            <p:cNvSpPr/>
            <p:nvPr/>
          </p:nvSpPr>
          <p:spPr>
            <a:xfrm>
              <a:off x="8589470" y="5448837"/>
              <a:ext cx="29873" cy="14936"/>
            </a:xfrm>
            <a:custGeom>
              <a:avLst/>
              <a:gdLst>
                <a:gd name="connsiteX0" fmla="*/ 0 w 29872"/>
                <a:gd name="connsiteY0" fmla="*/ 10456 h 14936"/>
                <a:gd name="connsiteX1" fmla="*/ 32860 w 29872"/>
                <a:gd name="connsiteY1" fmla="*/ 26885 h 14936"/>
                <a:gd name="connsiteX2" fmla="*/ 32860 w 29872"/>
                <a:gd name="connsiteY2" fmla="*/ 17924 h 14936"/>
                <a:gd name="connsiteX3" fmla="*/ 0 w 29872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0" y="10456"/>
                  </a:moveTo>
                  <a:lnTo>
                    <a:pt x="32860" y="26885"/>
                  </a:lnTo>
                  <a:lnTo>
                    <a:pt x="32860" y="179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4F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7" name="任意多边形: 形状 10036"/>
            <p:cNvSpPr/>
            <p:nvPr/>
          </p:nvSpPr>
          <p:spPr>
            <a:xfrm>
              <a:off x="8680581" y="5647430"/>
              <a:ext cx="14936" cy="14936"/>
            </a:xfrm>
            <a:custGeom>
              <a:avLst/>
              <a:gdLst>
                <a:gd name="connsiteX0" fmla="*/ 0 w 0"/>
                <a:gd name="connsiteY0" fmla="*/ 4541 h 0"/>
                <a:gd name="connsiteX1" fmla="*/ 5975 w 0"/>
                <a:gd name="connsiteY1" fmla="*/ 13503 h 0"/>
                <a:gd name="connsiteX2" fmla="*/ 11949 w 0"/>
                <a:gd name="connsiteY2" fmla="*/ 10516 h 0"/>
                <a:gd name="connsiteX3" fmla="*/ 5975 w 0"/>
                <a:gd name="connsiteY3" fmla="*/ 1554 h 0"/>
                <a:gd name="connsiteX4" fmla="*/ 0 w 0"/>
                <a:gd name="connsiteY4" fmla="*/ 45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4541"/>
                  </a:moveTo>
                  <a:cubicBezTo>
                    <a:pt x="0" y="7528"/>
                    <a:pt x="2987" y="12010"/>
                    <a:pt x="5975" y="13503"/>
                  </a:cubicBezTo>
                  <a:cubicBezTo>
                    <a:pt x="8962" y="14997"/>
                    <a:pt x="11949" y="13503"/>
                    <a:pt x="11949" y="10516"/>
                  </a:cubicBezTo>
                  <a:cubicBezTo>
                    <a:pt x="11949" y="7528"/>
                    <a:pt x="8962" y="3048"/>
                    <a:pt x="5975" y="1554"/>
                  </a:cubicBezTo>
                  <a:cubicBezTo>
                    <a:pt x="2987" y="-1433"/>
                    <a:pt x="0" y="60"/>
                    <a:pt x="0" y="454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8" name="任意多边形: 形状 10037"/>
            <p:cNvSpPr/>
            <p:nvPr/>
          </p:nvSpPr>
          <p:spPr>
            <a:xfrm>
              <a:off x="8642120" y="5614630"/>
              <a:ext cx="44809" cy="74682"/>
            </a:xfrm>
            <a:custGeom>
              <a:avLst/>
              <a:gdLst>
                <a:gd name="connsiteX0" fmla="*/ 57878 w 44809"/>
                <a:gd name="connsiteY0" fmla="*/ 56758 h 74681"/>
                <a:gd name="connsiteX1" fmla="*/ 50410 w 44809"/>
                <a:gd name="connsiteY1" fmla="*/ 65720 h 74681"/>
                <a:gd name="connsiteX2" fmla="*/ 10082 w 44809"/>
                <a:gd name="connsiteY2" fmla="*/ 71694 h 74681"/>
                <a:gd name="connsiteX3" fmla="*/ 20537 w 44809"/>
                <a:gd name="connsiteY3" fmla="*/ 59745 h 74681"/>
                <a:gd name="connsiteX4" fmla="*/ 17550 w 44809"/>
                <a:gd name="connsiteY4" fmla="*/ 38835 h 74681"/>
                <a:gd name="connsiteX5" fmla="*/ 16056 w 44809"/>
                <a:gd name="connsiteY5" fmla="*/ 55264 h 74681"/>
                <a:gd name="connsiteX6" fmla="*/ 4107 w 44809"/>
                <a:gd name="connsiteY6" fmla="*/ 65720 h 74681"/>
                <a:gd name="connsiteX7" fmla="*/ 2614 w 44809"/>
                <a:gd name="connsiteY7" fmla="*/ 65720 h 74681"/>
                <a:gd name="connsiteX8" fmla="*/ 1120 w 44809"/>
                <a:gd name="connsiteY8" fmla="*/ 64226 h 74681"/>
                <a:gd name="connsiteX9" fmla="*/ 1120 w 44809"/>
                <a:gd name="connsiteY9" fmla="*/ 55264 h 74681"/>
                <a:gd name="connsiteX10" fmla="*/ 4107 w 44809"/>
                <a:gd name="connsiteY10" fmla="*/ 49290 h 74681"/>
                <a:gd name="connsiteX11" fmla="*/ 5601 w 44809"/>
                <a:gd name="connsiteY11" fmla="*/ 40328 h 74681"/>
                <a:gd name="connsiteX12" fmla="*/ 20537 w 44809"/>
                <a:gd name="connsiteY12" fmla="*/ 7468 h 74681"/>
                <a:gd name="connsiteX13" fmla="*/ 26512 w 44809"/>
                <a:gd name="connsiteY13" fmla="*/ 2987 h 74681"/>
                <a:gd name="connsiteX14" fmla="*/ 42942 w 44809"/>
                <a:gd name="connsiteY14" fmla="*/ 0 h 74681"/>
                <a:gd name="connsiteX15" fmla="*/ 45929 w 44809"/>
                <a:gd name="connsiteY15" fmla="*/ 0 h 74681"/>
                <a:gd name="connsiteX16" fmla="*/ 48916 w 44809"/>
                <a:gd name="connsiteY16" fmla="*/ 1494 h 74681"/>
                <a:gd name="connsiteX17" fmla="*/ 59372 w 44809"/>
                <a:gd name="connsiteY17" fmla="*/ 22405 h 74681"/>
                <a:gd name="connsiteX18" fmla="*/ 57878 w 44809"/>
                <a:gd name="connsiteY18" fmla="*/ 56758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809" h="74681">
                  <a:moveTo>
                    <a:pt x="57878" y="56758"/>
                  </a:moveTo>
                  <a:cubicBezTo>
                    <a:pt x="56385" y="59745"/>
                    <a:pt x="53397" y="64226"/>
                    <a:pt x="50410" y="65720"/>
                  </a:cubicBezTo>
                  <a:cubicBezTo>
                    <a:pt x="41448" y="73188"/>
                    <a:pt x="16056" y="88124"/>
                    <a:pt x="10082" y="71694"/>
                  </a:cubicBezTo>
                  <a:cubicBezTo>
                    <a:pt x="8588" y="64226"/>
                    <a:pt x="20537" y="67214"/>
                    <a:pt x="20537" y="59745"/>
                  </a:cubicBezTo>
                  <a:cubicBezTo>
                    <a:pt x="20537" y="52277"/>
                    <a:pt x="17550" y="46303"/>
                    <a:pt x="17550" y="38835"/>
                  </a:cubicBezTo>
                  <a:cubicBezTo>
                    <a:pt x="17550" y="44809"/>
                    <a:pt x="17550" y="50783"/>
                    <a:pt x="16056" y="55264"/>
                  </a:cubicBezTo>
                  <a:cubicBezTo>
                    <a:pt x="14563" y="59745"/>
                    <a:pt x="8588" y="64226"/>
                    <a:pt x="4107" y="65720"/>
                  </a:cubicBezTo>
                  <a:cubicBezTo>
                    <a:pt x="4107" y="65720"/>
                    <a:pt x="2614" y="65720"/>
                    <a:pt x="2614" y="65720"/>
                  </a:cubicBezTo>
                  <a:cubicBezTo>
                    <a:pt x="2614" y="65720"/>
                    <a:pt x="2614" y="65720"/>
                    <a:pt x="1120" y="64226"/>
                  </a:cubicBezTo>
                  <a:cubicBezTo>
                    <a:pt x="-373" y="61239"/>
                    <a:pt x="-373" y="58252"/>
                    <a:pt x="1120" y="55264"/>
                  </a:cubicBezTo>
                  <a:cubicBezTo>
                    <a:pt x="2614" y="53771"/>
                    <a:pt x="4107" y="50783"/>
                    <a:pt x="4107" y="49290"/>
                  </a:cubicBezTo>
                  <a:cubicBezTo>
                    <a:pt x="5601" y="46303"/>
                    <a:pt x="5601" y="43315"/>
                    <a:pt x="5601" y="40328"/>
                  </a:cubicBezTo>
                  <a:cubicBezTo>
                    <a:pt x="5601" y="28379"/>
                    <a:pt x="11576" y="16430"/>
                    <a:pt x="20537" y="7468"/>
                  </a:cubicBezTo>
                  <a:cubicBezTo>
                    <a:pt x="22031" y="5974"/>
                    <a:pt x="23524" y="4481"/>
                    <a:pt x="26512" y="2987"/>
                  </a:cubicBezTo>
                  <a:cubicBezTo>
                    <a:pt x="30993" y="0"/>
                    <a:pt x="36968" y="0"/>
                    <a:pt x="42942" y="0"/>
                  </a:cubicBezTo>
                  <a:cubicBezTo>
                    <a:pt x="44436" y="0"/>
                    <a:pt x="45929" y="0"/>
                    <a:pt x="45929" y="0"/>
                  </a:cubicBezTo>
                  <a:cubicBezTo>
                    <a:pt x="47423" y="0"/>
                    <a:pt x="47423" y="1494"/>
                    <a:pt x="48916" y="1494"/>
                  </a:cubicBezTo>
                  <a:cubicBezTo>
                    <a:pt x="54891" y="7468"/>
                    <a:pt x="57878" y="14936"/>
                    <a:pt x="59372" y="22405"/>
                  </a:cubicBezTo>
                  <a:cubicBezTo>
                    <a:pt x="59372" y="31366"/>
                    <a:pt x="59372" y="52277"/>
                    <a:pt x="57878" y="56758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9" name="任意多边形: 形状 10038"/>
            <p:cNvSpPr/>
            <p:nvPr/>
          </p:nvSpPr>
          <p:spPr>
            <a:xfrm>
              <a:off x="8646228" y="5459167"/>
              <a:ext cx="74682" cy="179236"/>
            </a:xfrm>
            <a:custGeom>
              <a:avLst/>
              <a:gdLst>
                <a:gd name="connsiteX0" fmla="*/ 0 w 74681"/>
                <a:gd name="connsiteY0" fmla="*/ 164426 h 179236"/>
                <a:gd name="connsiteX1" fmla="*/ 61239 w 74681"/>
                <a:gd name="connsiteY1" fmla="*/ 170400 h 179236"/>
                <a:gd name="connsiteX2" fmla="*/ 74682 w 74681"/>
                <a:gd name="connsiteY2" fmla="*/ 34479 h 179236"/>
                <a:gd name="connsiteX3" fmla="*/ 46303 w 74681"/>
                <a:gd name="connsiteY3" fmla="*/ 126 h 179236"/>
                <a:gd name="connsiteX4" fmla="*/ 46303 w 74681"/>
                <a:gd name="connsiteY4" fmla="*/ 126 h 179236"/>
                <a:gd name="connsiteX5" fmla="*/ 11949 w 74681"/>
                <a:gd name="connsiteY5" fmla="*/ 28505 h 179236"/>
                <a:gd name="connsiteX6" fmla="*/ 0 w 74681"/>
                <a:gd name="connsiteY6" fmla="*/ 164426 h 17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681" h="179236">
                  <a:moveTo>
                    <a:pt x="0" y="164426"/>
                  </a:moveTo>
                  <a:cubicBezTo>
                    <a:pt x="4481" y="183843"/>
                    <a:pt x="59745" y="186830"/>
                    <a:pt x="61239" y="170400"/>
                  </a:cubicBezTo>
                  <a:lnTo>
                    <a:pt x="74682" y="34479"/>
                  </a:lnTo>
                  <a:cubicBezTo>
                    <a:pt x="76175" y="18049"/>
                    <a:pt x="64226" y="3113"/>
                    <a:pt x="46303" y="126"/>
                  </a:cubicBezTo>
                  <a:lnTo>
                    <a:pt x="46303" y="126"/>
                  </a:lnTo>
                  <a:cubicBezTo>
                    <a:pt x="29873" y="-1368"/>
                    <a:pt x="14936" y="10581"/>
                    <a:pt x="11949" y="28505"/>
                  </a:cubicBezTo>
                  <a:lnTo>
                    <a:pt x="0" y="164426"/>
                  </a:ln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0" name="任意多边形: 形状 10039"/>
            <p:cNvSpPr/>
            <p:nvPr/>
          </p:nvSpPr>
          <p:spPr>
            <a:xfrm>
              <a:off x="8604406" y="5173635"/>
              <a:ext cx="29873" cy="29873"/>
            </a:xfrm>
            <a:custGeom>
              <a:avLst/>
              <a:gdLst>
                <a:gd name="connsiteX0" fmla="*/ 2987 w 29872"/>
                <a:gd name="connsiteY0" fmla="*/ 373 h 29872"/>
                <a:gd name="connsiteX1" fmla="*/ 0 w 29872"/>
                <a:gd name="connsiteY1" fmla="*/ 3360 h 29872"/>
                <a:gd name="connsiteX2" fmla="*/ 2987 w 29872"/>
                <a:gd name="connsiteY2" fmla="*/ 7842 h 29872"/>
                <a:gd name="connsiteX3" fmla="*/ 8961 w 29872"/>
                <a:gd name="connsiteY3" fmla="*/ 7842 h 29872"/>
                <a:gd name="connsiteX4" fmla="*/ 22405 w 29872"/>
                <a:gd name="connsiteY4" fmla="*/ 15310 h 29872"/>
                <a:gd name="connsiteX5" fmla="*/ 25392 w 29872"/>
                <a:gd name="connsiteY5" fmla="*/ 25765 h 29872"/>
                <a:gd name="connsiteX6" fmla="*/ 31366 w 29872"/>
                <a:gd name="connsiteY6" fmla="*/ 34727 h 29872"/>
                <a:gd name="connsiteX7" fmla="*/ 28379 w 29872"/>
                <a:gd name="connsiteY7" fmla="*/ 9335 h 29872"/>
                <a:gd name="connsiteX8" fmla="*/ 2987 w 29872"/>
                <a:gd name="connsiteY8" fmla="*/ 373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72" h="29872">
                  <a:moveTo>
                    <a:pt x="2987" y="373"/>
                  </a:moveTo>
                  <a:cubicBezTo>
                    <a:pt x="1493" y="373"/>
                    <a:pt x="0" y="1867"/>
                    <a:pt x="0" y="3360"/>
                  </a:cubicBezTo>
                  <a:cubicBezTo>
                    <a:pt x="0" y="4854"/>
                    <a:pt x="1493" y="6348"/>
                    <a:pt x="2987" y="7842"/>
                  </a:cubicBezTo>
                  <a:cubicBezTo>
                    <a:pt x="4481" y="7842"/>
                    <a:pt x="5974" y="7842"/>
                    <a:pt x="8961" y="7842"/>
                  </a:cubicBezTo>
                  <a:cubicBezTo>
                    <a:pt x="14936" y="7842"/>
                    <a:pt x="19417" y="10829"/>
                    <a:pt x="22405" y="15310"/>
                  </a:cubicBezTo>
                  <a:cubicBezTo>
                    <a:pt x="23898" y="18297"/>
                    <a:pt x="23898" y="22778"/>
                    <a:pt x="25392" y="25765"/>
                  </a:cubicBezTo>
                  <a:cubicBezTo>
                    <a:pt x="26885" y="28752"/>
                    <a:pt x="28379" y="33233"/>
                    <a:pt x="31366" y="34727"/>
                  </a:cubicBezTo>
                  <a:cubicBezTo>
                    <a:pt x="31366" y="25765"/>
                    <a:pt x="32860" y="16804"/>
                    <a:pt x="28379" y="9335"/>
                  </a:cubicBezTo>
                  <a:cubicBezTo>
                    <a:pt x="22405" y="1867"/>
                    <a:pt x="11949" y="-1120"/>
                    <a:pt x="2987" y="373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1" name="任意多边形: 形状 10040"/>
            <p:cNvSpPr/>
            <p:nvPr/>
          </p:nvSpPr>
          <p:spPr>
            <a:xfrm>
              <a:off x="8560344" y="5282655"/>
              <a:ext cx="59745" cy="29873"/>
            </a:xfrm>
            <a:custGeom>
              <a:avLst/>
              <a:gdLst>
                <a:gd name="connsiteX0" fmla="*/ 2240 w 59745"/>
                <a:gd name="connsiteY0" fmla="*/ 24287 h 29872"/>
                <a:gd name="connsiteX1" fmla="*/ 11202 w 59745"/>
                <a:gd name="connsiteY1" fmla="*/ 31755 h 29872"/>
                <a:gd name="connsiteX2" fmla="*/ 56011 w 59745"/>
                <a:gd name="connsiteY2" fmla="*/ 30261 h 29872"/>
                <a:gd name="connsiteX3" fmla="*/ 54517 w 59745"/>
                <a:gd name="connsiteY3" fmla="*/ 4870 h 29872"/>
                <a:gd name="connsiteX4" fmla="*/ 45556 w 59745"/>
                <a:gd name="connsiteY4" fmla="*/ 1882 h 29872"/>
                <a:gd name="connsiteX5" fmla="*/ 39581 w 59745"/>
                <a:gd name="connsiteY5" fmla="*/ 389 h 29872"/>
                <a:gd name="connsiteX6" fmla="*/ 9708 w 59745"/>
                <a:gd name="connsiteY6" fmla="*/ 6363 h 29872"/>
                <a:gd name="connsiteX7" fmla="*/ 2240 w 59745"/>
                <a:gd name="connsiteY7" fmla="*/ 15325 h 29872"/>
                <a:gd name="connsiteX8" fmla="*/ 2240 w 59745"/>
                <a:gd name="connsiteY8" fmla="*/ 24287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9872">
                  <a:moveTo>
                    <a:pt x="2240" y="24287"/>
                  </a:moveTo>
                  <a:cubicBezTo>
                    <a:pt x="3734" y="27274"/>
                    <a:pt x="6721" y="30261"/>
                    <a:pt x="11202" y="31755"/>
                  </a:cubicBezTo>
                  <a:cubicBezTo>
                    <a:pt x="24645" y="37729"/>
                    <a:pt x="44062" y="37729"/>
                    <a:pt x="56011" y="30261"/>
                  </a:cubicBezTo>
                  <a:cubicBezTo>
                    <a:pt x="67960" y="22793"/>
                    <a:pt x="67960" y="10844"/>
                    <a:pt x="54517" y="4870"/>
                  </a:cubicBezTo>
                  <a:cubicBezTo>
                    <a:pt x="51530" y="3376"/>
                    <a:pt x="48543" y="1882"/>
                    <a:pt x="45556" y="1882"/>
                  </a:cubicBezTo>
                  <a:cubicBezTo>
                    <a:pt x="44062" y="1882"/>
                    <a:pt x="42569" y="1882"/>
                    <a:pt x="39581" y="389"/>
                  </a:cubicBezTo>
                  <a:cubicBezTo>
                    <a:pt x="29126" y="-1105"/>
                    <a:pt x="17177" y="1882"/>
                    <a:pt x="9708" y="6363"/>
                  </a:cubicBezTo>
                  <a:cubicBezTo>
                    <a:pt x="5228" y="9350"/>
                    <a:pt x="2240" y="12338"/>
                    <a:pt x="2240" y="15325"/>
                  </a:cubicBezTo>
                  <a:cubicBezTo>
                    <a:pt x="-747" y="18312"/>
                    <a:pt x="-747" y="21299"/>
                    <a:pt x="2240" y="2428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2" name="任意多边形: 形状 10041"/>
            <p:cNvSpPr/>
            <p:nvPr/>
          </p:nvSpPr>
          <p:spPr>
            <a:xfrm>
              <a:off x="8556751" y="5216376"/>
              <a:ext cx="59745" cy="74682"/>
            </a:xfrm>
            <a:custGeom>
              <a:avLst/>
              <a:gdLst>
                <a:gd name="connsiteX0" fmla="*/ 0 w 59745"/>
                <a:gd name="connsiteY0" fmla="*/ 2483 h 74681"/>
                <a:gd name="connsiteX1" fmla="*/ 64181 w 59745"/>
                <a:gd name="connsiteY1" fmla="*/ 0 h 74681"/>
                <a:gd name="connsiteX2" fmla="*/ 67357 w 59745"/>
                <a:gd name="connsiteY2" fmla="*/ 82092 h 74681"/>
                <a:gd name="connsiteX3" fmla="*/ 3176 w 59745"/>
                <a:gd name="connsiteY3" fmla="*/ 84575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74681">
                  <a:moveTo>
                    <a:pt x="0" y="2483"/>
                  </a:moveTo>
                  <a:lnTo>
                    <a:pt x="64181" y="0"/>
                  </a:lnTo>
                  <a:lnTo>
                    <a:pt x="67357" y="82092"/>
                  </a:lnTo>
                  <a:lnTo>
                    <a:pt x="3176" y="84575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3" name="任意多边形: 形状 10042"/>
            <p:cNvSpPr/>
            <p:nvPr/>
          </p:nvSpPr>
          <p:spPr>
            <a:xfrm>
              <a:off x="8534091" y="5154411"/>
              <a:ext cx="89618" cy="119491"/>
            </a:xfrm>
            <a:custGeom>
              <a:avLst/>
              <a:gdLst>
                <a:gd name="connsiteX0" fmla="*/ 76290 w 89618"/>
                <a:gd name="connsiteY0" fmla="*/ 67393 h 119490"/>
                <a:gd name="connsiteX1" fmla="*/ 74796 w 89618"/>
                <a:gd name="connsiteY1" fmla="*/ 94279 h 119490"/>
                <a:gd name="connsiteX2" fmla="*/ 64340 w 89618"/>
                <a:gd name="connsiteY2" fmla="*/ 119670 h 119490"/>
                <a:gd name="connsiteX3" fmla="*/ 28493 w 89618"/>
                <a:gd name="connsiteY3" fmla="*/ 133113 h 119490"/>
                <a:gd name="connsiteX4" fmla="*/ 19531 w 89618"/>
                <a:gd name="connsiteY4" fmla="*/ 130126 h 119490"/>
                <a:gd name="connsiteX5" fmla="*/ 10570 w 89618"/>
                <a:gd name="connsiteY5" fmla="*/ 115189 h 119490"/>
                <a:gd name="connsiteX6" fmla="*/ 114 w 89618"/>
                <a:gd name="connsiteY6" fmla="*/ 42001 h 119490"/>
                <a:gd name="connsiteX7" fmla="*/ 22519 w 89618"/>
                <a:gd name="connsiteY7" fmla="*/ 6154 h 119490"/>
                <a:gd name="connsiteX8" fmla="*/ 94213 w 89618"/>
                <a:gd name="connsiteY8" fmla="*/ 31546 h 119490"/>
                <a:gd name="connsiteX9" fmla="*/ 76290 w 89618"/>
                <a:gd name="connsiteY9" fmla="*/ 67393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618" h="119490">
                  <a:moveTo>
                    <a:pt x="76290" y="67393"/>
                  </a:moveTo>
                  <a:cubicBezTo>
                    <a:pt x="76290" y="76355"/>
                    <a:pt x="76290" y="85317"/>
                    <a:pt x="74796" y="94279"/>
                  </a:cubicBezTo>
                  <a:cubicBezTo>
                    <a:pt x="73302" y="103240"/>
                    <a:pt x="70315" y="112202"/>
                    <a:pt x="64340" y="119670"/>
                  </a:cubicBezTo>
                  <a:cubicBezTo>
                    <a:pt x="55379" y="130126"/>
                    <a:pt x="41936" y="134606"/>
                    <a:pt x="28493" y="133113"/>
                  </a:cubicBezTo>
                  <a:cubicBezTo>
                    <a:pt x="25506" y="133113"/>
                    <a:pt x="22519" y="131619"/>
                    <a:pt x="19531" y="130126"/>
                  </a:cubicBezTo>
                  <a:cubicBezTo>
                    <a:pt x="15051" y="127138"/>
                    <a:pt x="12063" y="121164"/>
                    <a:pt x="10570" y="115189"/>
                  </a:cubicBezTo>
                  <a:cubicBezTo>
                    <a:pt x="3102" y="91291"/>
                    <a:pt x="1608" y="67393"/>
                    <a:pt x="114" y="42001"/>
                  </a:cubicBezTo>
                  <a:cubicBezTo>
                    <a:pt x="-1379" y="19597"/>
                    <a:pt x="12063" y="10635"/>
                    <a:pt x="22519" y="6154"/>
                  </a:cubicBezTo>
                  <a:cubicBezTo>
                    <a:pt x="34468" y="179"/>
                    <a:pt x="92720" y="-11770"/>
                    <a:pt x="94213" y="31546"/>
                  </a:cubicBezTo>
                  <a:cubicBezTo>
                    <a:pt x="92720" y="34533"/>
                    <a:pt x="76290" y="53950"/>
                    <a:pt x="76290" y="67393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4" name="任意多边形: 形状 10043"/>
            <p:cNvSpPr/>
            <p:nvPr/>
          </p:nvSpPr>
          <p:spPr>
            <a:xfrm>
              <a:off x="8560110" y="5224792"/>
              <a:ext cx="44809" cy="74682"/>
            </a:xfrm>
            <a:custGeom>
              <a:avLst/>
              <a:gdLst>
                <a:gd name="connsiteX0" fmla="*/ 2475 w 44809"/>
                <a:gd name="connsiteY0" fmla="*/ 82150 h 74681"/>
                <a:gd name="connsiteX1" fmla="*/ 38322 w 44809"/>
                <a:gd name="connsiteY1" fmla="*/ 68707 h 74681"/>
                <a:gd name="connsiteX2" fmla="*/ 44297 w 44809"/>
                <a:gd name="connsiteY2" fmla="*/ 58252 h 74681"/>
                <a:gd name="connsiteX3" fmla="*/ 48777 w 44809"/>
                <a:gd name="connsiteY3" fmla="*/ 43315 h 74681"/>
                <a:gd name="connsiteX4" fmla="*/ 50271 w 44809"/>
                <a:gd name="connsiteY4" fmla="*/ 16430 h 74681"/>
                <a:gd name="connsiteX5" fmla="*/ 50271 w 44809"/>
                <a:gd name="connsiteY5" fmla="*/ 0 h 74681"/>
                <a:gd name="connsiteX6" fmla="*/ 50271 w 44809"/>
                <a:gd name="connsiteY6" fmla="*/ 5974 h 74681"/>
                <a:gd name="connsiteX7" fmla="*/ 48777 w 44809"/>
                <a:gd name="connsiteY7" fmla="*/ 32860 h 74681"/>
                <a:gd name="connsiteX8" fmla="*/ 38322 w 44809"/>
                <a:gd name="connsiteY8" fmla="*/ 56758 h 74681"/>
                <a:gd name="connsiteX9" fmla="*/ 36828 w 44809"/>
                <a:gd name="connsiteY9" fmla="*/ 58252 h 74681"/>
                <a:gd name="connsiteX10" fmla="*/ 981 w 44809"/>
                <a:gd name="connsiteY10" fmla="*/ 71694 h 74681"/>
                <a:gd name="connsiteX11" fmla="*/ 981 w 44809"/>
                <a:gd name="connsiteY11" fmla="*/ 71694 h 74681"/>
                <a:gd name="connsiteX12" fmla="*/ 2475 w 44809"/>
                <a:gd name="connsiteY12" fmla="*/ 8215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09" h="74681">
                  <a:moveTo>
                    <a:pt x="2475" y="82150"/>
                  </a:moveTo>
                  <a:cubicBezTo>
                    <a:pt x="15917" y="83644"/>
                    <a:pt x="29360" y="79162"/>
                    <a:pt x="38322" y="68707"/>
                  </a:cubicBezTo>
                  <a:cubicBezTo>
                    <a:pt x="41309" y="65720"/>
                    <a:pt x="42803" y="62733"/>
                    <a:pt x="44297" y="58252"/>
                  </a:cubicBezTo>
                  <a:cubicBezTo>
                    <a:pt x="45790" y="53771"/>
                    <a:pt x="47284" y="49290"/>
                    <a:pt x="48777" y="43315"/>
                  </a:cubicBezTo>
                  <a:cubicBezTo>
                    <a:pt x="50271" y="34353"/>
                    <a:pt x="50271" y="25392"/>
                    <a:pt x="50271" y="16430"/>
                  </a:cubicBezTo>
                  <a:cubicBezTo>
                    <a:pt x="50271" y="11949"/>
                    <a:pt x="50271" y="5974"/>
                    <a:pt x="50271" y="0"/>
                  </a:cubicBezTo>
                  <a:cubicBezTo>
                    <a:pt x="50271" y="2987"/>
                    <a:pt x="50271" y="4481"/>
                    <a:pt x="50271" y="5974"/>
                  </a:cubicBezTo>
                  <a:cubicBezTo>
                    <a:pt x="50271" y="14936"/>
                    <a:pt x="50271" y="23898"/>
                    <a:pt x="48777" y="32860"/>
                  </a:cubicBezTo>
                  <a:cubicBezTo>
                    <a:pt x="47284" y="41822"/>
                    <a:pt x="44297" y="49290"/>
                    <a:pt x="38322" y="56758"/>
                  </a:cubicBezTo>
                  <a:cubicBezTo>
                    <a:pt x="38322" y="56758"/>
                    <a:pt x="36828" y="58252"/>
                    <a:pt x="36828" y="58252"/>
                  </a:cubicBezTo>
                  <a:cubicBezTo>
                    <a:pt x="27867" y="68707"/>
                    <a:pt x="14424" y="73188"/>
                    <a:pt x="981" y="71694"/>
                  </a:cubicBezTo>
                  <a:cubicBezTo>
                    <a:pt x="981" y="71694"/>
                    <a:pt x="981" y="71694"/>
                    <a:pt x="981" y="71694"/>
                  </a:cubicBezTo>
                  <a:cubicBezTo>
                    <a:pt x="-512" y="76175"/>
                    <a:pt x="-512" y="79162"/>
                    <a:pt x="2475" y="82150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5" name="任意多边形: 形状 10044"/>
            <p:cNvSpPr/>
            <p:nvPr/>
          </p:nvSpPr>
          <p:spPr>
            <a:xfrm>
              <a:off x="8604406" y="5183407"/>
              <a:ext cx="29873" cy="59745"/>
            </a:xfrm>
            <a:custGeom>
              <a:avLst/>
              <a:gdLst>
                <a:gd name="connsiteX0" fmla="*/ 1493 w 29872"/>
                <a:gd name="connsiteY0" fmla="*/ 44372 h 59745"/>
                <a:gd name="connsiteX1" fmla="*/ 10455 w 29872"/>
                <a:gd name="connsiteY1" fmla="*/ 38398 h 59745"/>
                <a:gd name="connsiteX2" fmla="*/ 7468 w 29872"/>
                <a:gd name="connsiteY2" fmla="*/ 54828 h 59745"/>
                <a:gd name="connsiteX3" fmla="*/ 17923 w 29872"/>
                <a:gd name="connsiteY3" fmla="*/ 68270 h 59745"/>
                <a:gd name="connsiteX4" fmla="*/ 31366 w 29872"/>
                <a:gd name="connsiteY4" fmla="*/ 44372 h 59745"/>
                <a:gd name="connsiteX5" fmla="*/ 26885 w 29872"/>
                <a:gd name="connsiteY5" fmla="*/ 1057 h 59745"/>
                <a:gd name="connsiteX6" fmla="*/ 0 w 29872"/>
                <a:gd name="connsiteY6" fmla="*/ 24955 h 59745"/>
                <a:gd name="connsiteX7" fmla="*/ 1493 w 29872"/>
                <a:gd name="connsiteY7" fmla="*/ 44372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72" h="59745">
                  <a:moveTo>
                    <a:pt x="1493" y="44372"/>
                  </a:moveTo>
                  <a:cubicBezTo>
                    <a:pt x="1493" y="44372"/>
                    <a:pt x="7468" y="39891"/>
                    <a:pt x="10455" y="38398"/>
                  </a:cubicBezTo>
                  <a:cubicBezTo>
                    <a:pt x="8961" y="44372"/>
                    <a:pt x="7468" y="50347"/>
                    <a:pt x="7468" y="54828"/>
                  </a:cubicBezTo>
                  <a:cubicBezTo>
                    <a:pt x="4481" y="72751"/>
                    <a:pt x="10455" y="72751"/>
                    <a:pt x="17923" y="68270"/>
                  </a:cubicBezTo>
                  <a:cubicBezTo>
                    <a:pt x="25392" y="62296"/>
                    <a:pt x="29873" y="53334"/>
                    <a:pt x="31366" y="44372"/>
                  </a:cubicBezTo>
                  <a:cubicBezTo>
                    <a:pt x="32860" y="27942"/>
                    <a:pt x="32860" y="10019"/>
                    <a:pt x="26885" y="1057"/>
                  </a:cubicBezTo>
                  <a:cubicBezTo>
                    <a:pt x="23898" y="-4918"/>
                    <a:pt x="0" y="15993"/>
                    <a:pt x="0" y="24955"/>
                  </a:cubicBezTo>
                  <a:cubicBezTo>
                    <a:pt x="1493" y="30929"/>
                    <a:pt x="1493" y="44372"/>
                    <a:pt x="1493" y="44372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6" name="任意多边形: 形状 10045"/>
            <p:cNvSpPr/>
            <p:nvPr/>
          </p:nvSpPr>
          <p:spPr>
            <a:xfrm>
              <a:off x="8604033" y="5215830"/>
              <a:ext cx="14936" cy="29873"/>
            </a:xfrm>
            <a:custGeom>
              <a:avLst/>
              <a:gdLst>
                <a:gd name="connsiteX0" fmla="*/ 10829 w 14936"/>
                <a:gd name="connsiteY0" fmla="*/ 0 h 29872"/>
                <a:gd name="connsiteX1" fmla="*/ 3360 w 14936"/>
                <a:gd name="connsiteY1" fmla="*/ 5974 h 29872"/>
                <a:gd name="connsiteX2" fmla="*/ 373 w 14936"/>
                <a:gd name="connsiteY2" fmla="*/ 17924 h 29872"/>
                <a:gd name="connsiteX3" fmla="*/ 1867 w 14936"/>
                <a:gd name="connsiteY3" fmla="*/ 32860 h 29872"/>
                <a:gd name="connsiteX4" fmla="*/ 4854 w 14936"/>
                <a:gd name="connsiteY4" fmla="*/ 35847 h 29872"/>
                <a:gd name="connsiteX5" fmla="*/ 10829 w 14936"/>
                <a:gd name="connsiteY5" fmla="*/ 34354 h 29872"/>
                <a:gd name="connsiteX6" fmla="*/ 13816 w 14936"/>
                <a:gd name="connsiteY6" fmla="*/ 28379 h 29872"/>
                <a:gd name="connsiteX7" fmla="*/ 16803 w 14936"/>
                <a:gd name="connsiteY7" fmla="*/ 10456 h 29872"/>
                <a:gd name="connsiteX8" fmla="*/ 16803 w 14936"/>
                <a:gd name="connsiteY8" fmla="*/ 2987 h 29872"/>
                <a:gd name="connsiteX9" fmla="*/ 10829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10829" y="0"/>
                  </a:moveTo>
                  <a:cubicBezTo>
                    <a:pt x="7842" y="0"/>
                    <a:pt x="4854" y="2987"/>
                    <a:pt x="3360" y="5974"/>
                  </a:cubicBezTo>
                  <a:cubicBezTo>
                    <a:pt x="1867" y="8962"/>
                    <a:pt x="1867" y="13443"/>
                    <a:pt x="373" y="17924"/>
                  </a:cubicBezTo>
                  <a:cubicBezTo>
                    <a:pt x="373" y="22405"/>
                    <a:pt x="-1120" y="28379"/>
                    <a:pt x="1867" y="32860"/>
                  </a:cubicBezTo>
                  <a:cubicBezTo>
                    <a:pt x="1867" y="34354"/>
                    <a:pt x="3360" y="35847"/>
                    <a:pt x="4854" y="35847"/>
                  </a:cubicBezTo>
                  <a:cubicBezTo>
                    <a:pt x="6348" y="37341"/>
                    <a:pt x="9335" y="35847"/>
                    <a:pt x="10829" y="34354"/>
                  </a:cubicBezTo>
                  <a:cubicBezTo>
                    <a:pt x="12322" y="32860"/>
                    <a:pt x="13816" y="31366"/>
                    <a:pt x="13816" y="28379"/>
                  </a:cubicBezTo>
                  <a:cubicBezTo>
                    <a:pt x="15310" y="22405"/>
                    <a:pt x="16803" y="16430"/>
                    <a:pt x="16803" y="10456"/>
                  </a:cubicBezTo>
                  <a:cubicBezTo>
                    <a:pt x="16803" y="7468"/>
                    <a:pt x="16803" y="5974"/>
                    <a:pt x="16803" y="2987"/>
                  </a:cubicBezTo>
                  <a:cubicBezTo>
                    <a:pt x="15310" y="2987"/>
                    <a:pt x="13816" y="1494"/>
                    <a:pt x="10829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7" name="任意多边形: 形状 10046"/>
            <p:cNvSpPr/>
            <p:nvPr/>
          </p:nvSpPr>
          <p:spPr>
            <a:xfrm>
              <a:off x="8535326" y="5169139"/>
              <a:ext cx="74682" cy="119491"/>
            </a:xfrm>
            <a:custGeom>
              <a:avLst/>
              <a:gdLst>
                <a:gd name="connsiteX0" fmla="*/ 75055 w 74681"/>
                <a:gd name="connsiteY0" fmla="*/ 61627 h 119490"/>
                <a:gd name="connsiteX1" fmla="*/ 73561 w 74681"/>
                <a:gd name="connsiteY1" fmla="*/ 88513 h 119490"/>
                <a:gd name="connsiteX2" fmla="*/ 63106 w 74681"/>
                <a:gd name="connsiteY2" fmla="*/ 113905 h 119490"/>
                <a:gd name="connsiteX3" fmla="*/ 27259 w 74681"/>
                <a:gd name="connsiteY3" fmla="*/ 127347 h 119490"/>
                <a:gd name="connsiteX4" fmla="*/ 18297 w 74681"/>
                <a:gd name="connsiteY4" fmla="*/ 124360 h 119490"/>
                <a:gd name="connsiteX5" fmla="*/ 9335 w 74681"/>
                <a:gd name="connsiteY5" fmla="*/ 109424 h 119490"/>
                <a:gd name="connsiteX6" fmla="*/ 373 w 74681"/>
                <a:gd name="connsiteY6" fmla="*/ 33249 h 119490"/>
                <a:gd name="connsiteX7" fmla="*/ 1867 w 74681"/>
                <a:gd name="connsiteY7" fmla="*/ 21300 h 119490"/>
                <a:gd name="connsiteX8" fmla="*/ 27259 w 74681"/>
                <a:gd name="connsiteY8" fmla="*/ 388 h 119490"/>
                <a:gd name="connsiteX9" fmla="*/ 60119 w 74681"/>
                <a:gd name="connsiteY9" fmla="*/ 6363 h 119490"/>
                <a:gd name="connsiteX10" fmla="*/ 67587 w 74681"/>
                <a:gd name="connsiteY10" fmla="*/ 10844 h 119490"/>
                <a:gd name="connsiteX11" fmla="*/ 73561 w 74681"/>
                <a:gd name="connsiteY11" fmla="*/ 16818 h 119490"/>
                <a:gd name="connsiteX12" fmla="*/ 75055 w 74681"/>
                <a:gd name="connsiteY12" fmla="*/ 61627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75055" y="61627"/>
                  </a:moveTo>
                  <a:cubicBezTo>
                    <a:pt x="75055" y="70589"/>
                    <a:pt x="75055" y="79551"/>
                    <a:pt x="73561" y="88513"/>
                  </a:cubicBezTo>
                  <a:cubicBezTo>
                    <a:pt x="72068" y="97475"/>
                    <a:pt x="69081" y="106437"/>
                    <a:pt x="63106" y="113905"/>
                  </a:cubicBezTo>
                  <a:cubicBezTo>
                    <a:pt x="54144" y="124360"/>
                    <a:pt x="40701" y="128841"/>
                    <a:pt x="27259" y="127347"/>
                  </a:cubicBezTo>
                  <a:cubicBezTo>
                    <a:pt x="24272" y="127347"/>
                    <a:pt x="21284" y="125854"/>
                    <a:pt x="18297" y="124360"/>
                  </a:cubicBezTo>
                  <a:cubicBezTo>
                    <a:pt x="13816" y="121373"/>
                    <a:pt x="10829" y="115398"/>
                    <a:pt x="9335" y="109424"/>
                  </a:cubicBezTo>
                  <a:cubicBezTo>
                    <a:pt x="1867" y="85526"/>
                    <a:pt x="-1120" y="58640"/>
                    <a:pt x="373" y="33249"/>
                  </a:cubicBezTo>
                  <a:cubicBezTo>
                    <a:pt x="373" y="28768"/>
                    <a:pt x="373" y="25780"/>
                    <a:pt x="1867" y="21300"/>
                  </a:cubicBezTo>
                  <a:cubicBezTo>
                    <a:pt x="4854" y="10844"/>
                    <a:pt x="15310" y="3376"/>
                    <a:pt x="27259" y="388"/>
                  </a:cubicBezTo>
                  <a:cubicBezTo>
                    <a:pt x="37714" y="-1105"/>
                    <a:pt x="49663" y="1882"/>
                    <a:pt x="60119" y="6363"/>
                  </a:cubicBezTo>
                  <a:cubicBezTo>
                    <a:pt x="63106" y="7857"/>
                    <a:pt x="66093" y="9350"/>
                    <a:pt x="67587" y="10844"/>
                  </a:cubicBezTo>
                  <a:cubicBezTo>
                    <a:pt x="69081" y="12338"/>
                    <a:pt x="72068" y="15325"/>
                    <a:pt x="73561" y="16818"/>
                  </a:cubicBezTo>
                  <a:cubicBezTo>
                    <a:pt x="73561" y="21300"/>
                    <a:pt x="75055" y="48185"/>
                    <a:pt x="75055" y="6162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8" name="任意多边形: 形状 10047"/>
            <p:cNvSpPr/>
            <p:nvPr/>
          </p:nvSpPr>
          <p:spPr>
            <a:xfrm>
              <a:off x="8526737" y="5250184"/>
              <a:ext cx="44809" cy="14936"/>
            </a:xfrm>
            <a:custGeom>
              <a:avLst/>
              <a:gdLst>
                <a:gd name="connsiteX0" fmla="*/ 23898 w 44809"/>
                <a:gd name="connsiteY0" fmla="*/ 4481 h 14936"/>
                <a:gd name="connsiteX1" fmla="*/ 17924 w 44809"/>
                <a:gd name="connsiteY1" fmla="*/ 0 h 14936"/>
                <a:gd name="connsiteX2" fmla="*/ 10456 w 44809"/>
                <a:gd name="connsiteY2" fmla="*/ 4481 h 14936"/>
                <a:gd name="connsiteX3" fmla="*/ 0 w 44809"/>
                <a:gd name="connsiteY3" fmla="*/ 13443 h 14936"/>
                <a:gd name="connsiteX4" fmla="*/ 23898 w 44809"/>
                <a:gd name="connsiteY4" fmla="*/ 10455 h 14936"/>
                <a:gd name="connsiteX5" fmla="*/ 55265 w 44809"/>
                <a:gd name="connsiteY5" fmla="*/ 26885 h 14936"/>
                <a:gd name="connsiteX6" fmla="*/ 46303 w 44809"/>
                <a:gd name="connsiteY6" fmla="*/ 16430 h 14936"/>
                <a:gd name="connsiteX7" fmla="*/ 37341 w 44809"/>
                <a:gd name="connsiteY7" fmla="*/ 4481 h 14936"/>
                <a:gd name="connsiteX8" fmla="*/ 23898 w 44809"/>
                <a:gd name="connsiteY8" fmla="*/ 4481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09" h="14936">
                  <a:moveTo>
                    <a:pt x="23898" y="4481"/>
                  </a:moveTo>
                  <a:cubicBezTo>
                    <a:pt x="23898" y="1493"/>
                    <a:pt x="20911" y="0"/>
                    <a:pt x="17924" y="0"/>
                  </a:cubicBezTo>
                  <a:cubicBezTo>
                    <a:pt x="14936" y="0"/>
                    <a:pt x="11949" y="2987"/>
                    <a:pt x="10456" y="4481"/>
                  </a:cubicBezTo>
                  <a:cubicBezTo>
                    <a:pt x="7468" y="7468"/>
                    <a:pt x="4481" y="10455"/>
                    <a:pt x="0" y="13443"/>
                  </a:cubicBezTo>
                  <a:cubicBezTo>
                    <a:pt x="7468" y="17923"/>
                    <a:pt x="16430" y="16430"/>
                    <a:pt x="23898" y="10455"/>
                  </a:cubicBezTo>
                  <a:cubicBezTo>
                    <a:pt x="31366" y="20911"/>
                    <a:pt x="43315" y="26885"/>
                    <a:pt x="55265" y="26885"/>
                  </a:cubicBezTo>
                  <a:cubicBezTo>
                    <a:pt x="50783" y="25392"/>
                    <a:pt x="47796" y="19417"/>
                    <a:pt x="46303" y="16430"/>
                  </a:cubicBezTo>
                  <a:cubicBezTo>
                    <a:pt x="44809" y="11949"/>
                    <a:pt x="41822" y="7468"/>
                    <a:pt x="37341" y="4481"/>
                  </a:cubicBezTo>
                  <a:cubicBezTo>
                    <a:pt x="32860" y="0"/>
                    <a:pt x="26885" y="0"/>
                    <a:pt x="23898" y="4481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9" name="任意多边形: 形状 10048"/>
            <p:cNvSpPr/>
            <p:nvPr/>
          </p:nvSpPr>
          <p:spPr>
            <a:xfrm>
              <a:off x="5793839" y="5232713"/>
              <a:ext cx="89618" cy="164300"/>
            </a:xfrm>
            <a:custGeom>
              <a:avLst/>
              <a:gdLst>
                <a:gd name="connsiteX0" fmla="*/ 90659 w 89618"/>
                <a:gd name="connsiteY0" fmla="*/ 138455 h 164299"/>
                <a:gd name="connsiteX1" fmla="*/ 68254 w 89618"/>
                <a:gd name="connsiteY1" fmla="*/ 175796 h 164299"/>
                <a:gd name="connsiteX2" fmla="*/ 68254 w 89618"/>
                <a:gd name="connsiteY2" fmla="*/ 175796 h 164299"/>
                <a:gd name="connsiteX3" fmla="*/ 30913 w 89618"/>
                <a:gd name="connsiteY3" fmla="*/ 153391 h 164299"/>
                <a:gd name="connsiteX4" fmla="*/ 1041 w 89618"/>
                <a:gd name="connsiteY4" fmla="*/ 38382 h 164299"/>
                <a:gd name="connsiteX5" fmla="*/ 23445 w 89618"/>
                <a:gd name="connsiteY5" fmla="*/ 1041 h 164299"/>
                <a:gd name="connsiteX6" fmla="*/ 23445 w 89618"/>
                <a:gd name="connsiteY6" fmla="*/ 1041 h 164299"/>
                <a:gd name="connsiteX7" fmla="*/ 60786 w 89618"/>
                <a:gd name="connsiteY7" fmla="*/ 23445 h 164299"/>
                <a:gd name="connsiteX8" fmla="*/ 90659 w 89618"/>
                <a:gd name="connsiteY8" fmla="*/ 138455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164299">
                  <a:moveTo>
                    <a:pt x="90659" y="138455"/>
                  </a:moveTo>
                  <a:cubicBezTo>
                    <a:pt x="95140" y="154885"/>
                    <a:pt x="84684" y="171315"/>
                    <a:pt x="68254" y="175796"/>
                  </a:cubicBezTo>
                  <a:lnTo>
                    <a:pt x="68254" y="175796"/>
                  </a:lnTo>
                  <a:cubicBezTo>
                    <a:pt x="51824" y="180277"/>
                    <a:pt x="35394" y="169821"/>
                    <a:pt x="30913" y="153391"/>
                  </a:cubicBezTo>
                  <a:lnTo>
                    <a:pt x="1041" y="38382"/>
                  </a:lnTo>
                  <a:cubicBezTo>
                    <a:pt x="-3440" y="21952"/>
                    <a:pt x="7015" y="5522"/>
                    <a:pt x="23445" y="1041"/>
                  </a:cubicBezTo>
                  <a:lnTo>
                    <a:pt x="23445" y="1041"/>
                  </a:lnTo>
                  <a:cubicBezTo>
                    <a:pt x="39875" y="-3440"/>
                    <a:pt x="56305" y="7015"/>
                    <a:pt x="60786" y="23445"/>
                  </a:cubicBezTo>
                  <a:lnTo>
                    <a:pt x="90659" y="138455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0" name="任意多边形: 形状 10049"/>
            <p:cNvSpPr/>
            <p:nvPr/>
          </p:nvSpPr>
          <p:spPr>
            <a:xfrm>
              <a:off x="5839689" y="5333827"/>
              <a:ext cx="59745" cy="44809"/>
            </a:xfrm>
            <a:custGeom>
              <a:avLst/>
              <a:gdLst>
                <a:gd name="connsiteX0" fmla="*/ 62733 w 59745"/>
                <a:gd name="connsiteY0" fmla="*/ 23898 h 44809"/>
                <a:gd name="connsiteX1" fmla="*/ 41822 w 59745"/>
                <a:gd name="connsiteY1" fmla="*/ 14936 h 44809"/>
                <a:gd name="connsiteX2" fmla="*/ 0 w 59745"/>
                <a:gd name="connsiteY2" fmla="*/ 0 h 44809"/>
                <a:gd name="connsiteX3" fmla="*/ 0 w 59745"/>
                <a:gd name="connsiteY3" fmla="*/ 49290 h 44809"/>
                <a:gd name="connsiteX4" fmla="*/ 34353 w 59745"/>
                <a:gd name="connsiteY4" fmla="*/ 53771 h 44809"/>
                <a:gd name="connsiteX5" fmla="*/ 53771 w 59745"/>
                <a:gd name="connsiteY5" fmla="*/ 56758 h 44809"/>
                <a:gd name="connsiteX6" fmla="*/ 62733 w 59745"/>
                <a:gd name="connsiteY6" fmla="*/ 23898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745" h="44809">
                  <a:moveTo>
                    <a:pt x="62733" y="23898"/>
                  </a:moveTo>
                  <a:cubicBezTo>
                    <a:pt x="59745" y="20911"/>
                    <a:pt x="52277" y="17924"/>
                    <a:pt x="41822" y="14936"/>
                  </a:cubicBezTo>
                  <a:lnTo>
                    <a:pt x="0" y="0"/>
                  </a:lnTo>
                  <a:lnTo>
                    <a:pt x="0" y="49290"/>
                  </a:lnTo>
                  <a:lnTo>
                    <a:pt x="34353" y="53771"/>
                  </a:lnTo>
                  <a:cubicBezTo>
                    <a:pt x="41822" y="55265"/>
                    <a:pt x="49290" y="56758"/>
                    <a:pt x="53771" y="56758"/>
                  </a:cubicBezTo>
                  <a:cubicBezTo>
                    <a:pt x="58252" y="58252"/>
                    <a:pt x="65720" y="28379"/>
                    <a:pt x="62733" y="23898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1" name="任意多边形: 形状 10050"/>
            <p:cNvSpPr/>
            <p:nvPr/>
          </p:nvSpPr>
          <p:spPr>
            <a:xfrm>
              <a:off x="5692566" y="5983558"/>
              <a:ext cx="89618" cy="44809"/>
            </a:xfrm>
            <a:custGeom>
              <a:avLst/>
              <a:gdLst>
                <a:gd name="connsiteX0" fmla="*/ 6721 w 89618"/>
                <a:gd name="connsiteY0" fmla="*/ 4481 h 44809"/>
                <a:gd name="connsiteX1" fmla="*/ 6721 w 89618"/>
                <a:gd name="connsiteY1" fmla="*/ 23898 h 44809"/>
                <a:gd name="connsiteX2" fmla="*/ 58998 w 89618"/>
                <a:gd name="connsiteY2" fmla="*/ 53771 h 44809"/>
                <a:gd name="connsiteX3" fmla="*/ 93352 w 89618"/>
                <a:gd name="connsiteY3" fmla="*/ 53771 h 44809"/>
                <a:gd name="connsiteX4" fmla="*/ 93352 w 89618"/>
                <a:gd name="connsiteY4" fmla="*/ 53771 h 44809"/>
                <a:gd name="connsiteX5" fmla="*/ 93352 w 89618"/>
                <a:gd name="connsiteY5" fmla="*/ 34354 h 44809"/>
                <a:gd name="connsiteX6" fmla="*/ 41075 w 89618"/>
                <a:gd name="connsiteY6" fmla="*/ 4481 h 44809"/>
                <a:gd name="connsiteX7" fmla="*/ 6721 w 89618"/>
                <a:gd name="connsiteY7" fmla="*/ 4481 h 44809"/>
                <a:gd name="connsiteX8" fmla="*/ 6721 w 89618"/>
                <a:gd name="connsiteY8" fmla="*/ 448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4481"/>
                  </a:moveTo>
                  <a:cubicBezTo>
                    <a:pt x="-2240" y="10455"/>
                    <a:pt x="-2240" y="17923"/>
                    <a:pt x="6721" y="23898"/>
                  </a:cubicBezTo>
                  <a:lnTo>
                    <a:pt x="58998" y="53771"/>
                  </a:lnTo>
                  <a:cubicBezTo>
                    <a:pt x="67960" y="59745"/>
                    <a:pt x="82897" y="59745"/>
                    <a:pt x="93352" y="53771"/>
                  </a:cubicBezTo>
                  <a:lnTo>
                    <a:pt x="93352" y="53771"/>
                  </a:lnTo>
                  <a:cubicBezTo>
                    <a:pt x="102314" y="47796"/>
                    <a:pt x="102314" y="40328"/>
                    <a:pt x="93352" y="34354"/>
                  </a:cubicBezTo>
                  <a:lnTo>
                    <a:pt x="41075" y="4481"/>
                  </a:lnTo>
                  <a:cubicBezTo>
                    <a:pt x="32113" y="-1494"/>
                    <a:pt x="17177" y="-1494"/>
                    <a:pt x="6721" y="4481"/>
                  </a:cubicBezTo>
                  <a:lnTo>
                    <a:pt x="6721" y="4481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2" name="任意多边形: 形状 10051"/>
            <p:cNvSpPr/>
            <p:nvPr/>
          </p:nvSpPr>
          <p:spPr>
            <a:xfrm>
              <a:off x="5693313" y="5953685"/>
              <a:ext cx="89618" cy="74682"/>
            </a:xfrm>
            <a:custGeom>
              <a:avLst/>
              <a:gdLst>
                <a:gd name="connsiteX0" fmla="*/ 56758 w 89618"/>
                <a:gd name="connsiteY0" fmla="*/ 2987 h 74681"/>
                <a:gd name="connsiteX1" fmla="*/ 17924 w 89618"/>
                <a:gd name="connsiteY1" fmla="*/ 0 h 74681"/>
                <a:gd name="connsiteX2" fmla="*/ 0 w 89618"/>
                <a:gd name="connsiteY2" fmla="*/ 43316 h 74681"/>
                <a:gd name="connsiteX3" fmla="*/ 100073 w 89618"/>
                <a:gd name="connsiteY3" fmla="*/ 76175 h 74681"/>
                <a:gd name="connsiteX4" fmla="*/ 67214 w 89618"/>
                <a:gd name="connsiteY4" fmla="*/ 29873 h 74681"/>
                <a:gd name="connsiteX5" fmla="*/ 56758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56758" y="2987"/>
                  </a:moveTo>
                  <a:lnTo>
                    <a:pt x="17924" y="0"/>
                  </a:lnTo>
                  <a:cubicBezTo>
                    <a:pt x="8962" y="11949"/>
                    <a:pt x="2987" y="23898"/>
                    <a:pt x="0" y="43316"/>
                  </a:cubicBezTo>
                  <a:lnTo>
                    <a:pt x="100073" y="76175"/>
                  </a:lnTo>
                  <a:cubicBezTo>
                    <a:pt x="103061" y="62733"/>
                    <a:pt x="86631" y="43316"/>
                    <a:pt x="67214" y="29873"/>
                  </a:cubicBezTo>
                  <a:cubicBezTo>
                    <a:pt x="59745" y="22405"/>
                    <a:pt x="64226" y="10456"/>
                    <a:pt x="56758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3" name="任意多边形: 形状 10052"/>
            <p:cNvSpPr/>
            <p:nvPr/>
          </p:nvSpPr>
          <p:spPr>
            <a:xfrm>
              <a:off x="5807576" y="5917838"/>
              <a:ext cx="89618" cy="44809"/>
            </a:xfrm>
            <a:custGeom>
              <a:avLst/>
              <a:gdLst>
                <a:gd name="connsiteX0" fmla="*/ 6721 w 89618"/>
                <a:gd name="connsiteY0" fmla="*/ 4481 h 44809"/>
                <a:gd name="connsiteX1" fmla="*/ 6721 w 89618"/>
                <a:gd name="connsiteY1" fmla="*/ 23898 h 44809"/>
                <a:gd name="connsiteX2" fmla="*/ 58998 w 89618"/>
                <a:gd name="connsiteY2" fmla="*/ 53771 h 44809"/>
                <a:gd name="connsiteX3" fmla="*/ 93352 w 89618"/>
                <a:gd name="connsiteY3" fmla="*/ 53771 h 44809"/>
                <a:gd name="connsiteX4" fmla="*/ 93352 w 89618"/>
                <a:gd name="connsiteY4" fmla="*/ 53771 h 44809"/>
                <a:gd name="connsiteX5" fmla="*/ 93352 w 89618"/>
                <a:gd name="connsiteY5" fmla="*/ 34354 h 44809"/>
                <a:gd name="connsiteX6" fmla="*/ 41075 w 89618"/>
                <a:gd name="connsiteY6" fmla="*/ 4481 h 44809"/>
                <a:gd name="connsiteX7" fmla="*/ 6721 w 89618"/>
                <a:gd name="connsiteY7" fmla="*/ 4481 h 44809"/>
                <a:gd name="connsiteX8" fmla="*/ 6721 w 89618"/>
                <a:gd name="connsiteY8" fmla="*/ 448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4481"/>
                  </a:moveTo>
                  <a:cubicBezTo>
                    <a:pt x="-2240" y="10456"/>
                    <a:pt x="-2240" y="17924"/>
                    <a:pt x="6721" y="23898"/>
                  </a:cubicBezTo>
                  <a:lnTo>
                    <a:pt x="58998" y="53771"/>
                  </a:lnTo>
                  <a:cubicBezTo>
                    <a:pt x="67960" y="59745"/>
                    <a:pt x="82897" y="59745"/>
                    <a:pt x="93352" y="53771"/>
                  </a:cubicBezTo>
                  <a:lnTo>
                    <a:pt x="93352" y="53771"/>
                  </a:lnTo>
                  <a:cubicBezTo>
                    <a:pt x="102314" y="47796"/>
                    <a:pt x="102314" y="40328"/>
                    <a:pt x="93352" y="34354"/>
                  </a:cubicBezTo>
                  <a:lnTo>
                    <a:pt x="41075" y="4481"/>
                  </a:lnTo>
                  <a:cubicBezTo>
                    <a:pt x="30619" y="-1494"/>
                    <a:pt x="15683" y="-1494"/>
                    <a:pt x="6721" y="4481"/>
                  </a:cubicBezTo>
                  <a:lnTo>
                    <a:pt x="6721" y="4481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4" name="任意多边形: 形状 10053"/>
            <p:cNvSpPr/>
            <p:nvPr/>
          </p:nvSpPr>
          <p:spPr>
            <a:xfrm>
              <a:off x="5806829" y="5887965"/>
              <a:ext cx="89618" cy="74682"/>
            </a:xfrm>
            <a:custGeom>
              <a:avLst/>
              <a:gdLst>
                <a:gd name="connsiteX0" fmla="*/ 56758 w 89618"/>
                <a:gd name="connsiteY0" fmla="*/ 2987 h 74681"/>
                <a:gd name="connsiteX1" fmla="*/ 17924 w 89618"/>
                <a:gd name="connsiteY1" fmla="*/ 0 h 74681"/>
                <a:gd name="connsiteX2" fmla="*/ 0 w 89618"/>
                <a:gd name="connsiteY2" fmla="*/ 43315 h 74681"/>
                <a:gd name="connsiteX3" fmla="*/ 100074 w 89618"/>
                <a:gd name="connsiteY3" fmla="*/ 76175 h 74681"/>
                <a:gd name="connsiteX4" fmla="*/ 67214 w 89618"/>
                <a:gd name="connsiteY4" fmla="*/ 29873 h 74681"/>
                <a:gd name="connsiteX5" fmla="*/ 56758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56758" y="2987"/>
                  </a:moveTo>
                  <a:lnTo>
                    <a:pt x="17924" y="0"/>
                  </a:lnTo>
                  <a:cubicBezTo>
                    <a:pt x="8962" y="11949"/>
                    <a:pt x="2987" y="23898"/>
                    <a:pt x="0" y="43315"/>
                  </a:cubicBezTo>
                  <a:lnTo>
                    <a:pt x="100074" y="76175"/>
                  </a:lnTo>
                  <a:cubicBezTo>
                    <a:pt x="103061" y="62733"/>
                    <a:pt x="86631" y="43315"/>
                    <a:pt x="67214" y="29873"/>
                  </a:cubicBezTo>
                  <a:cubicBezTo>
                    <a:pt x="59745" y="22405"/>
                    <a:pt x="64226" y="10456"/>
                    <a:pt x="56758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5" name="任意多边形: 形状 10054"/>
            <p:cNvSpPr/>
            <p:nvPr/>
          </p:nvSpPr>
          <p:spPr>
            <a:xfrm>
              <a:off x="5776956" y="5484684"/>
              <a:ext cx="104554" cy="224045"/>
            </a:xfrm>
            <a:custGeom>
              <a:avLst/>
              <a:gdLst>
                <a:gd name="connsiteX0" fmla="*/ 110529 w 104554"/>
                <a:gd name="connsiteY0" fmla="*/ 216577 h 224045"/>
                <a:gd name="connsiteX1" fmla="*/ 28379 w 104554"/>
                <a:gd name="connsiteY1" fmla="*/ 227033 h 224045"/>
                <a:gd name="connsiteX2" fmla="*/ 26885 w 104554"/>
                <a:gd name="connsiteY2" fmla="*/ 209109 h 224045"/>
                <a:gd name="connsiteX3" fmla="*/ 11949 w 104554"/>
                <a:gd name="connsiteY3" fmla="*/ 107542 h 224045"/>
                <a:gd name="connsiteX4" fmla="*/ 0 w 104554"/>
                <a:gd name="connsiteY4" fmla="*/ 10456 h 224045"/>
                <a:gd name="connsiteX5" fmla="*/ 82150 w 104554"/>
                <a:gd name="connsiteY5" fmla="*/ 0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554" h="224045">
                  <a:moveTo>
                    <a:pt x="110529" y="216577"/>
                  </a:moveTo>
                  <a:lnTo>
                    <a:pt x="28379" y="227033"/>
                  </a:lnTo>
                  <a:lnTo>
                    <a:pt x="26885" y="209109"/>
                  </a:lnTo>
                  <a:lnTo>
                    <a:pt x="11949" y="107542"/>
                  </a:lnTo>
                  <a:lnTo>
                    <a:pt x="0" y="10456"/>
                  </a:lnTo>
                  <a:lnTo>
                    <a:pt x="82150" y="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6" name="任意多边形: 形状 10055"/>
            <p:cNvSpPr/>
            <p:nvPr/>
          </p:nvSpPr>
          <p:spPr>
            <a:xfrm>
              <a:off x="5788905" y="5575796"/>
              <a:ext cx="14936" cy="104554"/>
            </a:xfrm>
            <a:custGeom>
              <a:avLst/>
              <a:gdLst>
                <a:gd name="connsiteX0" fmla="*/ 28379 w 14936"/>
                <a:gd name="connsiteY0" fmla="*/ 0 h 104554"/>
                <a:gd name="connsiteX1" fmla="*/ 17924 w 14936"/>
                <a:gd name="connsiteY1" fmla="*/ 59745 h 104554"/>
                <a:gd name="connsiteX2" fmla="*/ 13443 w 14936"/>
                <a:gd name="connsiteY2" fmla="*/ 117997 h 104554"/>
                <a:gd name="connsiteX3" fmla="*/ 0 w 14936"/>
                <a:gd name="connsiteY3" fmla="*/ 16430 h 104554"/>
                <a:gd name="connsiteX4" fmla="*/ 2987 w 14936"/>
                <a:gd name="connsiteY4" fmla="*/ 13443 h 104554"/>
                <a:gd name="connsiteX5" fmla="*/ 28379 w 14936"/>
                <a:gd name="connsiteY5" fmla="*/ 0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 h="104554">
                  <a:moveTo>
                    <a:pt x="28379" y="0"/>
                  </a:moveTo>
                  <a:cubicBezTo>
                    <a:pt x="20911" y="19417"/>
                    <a:pt x="19417" y="40328"/>
                    <a:pt x="17924" y="59745"/>
                  </a:cubicBezTo>
                  <a:cubicBezTo>
                    <a:pt x="16430" y="79162"/>
                    <a:pt x="14936" y="98580"/>
                    <a:pt x="13443" y="117997"/>
                  </a:cubicBezTo>
                  <a:lnTo>
                    <a:pt x="0" y="16430"/>
                  </a:lnTo>
                  <a:cubicBezTo>
                    <a:pt x="1494" y="14936"/>
                    <a:pt x="2987" y="14936"/>
                    <a:pt x="2987" y="13443"/>
                  </a:cubicBezTo>
                  <a:cubicBezTo>
                    <a:pt x="11949" y="10456"/>
                    <a:pt x="20911" y="5974"/>
                    <a:pt x="28379" y="0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7" name="任意多边形: 形状 10056"/>
            <p:cNvSpPr/>
            <p:nvPr/>
          </p:nvSpPr>
          <p:spPr>
            <a:xfrm>
              <a:off x="5798987" y="5872656"/>
              <a:ext cx="74682" cy="44809"/>
            </a:xfrm>
            <a:custGeom>
              <a:avLst/>
              <a:gdLst>
                <a:gd name="connsiteX0" fmla="*/ 70574 w 74681"/>
                <a:gd name="connsiteY0" fmla="*/ 7841 h 44809"/>
                <a:gd name="connsiteX1" fmla="*/ 70574 w 74681"/>
                <a:gd name="connsiteY1" fmla="*/ 40702 h 44809"/>
                <a:gd name="connsiteX2" fmla="*/ 12322 w 74681"/>
                <a:gd name="connsiteY2" fmla="*/ 40702 h 44809"/>
                <a:gd name="connsiteX3" fmla="*/ 12322 w 74681"/>
                <a:gd name="connsiteY3" fmla="*/ 7841 h 44809"/>
                <a:gd name="connsiteX4" fmla="*/ 70574 w 74681"/>
                <a:gd name="connsiteY4" fmla="*/ 784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70574" y="7841"/>
                  </a:moveTo>
                  <a:cubicBezTo>
                    <a:pt x="87004" y="16803"/>
                    <a:pt x="87004" y="31740"/>
                    <a:pt x="70574" y="40702"/>
                  </a:cubicBezTo>
                  <a:cubicBezTo>
                    <a:pt x="54144" y="49663"/>
                    <a:pt x="28752" y="49663"/>
                    <a:pt x="12322" y="40702"/>
                  </a:cubicBezTo>
                  <a:cubicBezTo>
                    <a:pt x="-4107" y="31740"/>
                    <a:pt x="-4107" y="16803"/>
                    <a:pt x="12322" y="7841"/>
                  </a:cubicBezTo>
                  <a:cubicBezTo>
                    <a:pt x="28752" y="-2614"/>
                    <a:pt x="54144" y="-2614"/>
                    <a:pt x="70574" y="784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8" name="任意多边形: 形状 10057"/>
            <p:cNvSpPr/>
            <p:nvPr/>
          </p:nvSpPr>
          <p:spPr>
            <a:xfrm>
              <a:off x="5798547" y="5660703"/>
              <a:ext cx="89618" cy="238981"/>
            </a:xfrm>
            <a:custGeom>
              <a:avLst/>
              <a:gdLst>
                <a:gd name="connsiteX0" fmla="*/ 814 w 89618"/>
                <a:gd name="connsiteY0" fmla="*/ 236224 h 238981"/>
                <a:gd name="connsiteX1" fmla="*/ 6789 w 89618"/>
                <a:gd name="connsiteY1" fmla="*/ 51014 h 238981"/>
                <a:gd name="connsiteX2" fmla="*/ 23219 w 89618"/>
                <a:gd name="connsiteY2" fmla="*/ 12179 h 238981"/>
                <a:gd name="connsiteX3" fmla="*/ 57572 w 89618"/>
                <a:gd name="connsiteY3" fmla="*/ 230 h 238981"/>
                <a:gd name="connsiteX4" fmla="*/ 88939 w 89618"/>
                <a:gd name="connsiteY4" fmla="*/ 40558 h 238981"/>
                <a:gd name="connsiteX5" fmla="*/ 82964 w 89618"/>
                <a:gd name="connsiteY5" fmla="*/ 236224 h 238981"/>
                <a:gd name="connsiteX6" fmla="*/ 59066 w 89618"/>
                <a:gd name="connsiteY6" fmla="*/ 236224 h 238981"/>
                <a:gd name="connsiteX7" fmla="*/ 814 w 89618"/>
                <a:gd name="connsiteY7" fmla="*/ 236224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618" h="238981">
                  <a:moveTo>
                    <a:pt x="814" y="236224"/>
                  </a:moveTo>
                  <a:cubicBezTo>
                    <a:pt x="-2173" y="174985"/>
                    <a:pt x="3802" y="58482"/>
                    <a:pt x="6789" y="51014"/>
                  </a:cubicBezTo>
                  <a:cubicBezTo>
                    <a:pt x="11270" y="43546"/>
                    <a:pt x="15750" y="16660"/>
                    <a:pt x="23219" y="12179"/>
                  </a:cubicBezTo>
                  <a:cubicBezTo>
                    <a:pt x="33674" y="4711"/>
                    <a:pt x="45623" y="-1263"/>
                    <a:pt x="57572" y="230"/>
                  </a:cubicBezTo>
                  <a:cubicBezTo>
                    <a:pt x="72509" y="1724"/>
                    <a:pt x="85951" y="27116"/>
                    <a:pt x="88939" y="40558"/>
                  </a:cubicBezTo>
                  <a:cubicBezTo>
                    <a:pt x="91926" y="55495"/>
                    <a:pt x="84458" y="227263"/>
                    <a:pt x="82964" y="236224"/>
                  </a:cubicBezTo>
                  <a:cubicBezTo>
                    <a:pt x="81471" y="245186"/>
                    <a:pt x="68028" y="233237"/>
                    <a:pt x="59066" y="236224"/>
                  </a:cubicBezTo>
                  <a:lnTo>
                    <a:pt x="814" y="236224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9" name="任意多边形: 形状 10058"/>
            <p:cNvSpPr/>
            <p:nvPr/>
          </p:nvSpPr>
          <p:spPr>
            <a:xfrm>
              <a:off x="5711236" y="5538455"/>
              <a:ext cx="74682" cy="209109"/>
            </a:xfrm>
            <a:custGeom>
              <a:avLst/>
              <a:gdLst>
                <a:gd name="connsiteX0" fmla="*/ 0 w 74681"/>
                <a:gd name="connsiteY0" fmla="*/ 0 h 209108"/>
                <a:gd name="connsiteX1" fmla="*/ 82150 w 74681"/>
                <a:gd name="connsiteY1" fmla="*/ 0 h 209108"/>
                <a:gd name="connsiteX2" fmla="*/ 82150 w 74681"/>
                <a:gd name="connsiteY2" fmla="*/ 218071 h 209108"/>
                <a:gd name="connsiteX3" fmla="*/ 0 w 74681"/>
                <a:gd name="connsiteY3" fmla="*/ 218071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209108">
                  <a:moveTo>
                    <a:pt x="0" y="0"/>
                  </a:moveTo>
                  <a:lnTo>
                    <a:pt x="82150" y="0"/>
                  </a:lnTo>
                  <a:lnTo>
                    <a:pt x="82150" y="218071"/>
                  </a:lnTo>
                  <a:lnTo>
                    <a:pt x="0" y="218071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0" name="任意多边形: 形状 10059"/>
            <p:cNvSpPr/>
            <p:nvPr/>
          </p:nvSpPr>
          <p:spPr>
            <a:xfrm>
              <a:off x="5681364" y="5226285"/>
              <a:ext cx="179236" cy="328600"/>
            </a:xfrm>
            <a:custGeom>
              <a:avLst/>
              <a:gdLst>
                <a:gd name="connsiteX0" fmla="*/ 180730 w 179236"/>
                <a:gd name="connsiteY0" fmla="*/ 241969 h 328599"/>
                <a:gd name="connsiteX1" fmla="*/ 150857 w 179236"/>
                <a:gd name="connsiteY1" fmla="*/ 294246 h 328599"/>
                <a:gd name="connsiteX2" fmla="*/ 146376 w 179236"/>
                <a:gd name="connsiteY2" fmla="*/ 297233 h 328599"/>
                <a:gd name="connsiteX3" fmla="*/ 131440 w 179236"/>
                <a:gd name="connsiteY3" fmla="*/ 306195 h 328599"/>
                <a:gd name="connsiteX4" fmla="*/ 128453 w 179236"/>
                <a:gd name="connsiteY4" fmla="*/ 307689 h 328599"/>
                <a:gd name="connsiteX5" fmla="*/ 97086 w 179236"/>
                <a:gd name="connsiteY5" fmla="*/ 325612 h 328599"/>
                <a:gd name="connsiteX6" fmla="*/ 55264 w 179236"/>
                <a:gd name="connsiteY6" fmla="*/ 333080 h 328599"/>
                <a:gd name="connsiteX7" fmla="*/ 7468 w 179236"/>
                <a:gd name="connsiteY7" fmla="*/ 273335 h 328599"/>
                <a:gd name="connsiteX8" fmla="*/ 7468 w 179236"/>
                <a:gd name="connsiteY8" fmla="*/ 249437 h 328599"/>
                <a:gd name="connsiteX9" fmla="*/ 5974 w 179236"/>
                <a:gd name="connsiteY9" fmla="*/ 186704 h 328599"/>
                <a:gd name="connsiteX10" fmla="*/ 0 w 179236"/>
                <a:gd name="connsiteY10" fmla="*/ 73188 h 328599"/>
                <a:gd name="connsiteX11" fmla="*/ 62733 w 179236"/>
                <a:gd name="connsiteY11" fmla="*/ 11949 h 328599"/>
                <a:gd name="connsiteX12" fmla="*/ 122478 w 179236"/>
                <a:gd name="connsiteY12" fmla="*/ 2987 h 328599"/>
                <a:gd name="connsiteX13" fmla="*/ 168781 w 179236"/>
                <a:gd name="connsiteY13" fmla="*/ 56758 h 328599"/>
                <a:gd name="connsiteX14" fmla="*/ 168781 w 179236"/>
                <a:gd name="connsiteY14" fmla="*/ 56758 h 328599"/>
                <a:gd name="connsiteX15" fmla="*/ 170274 w 179236"/>
                <a:gd name="connsiteY15" fmla="*/ 76176 h 328599"/>
                <a:gd name="connsiteX16" fmla="*/ 171768 w 179236"/>
                <a:gd name="connsiteY16" fmla="*/ 101567 h 328599"/>
                <a:gd name="connsiteX17" fmla="*/ 171768 w 179236"/>
                <a:gd name="connsiteY17" fmla="*/ 107542 h 328599"/>
                <a:gd name="connsiteX18" fmla="*/ 177742 w 179236"/>
                <a:gd name="connsiteY18" fmla="*/ 194173 h 328599"/>
                <a:gd name="connsiteX19" fmla="*/ 179236 w 179236"/>
                <a:gd name="connsiteY19" fmla="*/ 225539 h 328599"/>
                <a:gd name="connsiteX20" fmla="*/ 180730 w 179236"/>
                <a:gd name="connsiteY20" fmla="*/ 241969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9236" h="328599">
                  <a:moveTo>
                    <a:pt x="180730" y="241969"/>
                  </a:moveTo>
                  <a:cubicBezTo>
                    <a:pt x="180730" y="262880"/>
                    <a:pt x="168781" y="283791"/>
                    <a:pt x="150857" y="294246"/>
                  </a:cubicBezTo>
                  <a:lnTo>
                    <a:pt x="146376" y="297233"/>
                  </a:lnTo>
                  <a:lnTo>
                    <a:pt x="131440" y="306195"/>
                  </a:lnTo>
                  <a:lnTo>
                    <a:pt x="128453" y="307689"/>
                  </a:lnTo>
                  <a:lnTo>
                    <a:pt x="97086" y="325612"/>
                  </a:lnTo>
                  <a:cubicBezTo>
                    <a:pt x="83644" y="333080"/>
                    <a:pt x="68707" y="334574"/>
                    <a:pt x="55264" y="333080"/>
                  </a:cubicBezTo>
                  <a:cubicBezTo>
                    <a:pt x="28379" y="327106"/>
                    <a:pt x="7468" y="304701"/>
                    <a:pt x="7468" y="273335"/>
                  </a:cubicBezTo>
                  <a:lnTo>
                    <a:pt x="7468" y="249437"/>
                  </a:lnTo>
                  <a:lnTo>
                    <a:pt x="5974" y="186704"/>
                  </a:lnTo>
                  <a:lnTo>
                    <a:pt x="0" y="73188"/>
                  </a:lnTo>
                  <a:cubicBezTo>
                    <a:pt x="13443" y="49290"/>
                    <a:pt x="34354" y="28379"/>
                    <a:pt x="62733" y="11949"/>
                  </a:cubicBezTo>
                  <a:cubicBezTo>
                    <a:pt x="83644" y="0"/>
                    <a:pt x="104554" y="-2987"/>
                    <a:pt x="122478" y="2987"/>
                  </a:cubicBezTo>
                  <a:cubicBezTo>
                    <a:pt x="144882" y="10455"/>
                    <a:pt x="162806" y="29873"/>
                    <a:pt x="168781" y="56758"/>
                  </a:cubicBezTo>
                  <a:lnTo>
                    <a:pt x="168781" y="56758"/>
                  </a:lnTo>
                  <a:cubicBezTo>
                    <a:pt x="170274" y="62733"/>
                    <a:pt x="170274" y="70201"/>
                    <a:pt x="170274" y="76176"/>
                  </a:cubicBezTo>
                  <a:lnTo>
                    <a:pt x="171768" y="101567"/>
                  </a:lnTo>
                  <a:lnTo>
                    <a:pt x="171768" y="107542"/>
                  </a:lnTo>
                  <a:lnTo>
                    <a:pt x="177742" y="194173"/>
                  </a:lnTo>
                  <a:lnTo>
                    <a:pt x="179236" y="225539"/>
                  </a:lnTo>
                  <a:lnTo>
                    <a:pt x="180730" y="241969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1" name="任意多边形: 形状 10060"/>
            <p:cNvSpPr/>
            <p:nvPr/>
          </p:nvSpPr>
          <p:spPr>
            <a:xfrm>
              <a:off x="5684351" y="5323372"/>
              <a:ext cx="134427" cy="164300"/>
            </a:xfrm>
            <a:custGeom>
              <a:avLst/>
              <a:gdLst>
                <a:gd name="connsiteX0" fmla="*/ 115010 w 134427"/>
                <a:gd name="connsiteY0" fmla="*/ 170274 h 164299"/>
                <a:gd name="connsiteX1" fmla="*/ 1494 w 134427"/>
                <a:gd name="connsiteY1" fmla="*/ 153844 h 164299"/>
                <a:gd name="connsiteX2" fmla="*/ 0 w 134427"/>
                <a:gd name="connsiteY2" fmla="*/ 91112 h 164299"/>
                <a:gd name="connsiteX3" fmla="*/ 31366 w 134427"/>
                <a:gd name="connsiteY3" fmla="*/ 64226 h 164299"/>
                <a:gd name="connsiteX4" fmla="*/ 40328 w 134427"/>
                <a:gd name="connsiteY4" fmla="*/ 19417 h 164299"/>
                <a:gd name="connsiteX5" fmla="*/ 47796 w 134427"/>
                <a:gd name="connsiteY5" fmla="*/ 0 h 164299"/>
                <a:gd name="connsiteX6" fmla="*/ 52277 w 134427"/>
                <a:gd name="connsiteY6" fmla="*/ 82150 h 164299"/>
                <a:gd name="connsiteX7" fmla="*/ 56758 w 134427"/>
                <a:gd name="connsiteY7" fmla="*/ 95593 h 164299"/>
                <a:gd name="connsiteX8" fmla="*/ 122478 w 134427"/>
                <a:gd name="connsiteY8" fmla="*/ 113516 h 164299"/>
                <a:gd name="connsiteX9" fmla="*/ 115010 w 134427"/>
                <a:gd name="connsiteY9" fmla="*/ 170274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4427" h="164299">
                  <a:moveTo>
                    <a:pt x="115010" y="170274"/>
                  </a:moveTo>
                  <a:cubicBezTo>
                    <a:pt x="77669" y="167287"/>
                    <a:pt x="32860" y="165793"/>
                    <a:pt x="1494" y="153844"/>
                  </a:cubicBezTo>
                  <a:lnTo>
                    <a:pt x="0" y="91112"/>
                  </a:lnTo>
                  <a:cubicBezTo>
                    <a:pt x="13443" y="82150"/>
                    <a:pt x="29873" y="73188"/>
                    <a:pt x="31366" y="64226"/>
                  </a:cubicBezTo>
                  <a:cubicBezTo>
                    <a:pt x="34354" y="49290"/>
                    <a:pt x="37341" y="34353"/>
                    <a:pt x="40328" y="19417"/>
                  </a:cubicBezTo>
                  <a:cubicBezTo>
                    <a:pt x="41822" y="11949"/>
                    <a:pt x="43316" y="5974"/>
                    <a:pt x="47796" y="0"/>
                  </a:cubicBezTo>
                  <a:cubicBezTo>
                    <a:pt x="49290" y="31366"/>
                    <a:pt x="50784" y="50783"/>
                    <a:pt x="52277" y="82150"/>
                  </a:cubicBezTo>
                  <a:cubicBezTo>
                    <a:pt x="52277" y="88124"/>
                    <a:pt x="50784" y="94099"/>
                    <a:pt x="56758" y="95593"/>
                  </a:cubicBezTo>
                  <a:cubicBezTo>
                    <a:pt x="76175" y="101567"/>
                    <a:pt x="115010" y="115010"/>
                    <a:pt x="122478" y="113516"/>
                  </a:cubicBezTo>
                  <a:cubicBezTo>
                    <a:pt x="155338" y="103061"/>
                    <a:pt x="140402" y="171768"/>
                    <a:pt x="115010" y="170274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2" name="任意多边形: 形状 10061"/>
            <p:cNvSpPr/>
            <p:nvPr/>
          </p:nvSpPr>
          <p:spPr>
            <a:xfrm>
              <a:off x="5660339" y="5291892"/>
              <a:ext cx="59745" cy="179236"/>
            </a:xfrm>
            <a:custGeom>
              <a:avLst/>
              <a:gdLst>
                <a:gd name="connsiteX0" fmla="*/ 61352 w 59745"/>
                <a:gd name="connsiteY0" fmla="*/ 150971 h 179236"/>
                <a:gd name="connsiteX1" fmla="*/ 28493 w 59745"/>
                <a:gd name="connsiteY1" fmla="*/ 179350 h 179236"/>
                <a:gd name="connsiteX2" fmla="*/ 28493 w 59745"/>
                <a:gd name="connsiteY2" fmla="*/ 179350 h 179236"/>
                <a:gd name="connsiteX3" fmla="*/ 114 w 59745"/>
                <a:gd name="connsiteY3" fmla="*/ 146490 h 179236"/>
                <a:gd name="connsiteX4" fmla="*/ 10569 w 59745"/>
                <a:gd name="connsiteY4" fmla="*/ 28493 h 179236"/>
                <a:gd name="connsiteX5" fmla="*/ 43429 w 59745"/>
                <a:gd name="connsiteY5" fmla="*/ 114 h 179236"/>
                <a:gd name="connsiteX6" fmla="*/ 43429 w 59745"/>
                <a:gd name="connsiteY6" fmla="*/ 114 h 179236"/>
                <a:gd name="connsiteX7" fmla="*/ 71808 w 59745"/>
                <a:gd name="connsiteY7" fmla="*/ 32974 h 179236"/>
                <a:gd name="connsiteX8" fmla="*/ 61352 w 59745"/>
                <a:gd name="connsiteY8" fmla="*/ 150971 h 17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79236">
                  <a:moveTo>
                    <a:pt x="61352" y="150971"/>
                  </a:moveTo>
                  <a:cubicBezTo>
                    <a:pt x="59859" y="167401"/>
                    <a:pt x="44923" y="180843"/>
                    <a:pt x="28493" y="179350"/>
                  </a:cubicBezTo>
                  <a:lnTo>
                    <a:pt x="28493" y="179350"/>
                  </a:lnTo>
                  <a:cubicBezTo>
                    <a:pt x="12062" y="177856"/>
                    <a:pt x="-1380" y="162920"/>
                    <a:pt x="114" y="146490"/>
                  </a:cubicBezTo>
                  <a:lnTo>
                    <a:pt x="10569" y="28493"/>
                  </a:lnTo>
                  <a:cubicBezTo>
                    <a:pt x="12062" y="12062"/>
                    <a:pt x="26999" y="-1380"/>
                    <a:pt x="43429" y="114"/>
                  </a:cubicBezTo>
                  <a:lnTo>
                    <a:pt x="43429" y="114"/>
                  </a:lnTo>
                  <a:cubicBezTo>
                    <a:pt x="59859" y="1607"/>
                    <a:pt x="73302" y="16544"/>
                    <a:pt x="71808" y="32974"/>
                  </a:cubicBezTo>
                  <a:lnTo>
                    <a:pt x="61352" y="150971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3" name="任意多边形: 形状 10062"/>
            <p:cNvSpPr/>
            <p:nvPr/>
          </p:nvSpPr>
          <p:spPr>
            <a:xfrm>
              <a:off x="5688458" y="5936508"/>
              <a:ext cx="74682" cy="44809"/>
            </a:xfrm>
            <a:custGeom>
              <a:avLst/>
              <a:gdLst>
                <a:gd name="connsiteX0" fmla="*/ 70574 w 74681"/>
                <a:gd name="connsiteY0" fmla="*/ 6721 h 44809"/>
                <a:gd name="connsiteX1" fmla="*/ 70574 w 74681"/>
                <a:gd name="connsiteY1" fmla="*/ 39581 h 44809"/>
                <a:gd name="connsiteX2" fmla="*/ 12323 w 74681"/>
                <a:gd name="connsiteY2" fmla="*/ 39581 h 44809"/>
                <a:gd name="connsiteX3" fmla="*/ 12323 w 74681"/>
                <a:gd name="connsiteY3" fmla="*/ 6721 h 44809"/>
                <a:gd name="connsiteX4" fmla="*/ 70574 w 74681"/>
                <a:gd name="connsiteY4" fmla="*/ 672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70574" y="6721"/>
                  </a:moveTo>
                  <a:cubicBezTo>
                    <a:pt x="87004" y="15683"/>
                    <a:pt x="87004" y="30620"/>
                    <a:pt x="70574" y="39581"/>
                  </a:cubicBezTo>
                  <a:cubicBezTo>
                    <a:pt x="54144" y="48543"/>
                    <a:pt x="28752" y="48543"/>
                    <a:pt x="12323" y="39581"/>
                  </a:cubicBezTo>
                  <a:cubicBezTo>
                    <a:pt x="-4108" y="30620"/>
                    <a:pt x="-4108" y="15683"/>
                    <a:pt x="12323" y="6721"/>
                  </a:cubicBezTo>
                  <a:cubicBezTo>
                    <a:pt x="28752" y="-2240"/>
                    <a:pt x="54144" y="-2240"/>
                    <a:pt x="70574" y="672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4" name="任意多边形: 形状 10063"/>
            <p:cNvSpPr/>
            <p:nvPr/>
          </p:nvSpPr>
          <p:spPr>
            <a:xfrm>
              <a:off x="5688832" y="5727352"/>
              <a:ext cx="104554" cy="238981"/>
            </a:xfrm>
            <a:custGeom>
              <a:avLst/>
              <a:gdLst>
                <a:gd name="connsiteX0" fmla="*/ 0 w 104554"/>
                <a:gd name="connsiteY0" fmla="*/ 233801 h 238981"/>
                <a:gd name="connsiteX1" fmla="*/ 22405 w 104554"/>
                <a:gd name="connsiteY1" fmla="*/ 30667 h 238981"/>
                <a:gd name="connsiteX2" fmla="*/ 41822 w 104554"/>
                <a:gd name="connsiteY2" fmla="*/ 9756 h 238981"/>
                <a:gd name="connsiteX3" fmla="*/ 77669 w 104554"/>
                <a:gd name="connsiteY3" fmla="*/ 795 h 238981"/>
                <a:gd name="connsiteX4" fmla="*/ 106048 w 104554"/>
                <a:gd name="connsiteY4" fmla="*/ 30667 h 238981"/>
                <a:gd name="connsiteX5" fmla="*/ 83644 w 104554"/>
                <a:gd name="connsiteY5" fmla="*/ 233801 h 238981"/>
                <a:gd name="connsiteX6" fmla="*/ 71694 w 104554"/>
                <a:gd name="connsiteY6" fmla="*/ 244257 h 238981"/>
                <a:gd name="connsiteX7" fmla="*/ 0 w 104554"/>
                <a:gd name="connsiteY7" fmla="*/ 233801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554" h="238981">
                  <a:moveTo>
                    <a:pt x="0" y="233801"/>
                  </a:moveTo>
                  <a:cubicBezTo>
                    <a:pt x="1494" y="172563"/>
                    <a:pt x="17924" y="36642"/>
                    <a:pt x="22405" y="30667"/>
                  </a:cubicBezTo>
                  <a:cubicBezTo>
                    <a:pt x="26885" y="23199"/>
                    <a:pt x="34354" y="14237"/>
                    <a:pt x="41822" y="9756"/>
                  </a:cubicBezTo>
                  <a:cubicBezTo>
                    <a:pt x="52277" y="3782"/>
                    <a:pt x="64226" y="-2193"/>
                    <a:pt x="77669" y="795"/>
                  </a:cubicBezTo>
                  <a:cubicBezTo>
                    <a:pt x="92605" y="3782"/>
                    <a:pt x="103061" y="15731"/>
                    <a:pt x="106048" y="30667"/>
                  </a:cubicBezTo>
                  <a:cubicBezTo>
                    <a:pt x="107542" y="45604"/>
                    <a:pt x="86631" y="226333"/>
                    <a:pt x="83644" y="233801"/>
                  </a:cubicBezTo>
                  <a:cubicBezTo>
                    <a:pt x="80656" y="242763"/>
                    <a:pt x="80656" y="241269"/>
                    <a:pt x="71694" y="244257"/>
                  </a:cubicBezTo>
                  <a:lnTo>
                    <a:pt x="0" y="233801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5" name="任意多边形: 形状 10064"/>
            <p:cNvSpPr/>
            <p:nvPr/>
          </p:nvSpPr>
          <p:spPr>
            <a:xfrm>
              <a:off x="5660906" y="5408962"/>
              <a:ext cx="164300" cy="74682"/>
            </a:xfrm>
            <a:custGeom>
              <a:avLst/>
              <a:gdLst>
                <a:gd name="connsiteX0" fmla="*/ 144430 w 164299"/>
                <a:gd name="connsiteY0" fmla="*/ 41369 h 74681"/>
                <a:gd name="connsiteX1" fmla="*/ 165340 w 164299"/>
                <a:gd name="connsiteY1" fmla="*/ 50331 h 74681"/>
                <a:gd name="connsiteX2" fmla="*/ 154885 w 164299"/>
                <a:gd name="connsiteY2" fmla="*/ 83191 h 74681"/>
                <a:gd name="connsiteX3" fmla="*/ 135468 w 164299"/>
                <a:gd name="connsiteY3" fmla="*/ 80204 h 74681"/>
                <a:gd name="connsiteX4" fmla="*/ 23445 w 164299"/>
                <a:gd name="connsiteY4" fmla="*/ 60786 h 74681"/>
                <a:gd name="connsiteX5" fmla="*/ 1041 w 164299"/>
                <a:gd name="connsiteY5" fmla="*/ 23445 h 74681"/>
                <a:gd name="connsiteX6" fmla="*/ 1041 w 164299"/>
                <a:gd name="connsiteY6" fmla="*/ 23445 h 74681"/>
                <a:gd name="connsiteX7" fmla="*/ 38382 w 164299"/>
                <a:gd name="connsiteY7" fmla="*/ 1041 h 74681"/>
                <a:gd name="connsiteX8" fmla="*/ 144430 w 164299"/>
                <a:gd name="connsiteY8" fmla="*/ 41369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299" h="74681">
                  <a:moveTo>
                    <a:pt x="144430" y="41369"/>
                  </a:moveTo>
                  <a:cubicBezTo>
                    <a:pt x="156379" y="44356"/>
                    <a:pt x="162353" y="45850"/>
                    <a:pt x="165340" y="50331"/>
                  </a:cubicBezTo>
                  <a:cubicBezTo>
                    <a:pt x="169821" y="54812"/>
                    <a:pt x="160860" y="83191"/>
                    <a:pt x="154885" y="83191"/>
                  </a:cubicBezTo>
                  <a:cubicBezTo>
                    <a:pt x="148911" y="83191"/>
                    <a:pt x="142936" y="81697"/>
                    <a:pt x="135468" y="80204"/>
                  </a:cubicBezTo>
                  <a:lnTo>
                    <a:pt x="23445" y="60786"/>
                  </a:lnTo>
                  <a:cubicBezTo>
                    <a:pt x="7015" y="56305"/>
                    <a:pt x="-3440" y="39875"/>
                    <a:pt x="1041" y="23445"/>
                  </a:cubicBezTo>
                  <a:lnTo>
                    <a:pt x="1041" y="23445"/>
                  </a:lnTo>
                  <a:cubicBezTo>
                    <a:pt x="5522" y="7015"/>
                    <a:pt x="21952" y="-3440"/>
                    <a:pt x="38382" y="1041"/>
                  </a:cubicBezTo>
                  <a:lnTo>
                    <a:pt x="144430" y="41369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6" name="任意多边形: 形状 10065"/>
            <p:cNvSpPr/>
            <p:nvPr/>
          </p:nvSpPr>
          <p:spPr>
            <a:xfrm>
              <a:off x="5754552" y="5360713"/>
              <a:ext cx="29873" cy="14936"/>
            </a:xfrm>
            <a:custGeom>
              <a:avLst/>
              <a:gdLst>
                <a:gd name="connsiteX0" fmla="*/ 32860 w 29872"/>
                <a:gd name="connsiteY0" fmla="*/ 10455 h 14936"/>
                <a:gd name="connsiteX1" fmla="*/ 0 w 29872"/>
                <a:gd name="connsiteY1" fmla="*/ 26885 h 14936"/>
                <a:gd name="connsiteX2" fmla="*/ 0 w 29872"/>
                <a:gd name="connsiteY2" fmla="*/ 17923 h 14936"/>
                <a:gd name="connsiteX3" fmla="*/ 32860 w 29872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32860" y="10455"/>
                  </a:moveTo>
                  <a:lnTo>
                    <a:pt x="0" y="26885"/>
                  </a:lnTo>
                  <a:lnTo>
                    <a:pt x="0" y="17923"/>
                  </a:lnTo>
                  <a:lnTo>
                    <a:pt x="32860" y="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7" name="任意多边形: 形状 10066"/>
            <p:cNvSpPr/>
            <p:nvPr/>
          </p:nvSpPr>
          <p:spPr>
            <a:xfrm>
              <a:off x="5787412" y="5265120"/>
              <a:ext cx="29873" cy="253918"/>
            </a:xfrm>
            <a:custGeom>
              <a:avLst/>
              <a:gdLst>
                <a:gd name="connsiteX0" fmla="*/ 23898 w 29872"/>
                <a:gd name="connsiteY0" fmla="*/ 265867 h 253917"/>
                <a:gd name="connsiteX1" fmla="*/ 38834 w 29872"/>
                <a:gd name="connsiteY1" fmla="*/ 256905 h 253917"/>
                <a:gd name="connsiteX2" fmla="*/ 17924 w 29872"/>
                <a:gd name="connsiteY2" fmla="*/ 0 h 253917"/>
                <a:gd name="connsiteX3" fmla="*/ 0 w 29872"/>
                <a:gd name="connsiteY3" fmla="*/ 5974 h 253917"/>
                <a:gd name="connsiteX4" fmla="*/ 23898 w 29872"/>
                <a:gd name="connsiteY4" fmla="*/ 265867 h 253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72" h="253917">
                  <a:moveTo>
                    <a:pt x="23898" y="265867"/>
                  </a:moveTo>
                  <a:lnTo>
                    <a:pt x="38834" y="256905"/>
                  </a:lnTo>
                  <a:cubicBezTo>
                    <a:pt x="41822" y="206121"/>
                    <a:pt x="26885" y="100073"/>
                    <a:pt x="17924" y="0"/>
                  </a:cubicBezTo>
                  <a:lnTo>
                    <a:pt x="0" y="5974"/>
                  </a:lnTo>
                  <a:cubicBezTo>
                    <a:pt x="11949" y="107541"/>
                    <a:pt x="26885" y="215083"/>
                    <a:pt x="23898" y="265867"/>
                  </a:cubicBezTo>
                  <a:close/>
                </a:path>
              </a:pathLst>
            </a:custGeom>
            <a:solidFill>
              <a:srgbClr val="F6F6F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8" name="任意多边形: 形状 10067"/>
            <p:cNvSpPr/>
            <p:nvPr/>
          </p:nvSpPr>
          <p:spPr>
            <a:xfrm>
              <a:off x="5734014" y="5227779"/>
              <a:ext cx="74682" cy="74682"/>
            </a:xfrm>
            <a:custGeom>
              <a:avLst/>
              <a:gdLst>
                <a:gd name="connsiteX0" fmla="*/ 14563 w 74681"/>
                <a:gd name="connsiteY0" fmla="*/ 2987 h 74681"/>
                <a:gd name="connsiteX1" fmla="*/ 1120 w 74681"/>
                <a:gd name="connsiteY1" fmla="*/ 20911 h 74681"/>
                <a:gd name="connsiteX2" fmla="*/ 1120 w 74681"/>
                <a:gd name="connsiteY2" fmla="*/ 29873 h 74681"/>
                <a:gd name="connsiteX3" fmla="*/ 16057 w 74681"/>
                <a:gd name="connsiteY3" fmla="*/ 50783 h 74681"/>
                <a:gd name="connsiteX4" fmla="*/ 50410 w 74681"/>
                <a:gd name="connsiteY4" fmla="*/ 77669 h 74681"/>
                <a:gd name="connsiteX5" fmla="*/ 66840 w 74681"/>
                <a:gd name="connsiteY5" fmla="*/ 43315 h 74681"/>
                <a:gd name="connsiteX6" fmla="*/ 86257 w 74681"/>
                <a:gd name="connsiteY6" fmla="*/ 61239 h 74681"/>
                <a:gd name="connsiteX7" fmla="*/ 86257 w 74681"/>
                <a:gd name="connsiteY7" fmla="*/ 31366 h 74681"/>
                <a:gd name="connsiteX8" fmla="*/ 69827 w 74681"/>
                <a:gd name="connsiteY8" fmla="*/ 5974 h 74681"/>
                <a:gd name="connsiteX9" fmla="*/ 44436 w 74681"/>
                <a:gd name="connsiteY9" fmla="*/ 0 h 74681"/>
                <a:gd name="connsiteX10" fmla="*/ 19044 w 74681"/>
                <a:gd name="connsiteY10" fmla="*/ 5974 h 74681"/>
                <a:gd name="connsiteX11" fmla="*/ 14563 w 74681"/>
                <a:gd name="connsiteY11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74681">
                  <a:moveTo>
                    <a:pt x="14563" y="2987"/>
                  </a:moveTo>
                  <a:cubicBezTo>
                    <a:pt x="11576" y="8961"/>
                    <a:pt x="4108" y="17923"/>
                    <a:pt x="1120" y="20911"/>
                  </a:cubicBezTo>
                  <a:cubicBezTo>
                    <a:pt x="-373" y="23898"/>
                    <a:pt x="-373" y="26885"/>
                    <a:pt x="1120" y="29873"/>
                  </a:cubicBezTo>
                  <a:cubicBezTo>
                    <a:pt x="4108" y="38834"/>
                    <a:pt x="8588" y="44809"/>
                    <a:pt x="16057" y="50783"/>
                  </a:cubicBezTo>
                  <a:cubicBezTo>
                    <a:pt x="26512" y="59745"/>
                    <a:pt x="38461" y="68707"/>
                    <a:pt x="50410" y="77669"/>
                  </a:cubicBezTo>
                  <a:cubicBezTo>
                    <a:pt x="56385" y="67214"/>
                    <a:pt x="62359" y="55264"/>
                    <a:pt x="66840" y="43315"/>
                  </a:cubicBezTo>
                  <a:cubicBezTo>
                    <a:pt x="72815" y="49290"/>
                    <a:pt x="80283" y="55264"/>
                    <a:pt x="86257" y="61239"/>
                  </a:cubicBezTo>
                  <a:cubicBezTo>
                    <a:pt x="87751" y="50783"/>
                    <a:pt x="87751" y="40328"/>
                    <a:pt x="86257" y="31366"/>
                  </a:cubicBezTo>
                  <a:cubicBezTo>
                    <a:pt x="84764" y="20911"/>
                    <a:pt x="78789" y="11949"/>
                    <a:pt x="69827" y="5974"/>
                  </a:cubicBezTo>
                  <a:cubicBezTo>
                    <a:pt x="62359" y="1493"/>
                    <a:pt x="53397" y="0"/>
                    <a:pt x="44436" y="0"/>
                  </a:cubicBezTo>
                  <a:cubicBezTo>
                    <a:pt x="35474" y="0"/>
                    <a:pt x="26512" y="2987"/>
                    <a:pt x="19044" y="5974"/>
                  </a:cubicBezTo>
                  <a:cubicBezTo>
                    <a:pt x="16057" y="4481"/>
                    <a:pt x="14563" y="0"/>
                    <a:pt x="14563" y="2987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9" name="任意多边形: 形状 10068"/>
            <p:cNvSpPr/>
            <p:nvPr/>
          </p:nvSpPr>
          <p:spPr>
            <a:xfrm>
              <a:off x="5744079" y="5232260"/>
              <a:ext cx="59745" cy="29873"/>
            </a:xfrm>
            <a:custGeom>
              <a:avLst/>
              <a:gdLst>
                <a:gd name="connsiteX0" fmla="*/ 61257 w 59745"/>
                <a:gd name="connsiteY0" fmla="*/ 28379 h 29872"/>
                <a:gd name="connsiteX1" fmla="*/ 52295 w 59745"/>
                <a:gd name="connsiteY1" fmla="*/ 34353 h 29872"/>
                <a:gd name="connsiteX2" fmla="*/ 7486 w 59745"/>
                <a:gd name="connsiteY2" fmla="*/ 28379 h 29872"/>
                <a:gd name="connsiteX3" fmla="*/ 11967 w 59745"/>
                <a:gd name="connsiteY3" fmla="*/ 2987 h 29872"/>
                <a:gd name="connsiteX4" fmla="*/ 22422 w 59745"/>
                <a:gd name="connsiteY4" fmla="*/ 0 h 29872"/>
                <a:gd name="connsiteX5" fmla="*/ 28397 w 59745"/>
                <a:gd name="connsiteY5" fmla="*/ 0 h 29872"/>
                <a:gd name="connsiteX6" fmla="*/ 56776 w 59745"/>
                <a:gd name="connsiteY6" fmla="*/ 8962 h 29872"/>
                <a:gd name="connsiteX7" fmla="*/ 64244 w 59745"/>
                <a:gd name="connsiteY7" fmla="*/ 17924 h 29872"/>
                <a:gd name="connsiteX8" fmla="*/ 61257 w 59745"/>
                <a:gd name="connsiteY8" fmla="*/ 28379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9872">
                  <a:moveTo>
                    <a:pt x="61257" y="28379"/>
                  </a:moveTo>
                  <a:cubicBezTo>
                    <a:pt x="59763" y="31366"/>
                    <a:pt x="56776" y="32860"/>
                    <a:pt x="52295" y="34353"/>
                  </a:cubicBezTo>
                  <a:cubicBezTo>
                    <a:pt x="38852" y="40328"/>
                    <a:pt x="19435" y="37341"/>
                    <a:pt x="7486" y="28379"/>
                  </a:cubicBezTo>
                  <a:cubicBezTo>
                    <a:pt x="-4464" y="19417"/>
                    <a:pt x="-1476" y="7468"/>
                    <a:pt x="11967" y="2987"/>
                  </a:cubicBezTo>
                  <a:cubicBezTo>
                    <a:pt x="14954" y="1494"/>
                    <a:pt x="17941" y="1494"/>
                    <a:pt x="22422" y="0"/>
                  </a:cubicBezTo>
                  <a:cubicBezTo>
                    <a:pt x="23916" y="0"/>
                    <a:pt x="26903" y="0"/>
                    <a:pt x="28397" y="0"/>
                  </a:cubicBezTo>
                  <a:cubicBezTo>
                    <a:pt x="38852" y="0"/>
                    <a:pt x="49307" y="2987"/>
                    <a:pt x="56776" y="8962"/>
                  </a:cubicBezTo>
                  <a:cubicBezTo>
                    <a:pt x="61257" y="11949"/>
                    <a:pt x="62750" y="14936"/>
                    <a:pt x="64244" y="17924"/>
                  </a:cubicBezTo>
                  <a:cubicBezTo>
                    <a:pt x="64244" y="20911"/>
                    <a:pt x="64244" y="25392"/>
                    <a:pt x="61257" y="28379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0" name="任意多边形: 形状 10069"/>
            <p:cNvSpPr/>
            <p:nvPr/>
          </p:nvSpPr>
          <p:spPr>
            <a:xfrm>
              <a:off x="5744234" y="5164651"/>
              <a:ext cx="74682" cy="89618"/>
            </a:xfrm>
            <a:custGeom>
              <a:avLst/>
              <a:gdLst>
                <a:gd name="connsiteX0" fmla="*/ 0 w 74681"/>
                <a:gd name="connsiteY0" fmla="*/ 81279 h 89618"/>
                <a:gd name="connsiteX1" fmla="*/ 11912 w 74681"/>
                <a:gd name="connsiteY1" fmla="*/ 0 h 89618"/>
                <a:gd name="connsiteX2" fmla="*/ 75457 w 74681"/>
                <a:gd name="connsiteY2" fmla="*/ 9313 h 89618"/>
                <a:gd name="connsiteX3" fmla="*/ 63545 w 74681"/>
                <a:gd name="connsiteY3" fmla="*/ 90592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89618">
                  <a:moveTo>
                    <a:pt x="0" y="81279"/>
                  </a:moveTo>
                  <a:lnTo>
                    <a:pt x="11912" y="0"/>
                  </a:lnTo>
                  <a:lnTo>
                    <a:pt x="75457" y="9313"/>
                  </a:lnTo>
                  <a:lnTo>
                    <a:pt x="63545" y="90592"/>
                  </a:ln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1" name="任意多边形: 形状 10070"/>
            <p:cNvSpPr/>
            <p:nvPr/>
          </p:nvSpPr>
          <p:spPr>
            <a:xfrm>
              <a:off x="5765007" y="5112634"/>
              <a:ext cx="74682" cy="119491"/>
            </a:xfrm>
            <a:custGeom>
              <a:avLst/>
              <a:gdLst>
                <a:gd name="connsiteX0" fmla="*/ 1493 w 74681"/>
                <a:gd name="connsiteY0" fmla="*/ 56893 h 119490"/>
                <a:gd name="connsiteX1" fmla="*/ 0 w 74681"/>
                <a:gd name="connsiteY1" fmla="*/ 83778 h 119490"/>
                <a:gd name="connsiteX2" fmla="*/ 8962 w 74681"/>
                <a:gd name="connsiteY2" fmla="*/ 109170 h 119490"/>
                <a:gd name="connsiteX3" fmla="*/ 43315 w 74681"/>
                <a:gd name="connsiteY3" fmla="*/ 127094 h 119490"/>
                <a:gd name="connsiteX4" fmla="*/ 52277 w 74681"/>
                <a:gd name="connsiteY4" fmla="*/ 125600 h 119490"/>
                <a:gd name="connsiteX5" fmla="*/ 62733 w 74681"/>
                <a:gd name="connsiteY5" fmla="*/ 110664 h 119490"/>
                <a:gd name="connsiteX6" fmla="*/ 80656 w 74681"/>
                <a:gd name="connsiteY6" fmla="*/ 35982 h 119490"/>
                <a:gd name="connsiteX7" fmla="*/ 80656 w 74681"/>
                <a:gd name="connsiteY7" fmla="*/ 24033 h 119490"/>
                <a:gd name="connsiteX8" fmla="*/ 58252 w 74681"/>
                <a:gd name="connsiteY8" fmla="*/ 1628 h 119490"/>
                <a:gd name="connsiteX9" fmla="*/ 25392 w 74681"/>
                <a:gd name="connsiteY9" fmla="*/ 3122 h 119490"/>
                <a:gd name="connsiteX10" fmla="*/ 16430 w 74681"/>
                <a:gd name="connsiteY10" fmla="*/ 7603 h 119490"/>
                <a:gd name="connsiteX11" fmla="*/ 10455 w 74681"/>
                <a:gd name="connsiteY11" fmla="*/ 13577 h 119490"/>
                <a:gd name="connsiteX12" fmla="*/ 1493 w 74681"/>
                <a:gd name="connsiteY12" fmla="*/ 56893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1493" y="56893"/>
                  </a:moveTo>
                  <a:cubicBezTo>
                    <a:pt x="0" y="65855"/>
                    <a:pt x="0" y="74816"/>
                    <a:pt x="0" y="83778"/>
                  </a:cubicBezTo>
                  <a:cubicBezTo>
                    <a:pt x="0" y="92740"/>
                    <a:pt x="2987" y="101702"/>
                    <a:pt x="8962" y="109170"/>
                  </a:cubicBezTo>
                  <a:cubicBezTo>
                    <a:pt x="16430" y="119625"/>
                    <a:pt x="29873" y="127094"/>
                    <a:pt x="43315" y="127094"/>
                  </a:cubicBezTo>
                  <a:cubicBezTo>
                    <a:pt x="46303" y="127094"/>
                    <a:pt x="49290" y="127094"/>
                    <a:pt x="52277" y="125600"/>
                  </a:cubicBezTo>
                  <a:cubicBezTo>
                    <a:pt x="58252" y="122613"/>
                    <a:pt x="61239" y="116638"/>
                    <a:pt x="62733" y="110664"/>
                  </a:cubicBezTo>
                  <a:cubicBezTo>
                    <a:pt x="73188" y="86765"/>
                    <a:pt x="77669" y="61374"/>
                    <a:pt x="80656" y="35982"/>
                  </a:cubicBezTo>
                  <a:cubicBezTo>
                    <a:pt x="80656" y="31501"/>
                    <a:pt x="80656" y="28514"/>
                    <a:pt x="80656" y="24033"/>
                  </a:cubicBezTo>
                  <a:cubicBezTo>
                    <a:pt x="79162" y="13577"/>
                    <a:pt x="68707" y="4615"/>
                    <a:pt x="58252" y="1628"/>
                  </a:cubicBezTo>
                  <a:cubicBezTo>
                    <a:pt x="47796" y="-1359"/>
                    <a:pt x="35847" y="135"/>
                    <a:pt x="25392" y="3122"/>
                  </a:cubicBezTo>
                  <a:cubicBezTo>
                    <a:pt x="22405" y="4615"/>
                    <a:pt x="19417" y="4615"/>
                    <a:pt x="16430" y="7603"/>
                  </a:cubicBezTo>
                  <a:cubicBezTo>
                    <a:pt x="13443" y="9097"/>
                    <a:pt x="11949" y="12084"/>
                    <a:pt x="10455" y="13577"/>
                  </a:cubicBezTo>
                  <a:cubicBezTo>
                    <a:pt x="7468" y="16565"/>
                    <a:pt x="2987" y="43450"/>
                    <a:pt x="1493" y="56893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2" name="任意多边形: 形状 10071"/>
            <p:cNvSpPr/>
            <p:nvPr/>
          </p:nvSpPr>
          <p:spPr>
            <a:xfrm>
              <a:off x="5763514" y="5123090"/>
              <a:ext cx="74682" cy="119491"/>
            </a:xfrm>
            <a:custGeom>
              <a:avLst/>
              <a:gdLst>
                <a:gd name="connsiteX0" fmla="*/ 1494 w 74681"/>
                <a:gd name="connsiteY0" fmla="*/ 56893 h 119490"/>
                <a:gd name="connsiteX1" fmla="*/ 0 w 74681"/>
                <a:gd name="connsiteY1" fmla="*/ 83778 h 119490"/>
                <a:gd name="connsiteX2" fmla="*/ 8962 w 74681"/>
                <a:gd name="connsiteY2" fmla="*/ 109170 h 119490"/>
                <a:gd name="connsiteX3" fmla="*/ 43315 w 74681"/>
                <a:gd name="connsiteY3" fmla="*/ 127094 h 119490"/>
                <a:gd name="connsiteX4" fmla="*/ 52277 w 74681"/>
                <a:gd name="connsiteY4" fmla="*/ 125600 h 119490"/>
                <a:gd name="connsiteX5" fmla="*/ 62733 w 74681"/>
                <a:gd name="connsiteY5" fmla="*/ 110664 h 119490"/>
                <a:gd name="connsiteX6" fmla="*/ 80656 w 74681"/>
                <a:gd name="connsiteY6" fmla="*/ 35982 h 119490"/>
                <a:gd name="connsiteX7" fmla="*/ 80656 w 74681"/>
                <a:gd name="connsiteY7" fmla="*/ 24033 h 119490"/>
                <a:gd name="connsiteX8" fmla="*/ 58252 w 74681"/>
                <a:gd name="connsiteY8" fmla="*/ 1628 h 119490"/>
                <a:gd name="connsiteX9" fmla="*/ 25392 w 74681"/>
                <a:gd name="connsiteY9" fmla="*/ 3122 h 119490"/>
                <a:gd name="connsiteX10" fmla="*/ 16430 w 74681"/>
                <a:gd name="connsiteY10" fmla="*/ 7603 h 119490"/>
                <a:gd name="connsiteX11" fmla="*/ 10455 w 74681"/>
                <a:gd name="connsiteY11" fmla="*/ 13577 h 119490"/>
                <a:gd name="connsiteX12" fmla="*/ 1494 w 74681"/>
                <a:gd name="connsiteY12" fmla="*/ 56893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1494" y="56893"/>
                  </a:moveTo>
                  <a:cubicBezTo>
                    <a:pt x="0" y="65855"/>
                    <a:pt x="0" y="74817"/>
                    <a:pt x="0" y="83778"/>
                  </a:cubicBezTo>
                  <a:cubicBezTo>
                    <a:pt x="0" y="92740"/>
                    <a:pt x="2987" y="101702"/>
                    <a:pt x="8962" y="109170"/>
                  </a:cubicBezTo>
                  <a:cubicBezTo>
                    <a:pt x="16430" y="119626"/>
                    <a:pt x="29873" y="127094"/>
                    <a:pt x="43315" y="127094"/>
                  </a:cubicBezTo>
                  <a:cubicBezTo>
                    <a:pt x="46303" y="127094"/>
                    <a:pt x="49290" y="127094"/>
                    <a:pt x="52277" y="125600"/>
                  </a:cubicBezTo>
                  <a:cubicBezTo>
                    <a:pt x="58252" y="122613"/>
                    <a:pt x="61239" y="116638"/>
                    <a:pt x="62733" y="110664"/>
                  </a:cubicBezTo>
                  <a:cubicBezTo>
                    <a:pt x="73188" y="86765"/>
                    <a:pt x="77669" y="61373"/>
                    <a:pt x="80656" y="35982"/>
                  </a:cubicBezTo>
                  <a:cubicBezTo>
                    <a:pt x="80656" y="31501"/>
                    <a:pt x="80656" y="28514"/>
                    <a:pt x="80656" y="24033"/>
                  </a:cubicBezTo>
                  <a:cubicBezTo>
                    <a:pt x="79163" y="13577"/>
                    <a:pt x="68707" y="4616"/>
                    <a:pt x="58252" y="1628"/>
                  </a:cubicBezTo>
                  <a:cubicBezTo>
                    <a:pt x="47796" y="-1359"/>
                    <a:pt x="35847" y="135"/>
                    <a:pt x="25392" y="3122"/>
                  </a:cubicBezTo>
                  <a:cubicBezTo>
                    <a:pt x="22405" y="4616"/>
                    <a:pt x="19417" y="4616"/>
                    <a:pt x="16430" y="7603"/>
                  </a:cubicBezTo>
                  <a:cubicBezTo>
                    <a:pt x="13443" y="9096"/>
                    <a:pt x="11949" y="12084"/>
                    <a:pt x="10455" y="13577"/>
                  </a:cubicBezTo>
                  <a:cubicBezTo>
                    <a:pt x="7468" y="15071"/>
                    <a:pt x="2987" y="43450"/>
                    <a:pt x="1494" y="56893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3" name="任意多边形: 形状 10072"/>
            <p:cNvSpPr/>
            <p:nvPr/>
          </p:nvSpPr>
          <p:spPr>
            <a:xfrm>
              <a:off x="5761401" y="5174008"/>
              <a:ext cx="44809" cy="74682"/>
            </a:xfrm>
            <a:custGeom>
              <a:avLst/>
              <a:gdLst>
                <a:gd name="connsiteX0" fmla="*/ 43934 w 44809"/>
                <a:gd name="connsiteY0" fmla="*/ 86631 h 74681"/>
                <a:gd name="connsiteX1" fmla="*/ 9581 w 44809"/>
                <a:gd name="connsiteY1" fmla="*/ 68707 h 74681"/>
                <a:gd name="connsiteX2" fmla="*/ 3606 w 44809"/>
                <a:gd name="connsiteY2" fmla="*/ 58252 h 74681"/>
                <a:gd name="connsiteX3" fmla="*/ 619 w 44809"/>
                <a:gd name="connsiteY3" fmla="*/ 43315 h 74681"/>
                <a:gd name="connsiteX4" fmla="*/ 2112 w 44809"/>
                <a:gd name="connsiteY4" fmla="*/ 16430 h 74681"/>
                <a:gd name="connsiteX5" fmla="*/ 3606 w 44809"/>
                <a:gd name="connsiteY5" fmla="*/ 0 h 74681"/>
                <a:gd name="connsiteX6" fmla="*/ 2112 w 44809"/>
                <a:gd name="connsiteY6" fmla="*/ 5974 h 74681"/>
                <a:gd name="connsiteX7" fmla="*/ 619 w 44809"/>
                <a:gd name="connsiteY7" fmla="*/ 32860 h 74681"/>
                <a:gd name="connsiteX8" fmla="*/ 8087 w 44809"/>
                <a:gd name="connsiteY8" fmla="*/ 56758 h 74681"/>
                <a:gd name="connsiteX9" fmla="*/ 9581 w 44809"/>
                <a:gd name="connsiteY9" fmla="*/ 58252 h 74681"/>
                <a:gd name="connsiteX10" fmla="*/ 43934 w 44809"/>
                <a:gd name="connsiteY10" fmla="*/ 76175 h 74681"/>
                <a:gd name="connsiteX11" fmla="*/ 43934 w 44809"/>
                <a:gd name="connsiteY11" fmla="*/ 76175 h 74681"/>
                <a:gd name="connsiteX12" fmla="*/ 43934 w 44809"/>
                <a:gd name="connsiteY12" fmla="*/ 8663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09" h="74681">
                  <a:moveTo>
                    <a:pt x="43934" y="86631"/>
                  </a:moveTo>
                  <a:cubicBezTo>
                    <a:pt x="30491" y="86631"/>
                    <a:pt x="17049" y="80656"/>
                    <a:pt x="9581" y="68707"/>
                  </a:cubicBezTo>
                  <a:cubicBezTo>
                    <a:pt x="6593" y="65720"/>
                    <a:pt x="5100" y="61239"/>
                    <a:pt x="3606" y="58252"/>
                  </a:cubicBezTo>
                  <a:cubicBezTo>
                    <a:pt x="2112" y="53771"/>
                    <a:pt x="619" y="47796"/>
                    <a:pt x="619" y="43315"/>
                  </a:cubicBezTo>
                  <a:cubicBezTo>
                    <a:pt x="-875" y="34353"/>
                    <a:pt x="619" y="25392"/>
                    <a:pt x="2112" y="16430"/>
                  </a:cubicBezTo>
                  <a:cubicBezTo>
                    <a:pt x="2112" y="11949"/>
                    <a:pt x="3606" y="5974"/>
                    <a:pt x="3606" y="0"/>
                  </a:cubicBezTo>
                  <a:cubicBezTo>
                    <a:pt x="3606" y="2987"/>
                    <a:pt x="3606" y="4481"/>
                    <a:pt x="2112" y="5974"/>
                  </a:cubicBezTo>
                  <a:cubicBezTo>
                    <a:pt x="619" y="14936"/>
                    <a:pt x="619" y="23898"/>
                    <a:pt x="619" y="32860"/>
                  </a:cubicBezTo>
                  <a:cubicBezTo>
                    <a:pt x="619" y="41822"/>
                    <a:pt x="3606" y="49290"/>
                    <a:pt x="8087" y="56758"/>
                  </a:cubicBezTo>
                  <a:cubicBezTo>
                    <a:pt x="8087" y="56758"/>
                    <a:pt x="8087" y="58252"/>
                    <a:pt x="9581" y="58252"/>
                  </a:cubicBezTo>
                  <a:cubicBezTo>
                    <a:pt x="17049" y="68707"/>
                    <a:pt x="30491" y="76175"/>
                    <a:pt x="43934" y="76175"/>
                  </a:cubicBezTo>
                  <a:cubicBezTo>
                    <a:pt x="43934" y="76175"/>
                    <a:pt x="43934" y="76175"/>
                    <a:pt x="43934" y="76175"/>
                  </a:cubicBezTo>
                  <a:cubicBezTo>
                    <a:pt x="46921" y="79162"/>
                    <a:pt x="46921" y="83644"/>
                    <a:pt x="43934" y="86631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4" name="任意多边形: 形状 10073"/>
            <p:cNvSpPr/>
            <p:nvPr/>
          </p:nvSpPr>
          <p:spPr>
            <a:xfrm>
              <a:off x="5738122" y="5101420"/>
              <a:ext cx="104554" cy="119491"/>
            </a:xfrm>
            <a:custGeom>
              <a:avLst/>
              <a:gdLst>
                <a:gd name="connsiteX0" fmla="*/ 32860 w 104554"/>
                <a:gd name="connsiteY0" fmla="*/ 75575 h 119490"/>
                <a:gd name="connsiteX1" fmla="*/ 25392 w 104554"/>
                <a:gd name="connsiteY1" fmla="*/ 69600 h 119490"/>
                <a:gd name="connsiteX2" fmla="*/ 23898 w 104554"/>
                <a:gd name="connsiteY2" fmla="*/ 114409 h 119490"/>
                <a:gd name="connsiteX3" fmla="*/ 20911 w 104554"/>
                <a:gd name="connsiteY3" fmla="*/ 120384 h 119490"/>
                <a:gd name="connsiteX4" fmla="*/ 16430 w 104554"/>
                <a:gd name="connsiteY4" fmla="*/ 121878 h 119490"/>
                <a:gd name="connsiteX5" fmla="*/ 2987 w 104554"/>
                <a:gd name="connsiteY5" fmla="*/ 111422 h 119490"/>
                <a:gd name="connsiteX6" fmla="*/ 0 w 104554"/>
                <a:gd name="connsiteY6" fmla="*/ 93499 h 119490"/>
                <a:gd name="connsiteX7" fmla="*/ 0 w 104554"/>
                <a:gd name="connsiteY7" fmla="*/ 71094 h 119490"/>
                <a:gd name="connsiteX8" fmla="*/ 8962 w 104554"/>
                <a:gd name="connsiteY8" fmla="*/ 26285 h 119490"/>
                <a:gd name="connsiteX9" fmla="*/ 35847 w 104554"/>
                <a:gd name="connsiteY9" fmla="*/ 3880 h 119490"/>
                <a:gd name="connsiteX10" fmla="*/ 71694 w 104554"/>
                <a:gd name="connsiteY10" fmla="*/ 893 h 119490"/>
                <a:gd name="connsiteX11" fmla="*/ 98580 w 104554"/>
                <a:gd name="connsiteY11" fmla="*/ 11349 h 119490"/>
                <a:gd name="connsiteX12" fmla="*/ 115010 w 104554"/>
                <a:gd name="connsiteY12" fmla="*/ 35247 h 119490"/>
                <a:gd name="connsiteX13" fmla="*/ 113516 w 104554"/>
                <a:gd name="connsiteY13" fmla="*/ 47196 h 119490"/>
                <a:gd name="connsiteX14" fmla="*/ 92605 w 104554"/>
                <a:gd name="connsiteY14" fmla="*/ 59145 h 119490"/>
                <a:gd name="connsiteX15" fmla="*/ 52277 w 104554"/>
                <a:gd name="connsiteY15" fmla="*/ 50183 h 119490"/>
                <a:gd name="connsiteX16" fmla="*/ 44809 w 104554"/>
                <a:gd name="connsiteY16" fmla="*/ 45702 h 119490"/>
                <a:gd name="connsiteX17" fmla="*/ 37341 w 104554"/>
                <a:gd name="connsiteY17" fmla="*/ 47196 h 119490"/>
                <a:gd name="connsiteX18" fmla="*/ 35847 w 104554"/>
                <a:gd name="connsiteY18" fmla="*/ 51677 h 119490"/>
                <a:gd name="connsiteX19" fmla="*/ 32860 w 104554"/>
                <a:gd name="connsiteY19" fmla="*/ 75575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4554" h="119490">
                  <a:moveTo>
                    <a:pt x="32860" y="75575"/>
                  </a:moveTo>
                  <a:cubicBezTo>
                    <a:pt x="32860" y="75575"/>
                    <a:pt x="26885" y="71094"/>
                    <a:pt x="25392" y="69600"/>
                  </a:cubicBezTo>
                  <a:cubicBezTo>
                    <a:pt x="26885" y="84537"/>
                    <a:pt x="26885" y="99473"/>
                    <a:pt x="23898" y="114409"/>
                  </a:cubicBezTo>
                  <a:cubicBezTo>
                    <a:pt x="23898" y="115903"/>
                    <a:pt x="22405" y="118891"/>
                    <a:pt x="20911" y="120384"/>
                  </a:cubicBezTo>
                  <a:cubicBezTo>
                    <a:pt x="19417" y="121878"/>
                    <a:pt x="17924" y="121878"/>
                    <a:pt x="16430" y="121878"/>
                  </a:cubicBezTo>
                  <a:cubicBezTo>
                    <a:pt x="10455" y="121878"/>
                    <a:pt x="5974" y="117397"/>
                    <a:pt x="2987" y="111422"/>
                  </a:cubicBezTo>
                  <a:cubicBezTo>
                    <a:pt x="0" y="105447"/>
                    <a:pt x="0" y="99473"/>
                    <a:pt x="0" y="93499"/>
                  </a:cubicBezTo>
                  <a:cubicBezTo>
                    <a:pt x="0" y="86030"/>
                    <a:pt x="0" y="78562"/>
                    <a:pt x="0" y="71094"/>
                  </a:cubicBezTo>
                  <a:cubicBezTo>
                    <a:pt x="0" y="56158"/>
                    <a:pt x="0" y="38234"/>
                    <a:pt x="8962" y="26285"/>
                  </a:cubicBezTo>
                  <a:cubicBezTo>
                    <a:pt x="14936" y="15829"/>
                    <a:pt x="23898" y="8361"/>
                    <a:pt x="35847" y="3880"/>
                  </a:cubicBezTo>
                  <a:cubicBezTo>
                    <a:pt x="46303" y="-600"/>
                    <a:pt x="61239" y="-600"/>
                    <a:pt x="71694" y="893"/>
                  </a:cubicBezTo>
                  <a:cubicBezTo>
                    <a:pt x="82150" y="2387"/>
                    <a:pt x="91112" y="5374"/>
                    <a:pt x="98580" y="11349"/>
                  </a:cubicBezTo>
                  <a:cubicBezTo>
                    <a:pt x="106048" y="17323"/>
                    <a:pt x="112023" y="26285"/>
                    <a:pt x="115010" y="35247"/>
                  </a:cubicBezTo>
                  <a:cubicBezTo>
                    <a:pt x="115010" y="39728"/>
                    <a:pt x="115010" y="44209"/>
                    <a:pt x="113516" y="47196"/>
                  </a:cubicBezTo>
                  <a:cubicBezTo>
                    <a:pt x="110529" y="54664"/>
                    <a:pt x="101567" y="57651"/>
                    <a:pt x="92605" y="59145"/>
                  </a:cubicBezTo>
                  <a:cubicBezTo>
                    <a:pt x="79163" y="60638"/>
                    <a:pt x="64226" y="57651"/>
                    <a:pt x="52277" y="50183"/>
                  </a:cubicBezTo>
                  <a:cubicBezTo>
                    <a:pt x="49290" y="48690"/>
                    <a:pt x="47796" y="47196"/>
                    <a:pt x="44809" y="45702"/>
                  </a:cubicBezTo>
                  <a:cubicBezTo>
                    <a:pt x="41822" y="44209"/>
                    <a:pt x="38834" y="45702"/>
                    <a:pt x="37341" y="47196"/>
                  </a:cubicBezTo>
                  <a:cubicBezTo>
                    <a:pt x="35847" y="48690"/>
                    <a:pt x="35847" y="50183"/>
                    <a:pt x="35847" y="51677"/>
                  </a:cubicBezTo>
                  <a:cubicBezTo>
                    <a:pt x="34354" y="57651"/>
                    <a:pt x="32860" y="75575"/>
                    <a:pt x="32860" y="75575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5" name="任意多边形: 形状 10074"/>
            <p:cNvSpPr/>
            <p:nvPr/>
          </p:nvSpPr>
          <p:spPr>
            <a:xfrm>
              <a:off x="5756045" y="5165046"/>
              <a:ext cx="14936" cy="29873"/>
            </a:xfrm>
            <a:custGeom>
              <a:avLst/>
              <a:gdLst>
                <a:gd name="connsiteX0" fmla="*/ 7468 w 14936"/>
                <a:gd name="connsiteY0" fmla="*/ 0 h 29872"/>
                <a:gd name="connsiteX1" fmla="*/ 14936 w 14936"/>
                <a:gd name="connsiteY1" fmla="*/ 5974 h 29872"/>
                <a:gd name="connsiteX2" fmla="*/ 16430 w 14936"/>
                <a:gd name="connsiteY2" fmla="*/ 17924 h 29872"/>
                <a:gd name="connsiteX3" fmla="*/ 13443 w 14936"/>
                <a:gd name="connsiteY3" fmla="*/ 32860 h 29872"/>
                <a:gd name="connsiteX4" fmla="*/ 10455 w 14936"/>
                <a:gd name="connsiteY4" fmla="*/ 35847 h 29872"/>
                <a:gd name="connsiteX5" fmla="*/ 4481 w 14936"/>
                <a:gd name="connsiteY5" fmla="*/ 34353 h 29872"/>
                <a:gd name="connsiteX6" fmla="*/ 1494 w 14936"/>
                <a:gd name="connsiteY6" fmla="*/ 28379 h 29872"/>
                <a:gd name="connsiteX7" fmla="*/ 0 w 14936"/>
                <a:gd name="connsiteY7" fmla="*/ 10456 h 29872"/>
                <a:gd name="connsiteX8" fmla="*/ 1494 w 14936"/>
                <a:gd name="connsiteY8" fmla="*/ 2987 h 29872"/>
                <a:gd name="connsiteX9" fmla="*/ 7468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7468" y="0"/>
                  </a:moveTo>
                  <a:cubicBezTo>
                    <a:pt x="10455" y="0"/>
                    <a:pt x="13443" y="2987"/>
                    <a:pt x="14936" y="5974"/>
                  </a:cubicBezTo>
                  <a:cubicBezTo>
                    <a:pt x="16430" y="10456"/>
                    <a:pt x="16430" y="13443"/>
                    <a:pt x="16430" y="17924"/>
                  </a:cubicBezTo>
                  <a:cubicBezTo>
                    <a:pt x="16430" y="22405"/>
                    <a:pt x="16430" y="28379"/>
                    <a:pt x="13443" y="32860"/>
                  </a:cubicBezTo>
                  <a:cubicBezTo>
                    <a:pt x="13443" y="34353"/>
                    <a:pt x="11949" y="35847"/>
                    <a:pt x="10455" y="35847"/>
                  </a:cubicBezTo>
                  <a:cubicBezTo>
                    <a:pt x="8962" y="37341"/>
                    <a:pt x="5974" y="35847"/>
                    <a:pt x="4481" y="34353"/>
                  </a:cubicBezTo>
                  <a:cubicBezTo>
                    <a:pt x="2987" y="32860"/>
                    <a:pt x="2987" y="29873"/>
                    <a:pt x="1494" y="28379"/>
                  </a:cubicBezTo>
                  <a:cubicBezTo>
                    <a:pt x="0" y="22405"/>
                    <a:pt x="0" y="16430"/>
                    <a:pt x="0" y="10456"/>
                  </a:cubicBezTo>
                  <a:cubicBezTo>
                    <a:pt x="0" y="7468"/>
                    <a:pt x="0" y="5974"/>
                    <a:pt x="1494" y="2987"/>
                  </a:cubicBezTo>
                  <a:cubicBezTo>
                    <a:pt x="1494" y="1494"/>
                    <a:pt x="4481" y="0"/>
                    <a:pt x="7468" y="0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6" name="任意多边形: 形状 10075"/>
            <p:cNvSpPr/>
            <p:nvPr/>
          </p:nvSpPr>
          <p:spPr>
            <a:xfrm>
              <a:off x="5799361" y="5303954"/>
              <a:ext cx="14936" cy="14936"/>
            </a:xfrm>
            <a:custGeom>
              <a:avLst/>
              <a:gdLst>
                <a:gd name="connsiteX0" fmla="*/ 8962 w 0"/>
                <a:gd name="connsiteY0" fmla="*/ 2987 h 0"/>
                <a:gd name="connsiteX1" fmla="*/ 4481 w 0"/>
                <a:gd name="connsiteY1" fmla="*/ 10456 h 0"/>
                <a:gd name="connsiteX2" fmla="*/ 0 w 0"/>
                <a:gd name="connsiteY2" fmla="*/ 7468 h 0"/>
                <a:gd name="connsiteX3" fmla="*/ 4481 w 0"/>
                <a:gd name="connsiteY3" fmla="*/ 0 h 0"/>
                <a:gd name="connsiteX4" fmla="*/ 8962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2987"/>
                  </a:moveTo>
                  <a:cubicBezTo>
                    <a:pt x="8962" y="5975"/>
                    <a:pt x="7468" y="8962"/>
                    <a:pt x="4481" y="10456"/>
                  </a:cubicBezTo>
                  <a:cubicBezTo>
                    <a:pt x="1494" y="11949"/>
                    <a:pt x="0" y="10456"/>
                    <a:pt x="0" y="7468"/>
                  </a:cubicBezTo>
                  <a:cubicBezTo>
                    <a:pt x="0" y="4481"/>
                    <a:pt x="1494" y="1494"/>
                    <a:pt x="4481" y="0"/>
                  </a:cubicBezTo>
                  <a:cubicBezTo>
                    <a:pt x="7468" y="0"/>
                    <a:pt x="8962" y="1494"/>
                    <a:pt x="8962" y="2987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7" name="任意多边形: 形状 10076"/>
            <p:cNvSpPr/>
            <p:nvPr/>
          </p:nvSpPr>
          <p:spPr>
            <a:xfrm>
              <a:off x="5805335" y="5369088"/>
              <a:ext cx="14936" cy="14936"/>
            </a:xfrm>
            <a:custGeom>
              <a:avLst/>
              <a:gdLst>
                <a:gd name="connsiteX0" fmla="*/ 8962 w 0"/>
                <a:gd name="connsiteY0" fmla="*/ 3573 h 0"/>
                <a:gd name="connsiteX1" fmla="*/ 4481 w 0"/>
                <a:gd name="connsiteY1" fmla="*/ 11041 h 0"/>
                <a:gd name="connsiteX2" fmla="*/ 0 w 0"/>
                <a:gd name="connsiteY2" fmla="*/ 8054 h 0"/>
                <a:gd name="connsiteX3" fmla="*/ 4481 w 0"/>
                <a:gd name="connsiteY3" fmla="*/ 586 h 0"/>
                <a:gd name="connsiteX4" fmla="*/ 8962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3573"/>
                  </a:moveTo>
                  <a:cubicBezTo>
                    <a:pt x="8962" y="6560"/>
                    <a:pt x="7468" y="9547"/>
                    <a:pt x="4481" y="11041"/>
                  </a:cubicBezTo>
                  <a:cubicBezTo>
                    <a:pt x="1493" y="12535"/>
                    <a:pt x="0" y="11041"/>
                    <a:pt x="0" y="8054"/>
                  </a:cubicBezTo>
                  <a:cubicBezTo>
                    <a:pt x="0" y="5067"/>
                    <a:pt x="1493" y="2079"/>
                    <a:pt x="4481" y="586"/>
                  </a:cubicBezTo>
                  <a:cubicBezTo>
                    <a:pt x="7468" y="-908"/>
                    <a:pt x="8962" y="586"/>
                    <a:pt x="8962" y="3573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8" name="任意多边形: 形状 10077"/>
            <p:cNvSpPr/>
            <p:nvPr/>
          </p:nvSpPr>
          <p:spPr>
            <a:xfrm>
              <a:off x="5811310" y="5429420"/>
              <a:ext cx="14936" cy="14936"/>
            </a:xfrm>
            <a:custGeom>
              <a:avLst/>
              <a:gdLst>
                <a:gd name="connsiteX0" fmla="*/ 8962 w 0"/>
                <a:gd name="connsiteY0" fmla="*/ 2987 h 0"/>
                <a:gd name="connsiteX1" fmla="*/ 4481 w 0"/>
                <a:gd name="connsiteY1" fmla="*/ 10455 h 0"/>
                <a:gd name="connsiteX2" fmla="*/ 0 w 0"/>
                <a:gd name="connsiteY2" fmla="*/ 7468 h 0"/>
                <a:gd name="connsiteX3" fmla="*/ 4481 w 0"/>
                <a:gd name="connsiteY3" fmla="*/ 0 h 0"/>
                <a:gd name="connsiteX4" fmla="*/ 8962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2987"/>
                  </a:moveTo>
                  <a:cubicBezTo>
                    <a:pt x="8962" y="5974"/>
                    <a:pt x="7468" y="8961"/>
                    <a:pt x="4481" y="10455"/>
                  </a:cubicBezTo>
                  <a:cubicBezTo>
                    <a:pt x="1494" y="11949"/>
                    <a:pt x="0" y="10455"/>
                    <a:pt x="0" y="7468"/>
                  </a:cubicBezTo>
                  <a:cubicBezTo>
                    <a:pt x="0" y="4481"/>
                    <a:pt x="1494" y="1493"/>
                    <a:pt x="4481" y="0"/>
                  </a:cubicBezTo>
                  <a:cubicBezTo>
                    <a:pt x="5975" y="0"/>
                    <a:pt x="8962" y="1493"/>
                    <a:pt x="8962" y="2987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9" name="任意多边形: 形状 10078"/>
            <p:cNvSpPr/>
            <p:nvPr/>
          </p:nvSpPr>
          <p:spPr>
            <a:xfrm>
              <a:off x="5815791" y="5483190"/>
              <a:ext cx="14936" cy="14936"/>
            </a:xfrm>
            <a:custGeom>
              <a:avLst/>
              <a:gdLst>
                <a:gd name="connsiteX0" fmla="*/ 8962 w 0"/>
                <a:gd name="connsiteY0" fmla="*/ 2987 h 0"/>
                <a:gd name="connsiteX1" fmla="*/ 4481 w 0"/>
                <a:gd name="connsiteY1" fmla="*/ 10456 h 0"/>
                <a:gd name="connsiteX2" fmla="*/ 0 w 0"/>
                <a:gd name="connsiteY2" fmla="*/ 7468 h 0"/>
                <a:gd name="connsiteX3" fmla="*/ 4481 w 0"/>
                <a:gd name="connsiteY3" fmla="*/ 0 h 0"/>
                <a:gd name="connsiteX4" fmla="*/ 8962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2987"/>
                  </a:moveTo>
                  <a:cubicBezTo>
                    <a:pt x="8962" y="5975"/>
                    <a:pt x="7468" y="8962"/>
                    <a:pt x="4481" y="10456"/>
                  </a:cubicBezTo>
                  <a:cubicBezTo>
                    <a:pt x="1494" y="11949"/>
                    <a:pt x="0" y="10456"/>
                    <a:pt x="0" y="7468"/>
                  </a:cubicBezTo>
                  <a:cubicBezTo>
                    <a:pt x="0" y="4481"/>
                    <a:pt x="1494" y="1494"/>
                    <a:pt x="4481" y="0"/>
                  </a:cubicBezTo>
                  <a:cubicBezTo>
                    <a:pt x="5974" y="0"/>
                    <a:pt x="8962" y="0"/>
                    <a:pt x="8962" y="2987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0" name="任意多边形: 形状 10079"/>
            <p:cNvSpPr/>
            <p:nvPr/>
          </p:nvSpPr>
          <p:spPr>
            <a:xfrm>
              <a:off x="5772476" y="5439875"/>
              <a:ext cx="89618" cy="44809"/>
            </a:xfrm>
            <a:custGeom>
              <a:avLst/>
              <a:gdLst>
                <a:gd name="connsiteX0" fmla="*/ 35847 w 89618"/>
                <a:gd name="connsiteY0" fmla="*/ 52277 h 44809"/>
                <a:gd name="connsiteX1" fmla="*/ 47796 w 89618"/>
                <a:gd name="connsiteY1" fmla="*/ 53771 h 44809"/>
                <a:gd name="connsiteX2" fmla="*/ 55264 w 89618"/>
                <a:gd name="connsiteY2" fmla="*/ 50783 h 44809"/>
                <a:gd name="connsiteX3" fmla="*/ 74682 w 89618"/>
                <a:gd name="connsiteY3" fmla="*/ 41822 h 44809"/>
                <a:gd name="connsiteX4" fmla="*/ 80656 w 89618"/>
                <a:gd name="connsiteY4" fmla="*/ 38835 h 44809"/>
                <a:gd name="connsiteX5" fmla="*/ 89618 w 89618"/>
                <a:gd name="connsiteY5" fmla="*/ 28379 h 44809"/>
                <a:gd name="connsiteX6" fmla="*/ 89618 w 89618"/>
                <a:gd name="connsiteY6" fmla="*/ 23898 h 44809"/>
                <a:gd name="connsiteX7" fmla="*/ 88124 w 89618"/>
                <a:gd name="connsiteY7" fmla="*/ 22405 h 44809"/>
                <a:gd name="connsiteX8" fmla="*/ 77669 w 89618"/>
                <a:gd name="connsiteY8" fmla="*/ 22405 h 44809"/>
                <a:gd name="connsiteX9" fmla="*/ 56758 w 89618"/>
                <a:gd name="connsiteY9" fmla="*/ 20911 h 44809"/>
                <a:gd name="connsiteX10" fmla="*/ 37341 w 89618"/>
                <a:gd name="connsiteY10" fmla="*/ 14936 h 44809"/>
                <a:gd name="connsiteX11" fmla="*/ 52277 w 89618"/>
                <a:gd name="connsiteY11" fmla="*/ 16430 h 44809"/>
                <a:gd name="connsiteX12" fmla="*/ 64226 w 89618"/>
                <a:gd name="connsiteY12" fmla="*/ 7468 h 44809"/>
                <a:gd name="connsiteX13" fmla="*/ 64226 w 89618"/>
                <a:gd name="connsiteY13" fmla="*/ 5974 h 44809"/>
                <a:gd name="connsiteX14" fmla="*/ 64226 w 89618"/>
                <a:gd name="connsiteY14" fmla="*/ 4481 h 44809"/>
                <a:gd name="connsiteX15" fmla="*/ 56758 w 89618"/>
                <a:gd name="connsiteY15" fmla="*/ 1494 h 44809"/>
                <a:gd name="connsiteX16" fmla="*/ 50783 w 89618"/>
                <a:gd name="connsiteY16" fmla="*/ 2987 h 44809"/>
                <a:gd name="connsiteX17" fmla="*/ 43315 w 89618"/>
                <a:gd name="connsiteY17" fmla="*/ 1494 h 44809"/>
                <a:gd name="connsiteX18" fmla="*/ 10455 w 89618"/>
                <a:gd name="connsiteY18" fmla="*/ 5974 h 44809"/>
                <a:gd name="connsiteX19" fmla="*/ 5974 w 89618"/>
                <a:gd name="connsiteY19" fmla="*/ 8962 h 44809"/>
                <a:gd name="connsiteX20" fmla="*/ 0 w 89618"/>
                <a:gd name="connsiteY20" fmla="*/ 22405 h 44809"/>
                <a:gd name="connsiteX21" fmla="*/ 0 w 89618"/>
                <a:gd name="connsiteY21" fmla="*/ 25392 h 44809"/>
                <a:gd name="connsiteX22" fmla="*/ 1493 w 89618"/>
                <a:gd name="connsiteY22" fmla="*/ 28379 h 44809"/>
                <a:gd name="connsiteX23" fmla="*/ 16430 w 89618"/>
                <a:gd name="connsiteY23" fmla="*/ 43315 h 44809"/>
                <a:gd name="connsiteX24" fmla="*/ 35847 w 89618"/>
                <a:gd name="connsiteY24" fmla="*/ 52277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9618" h="44809">
                  <a:moveTo>
                    <a:pt x="35847" y="52277"/>
                  </a:moveTo>
                  <a:cubicBezTo>
                    <a:pt x="40328" y="53771"/>
                    <a:pt x="43315" y="53771"/>
                    <a:pt x="47796" y="53771"/>
                  </a:cubicBezTo>
                  <a:cubicBezTo>
                    <a:pt x="50783" y="53771"/>
                    <a:pt x="53771" y="52277"/>
                    <a:pt x="55264" y="50783"/>
                  </a:cubicBezTo>
                  <a:cubicBezTo>
                    <a:pt x="61239" y="47796"/>
                    <a:pt x="68707" y="44809"/>
                    <a:pt x="74682" y="41822"/>
                  </a:cubicBezTo>
                  <a:cubicBezTo>
                    <a:pt x="76175" y="40328"/>
                    <a:pt x="79162" y="40328"/>
                    <a:pt x="80656" y="38835"/>
                  </a:cubicBezTo>
                  <a:cubicBezTo>
                    <a:pt x="85137" y="35847"/>
                    <a:pt x="88124" y="32860"/>
                    <a:pt x="89618" y="28379"/>
                  </a:cubicBezTo>
                  <a:cubicBezTo>
                    <a:pt x="89618" y="26886"/>
                    <a:pt x="91112" y="25392"/>
                    <a:pt x="89618" y="23898"/>
                  </a:cubicBezTo>
                  <a:cubicBezTo>
                    <a:pt x="89618" y="23898"/>
                    <a:pt x="88124" y="22405"/>
                    <a:pt x="88124" y="22405"/>
                  </a:cubicBezTo>
                  <a:cubicBezTo>
                    <a:pt x="85137" y="20911"/>
                    <a:pt x="80656" y="20911"/>
                    <a:pt x="77669" y="22405"/>
                  </a:cubicBezTo>
                  <a:cubicBezTo>
                    <a:pt x="70201" y="23898"/>
                    <a:pt x="64226" y="22405"/>
                    <a:pt x="56758" y="20911"/>
                  </a:cubicBezTo>
                  <a:cubicBezTo>
                    <a:pt x="50783" y="19418"/>
                    <a:pt x="43315" y="16430"/>
                    <a:pt x="37341" y="14936"/>
                  </a:cubicBezTo>
                  <a:cubicBezTo>
                    <a:pt x="41822" y="16430"/>
                    <a:pt x="47796" y="17924"/>
                    <a:pt x="52277" y="16430"/>
                  </a:cubicBezTo>
                  <a:cubicBezTo>
                    <a:pt x="56758" y="16430"/>
                    <a:pt x="62733" y="13443"/>
                    <a:pt x="64226" y="7468"/>
                  </a:cubicBezTo>
                  <a:cubicBezTo>
                    <a:pt x="64226" y="7468"/>
                    <a:pt x="64226" y="5974"/>
                    <a:pt x="64226" y="5974"/>
                  </a:cubicBezTo>
                  <a:cubicBezTo>
                    <a:pt x="64226" y="5974"/>
                    <a:pt x="64226" y="5974"/>
                    <a:pt x="64226" y="4481"/>
                  </a:cubicBezTo>
                  <a:cubicBezTo>
                    <a:pt x="62733" y="2987"/>
                    <a:pt x="59745" y="1494"/>
                    <a:pt x="56758" y="1494"/>
                  </a:cubicBezTo>
                  <a:cubicBezTo>
                    <a:pt x="55264" y="1494"/>
                    <a:pt x="52277" y="2987"/>
                    <a:pt x="50783" y="2987"/>
                  </a:cubicBezTo>
                  <a:cubicBezTo>
                    <a:pt x="47796" y="2987"/>
                    <a:pt x="44809" y="2987"/>
                    <a:pt x="43315" y="1494"/>
                  </a:cubicBezTo>
                  <a:cubicBezTo>
                    <a:pt x="32860" y="-1494"/>
                    <a:pt x="20911" y="0"/>
                    <a:pt x="10455" y="5974"/>
                  </a:cubicBezTo>
                  <a:cubicBezTo>
                    <a:pt x="8962" y="7468"/>
                    <a:pt x="7468" y="7468"/>
                    <a:pt x="5974" y="8962"/>
                  </a:cubicBezTo>
                  <a:cubicBezTo>
                    <a:pt x="2987" y="11949"/>
                    <a:pt x="0" y="17924"/>
                    <a:pt x="0" y="22405"/>
                  </a:cubicBezTo>
                  <a:cubicBezTo>
                    <a:pt x="0" y="23898"/>
                    <a:pt x="0" y="25392"/>
                    <a:pt x="0" y="25392"/>
                  </a:cubicBezTo>
                  <a:cubicBezTo>
                    <a:pt x="0" y="26886"/>
                    <a:pt x="0" y="26886"/>
                    <a:pt x="1493" y="28379"/>
                  </a:cubicBezTo>
                  <a:cubicBezTo>
                    <a:pt x="4481" y="34354"/>
                    <a:pt x="10455" y="40328"/>
                    <a:pt x="16430" y="43315"/>
                  </a:cubicBezTo>
                  <a:cubicBezTo>
                    <a:pt x="22405" y="47796"/>
                    <a:pt x="29873" y="50783"/>
                    <a:pt x="35847" y="52277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1" name="任意多边形: 形状 10080"/>
            <p:cNvSpPr/>
            <p:nvPr/>
          </p:nvSpPr>
          <p:spPr>
            <a:xfrm>
              <a:off x="5796374" y="5415977"/>
              <a:ext cx="179236" cy="59745"/>
            </a:xfrm>
            <a:custGeom>
              <a:avLst/>
              <a:gdLst>
                <a:gd name="connsiteX0" fmla="*/ 2987 w 179236"/>
                <a:gd name="connsiteY0" fmla="*/ 28379 h 59745"/>
                <a:gd name="connsiteX1" fmla="*/ 32860 w 179236"/>
                <a:gd name="connsiteY1" fmla="*/ 46303 h 59745"/>
                <a:gd name="connsiteX2" fmla="*/ 32860 w 179236"/>
                <a:gd name="connsiteY2" fmla="*/ 46303 h 59745"/>
                <a:gd name="connsiteX3" fmla="*/ 56758 w 179236"/>
                <a:gd name="connsiteY3" fmla="*/ 59745 h 59745"/>
                <a:gd name="connsiteX4" fmla="*/ 56758 w 179236"/>
                <a:gd name="connsiteY4" fmla="*/ 59745 h 59745"/>
                <a:gd name="connsiteX5" fmla="*/ 68707 w 179236"/>
                <a:gd name="connsiteY5" fmla="*/ 67214 h 59745"/>
                <a:gd name="connsiteX6" fmla="*/ 77669 w 179236"/>
                <a:gd name="connsiteY6" fmla="*/ 67214 h 59745"/>
                <a:gd name="connsiteX7" fmla="*/ 189692 w 179236"/>
                <a:gd name="connsiteY7" fmla="*/ 2987 h 59745"/>
                <a:gd name="connsiteX8" fmla="*/ 191185 w 179236"/>
                <a:gd name="connsiteY8" fmla="*/ 0 h 59745"/>
                <a:gd name="connsiteX9" fmla="*/ 191185 w 179236"/>
                <a:gd name="connsiteY9" fmla="*/ 4481 h 59745"/>
                <a:gd name="connsiteX10" fmla="*/ 191185 w 179236"/>
                <a:gd name="connsiteY10" fmla="*/ 4481 h 59745"/>
                <a:gd name="connsiteX11" fmla="*/ 191185 w 179236"/>
                <a:gd name="connsiteY11" fmla="*/ 4481 h 59745"/>
                <a:gd name="connsiteX12" fmla="*/ 191185 w 179236"/>
                <a:gd name="connsiteY12" fmla="*/ 4481 h 59745"/>
                <a:gd name="connsiteX13" fmla="*/ 189692 w 179236"/>
                <a:gd name="connsiteY13" fmla="*/ 7468 h 59745"/>
                <a:gd name="connsiteX14" fmla="*/ 112023 w 179236"/>
                <a:gd name="connsiteY14" fmla="*/ 52277 h 59745"/>
                <a:gd name="connsiteX15" fmla="*/ 112023 w 179236"/>
                <a:gd name="connsiteY15" fmla="*/ 50784 h 59745"/>
                <a:gd name="connsiteX16" fmla="*/ 112023 w 179236"/>
                <a:gd name="connsiteY16" fmla="*/ 50784 h 59745"/>
                <a:gd name="connsiteX17" fmla="*/ 112023 w 179236"/>
                <a:gd name="connsiteY17" fmla="*/ 50784 h 59745"/>
                <a:gd name="connsiteX18" fmla="*/ 112023 w 179236"/>
                <a:gd name="connsiteY18" fmla="*/ 50784 h 59745"/>
                <a:gd name="connsiteX19" fmla="*/ 110529 w 179236"/>
                <a:gd name="connsiteY19" fmla="*/ 50784 h 59745"/>
                <a:gd name="connsiteX20" fmla="*/ 110529 w 179236"/>
                <a:gd name="connsiteY20" fmla="*/ 50784 h 59745"/>
                <a:gd name="connsiteX21" fmla="*/ 109035 w 179236"/>
                <a:gd name="connsiteY21" fmla="*/ 50784 h 59745"/>
                <a:gd name="connsiteX22" fmla="*/ 100073 w 179236"/>
                <a:gd name="connsiteY22" fmla="*/ 56758 h 59745"/>
                <a:gd name="connsiteX23" fmla="*/ 98580 w 179236"/>
                <a:gd name="connsiteY23" fmla="*/ 58252 h 59745"/>
                <a:gd name="connsiteX24" fmla="*/ 98580 w 179236"/>
                <a:gd name="connsiteY24" fmla="*/ 58252 h 59745"/>
                <a:gd name="connsiteX25" fmla="*/ 98580 w 179236"/>
                <a:gd name="connsiteY25" fmla="*/ 58252 h 59745"/>
                <a:gd name="connsiteX26" fmla="*/ 98580 w 179236"/>
                <a:gd name="connsiteY26" fmla="*/ 58252 h 59745"/>
                <a:gd name="connsiteX27" fmla="*/ 100073 w 179236"/>
                <a:gd name="connsiteY27" fmla="*/ 58252 h 59745"/>
                <a:gd name="connsiteX28" fmla="*/ 100073 w 179236"/>
                <a:gd name="connsiteY28" fmla="*/ 58252 h 59745"/>
                <a:gd name="connsiteX29" fmla="*/ 100073 w 179236"/>
                <a:gd name="connsiteY29" fmla="*/ 58252 h 59745"/>
                <a:gd name="connsiteX30" fmla="*/ 97086 w 179236"/>
                <a:gd name="connsiteY30" fmla="*/ 59745 h 59745"/>
                <a:gd name="connsiteX31" fmla="*/ 97086 w 179236"/>
                <a:gd name="connsiteY31" fmla="*/ 58252 h 59745"/>
                <a:gd name="connsiteX32" fmla="*/ 97086 w 179236"/>
                <a:gd name="connsiteY32" fmla="*/ 58252 h 59745"/>
                <a:gd name="connsiteX33" fmla="*/ 97086 w 179236"/>
                <a:gd name="connsiteY33" fmla="*/ 58252 h 59745"/>
                <a:gd name="connsiteX34" fmla="*/ 97086 w 179236"/>
                <a:gd name="connsiteY34" fmla="*/ 58252 h 59745"/>
                <a:gd name="connsiteX35" fmla="*/ 97086 w 179236"/>
                <a:gd name="connsiteY35" fmla="*/ 58252 h 59745"/>
                <a:gd name="connsiteX36" fmla="*/ 97086 w 179236"/>
                <a:gd name="connsiteY36" fmla="*/ 58252 h 59745"/>
                <a:gd name="connsiteX37" fmla="*/ 95593 w 179236"/>
                <a:gd name="connsiteY37" fmla="*/ 58252 h 59745"/>
                <a:gd name="connsiteX38" fmla="*/ 94099 w 179236"/>
                <a:gd name="connsiteY38" fmla="*/ 58252 h 59745"/>
                <a:gd name="connsiteX39" fmla="*/ 86631 w 179236"/>
                <a:gd name="connsiteY39" fmla="*/ 62733 h 59745"/>
                <a:gd name="connsiteX40" fmla="*/ 85137 w 179236"/>
                <a:gd name="connsiteY40" fmla="*/ 64227 h 59745"/>
                <a:gd name="connsiteX41" fmla="*/ 85137 w 179236"/>
                <a:gd name="connsiteY41" fmla="*/ 64227 h 59745"/>
                <a:gd name="connsiteX42" fmla="*/ 85137 w 179236"/>
                <a:gd name="connsiteY42" fmla="*/ 64227 h 59745"/>
                <a:gd name="connsiteX43" fmla="*/ 86631 w 179236"/>
                <a:gd name="connsiteY43" fmla="*/ 64227 h 59745"/>
                <a:gd name="connsiteX44" fmla="*/ 86631 w 179236"/>
                <a:gd name="connsiteY44" fmla="*/ 64227 h 59745"/>
                <a:gd name="connsiteX45" fmla="*/ 86631 w 179236"/>
                <a:gd name="connsiteY45" fmla="*/ 64227 h 59745"/>
                <a:gd name="connsiteX46" fmla="*/ 76175 w 179236"/>
                <a:gd name="connsiteY46" fmla="*/ 70201 h 59745"/>
                <a:gd name="connsiteX47" fmla="*/ 67214 w 179236"/>
                <a:gd name="connsiteY47" fmla="*/ 70201 h 59745"/>
                <a:gd name="connsiteX48" fmla="*/ 49290 w 179236"/>
                <a:gd name="connsiteY48" fmla="*/ 59745 h 59745"/>
                <a:gd name="connsiteX49" fmla="*/ 31366 w 179236"/>
                <a:gd name="connsiteY49" fmla="*/ 49290 h 59745"/>
                <a:gd name="connsiteX50" fmla="*/ 1494 w 179236"/>
                <a:gd name="connsiteY50" fmla="*/ 31366 h 59745"/>
                <a:gd name="connsiteX51" fmla="*/ 0 w 179236"/>
                <a:gd name="connsiteY51" fmla="*/ 28379 h 59745"/>
                <a:gd name="connsiteX52" fmla="*/ 0 w 179236"/>
                <a:gd name="connsiteY52" fmla="*/ 28379 h 59745"/>
                <a:gd name="connsiteX53" fmla="*/ 0 w 179236"/>
                <a:gd name="connsiteY53" fmla="*/ 28379 h 59745"/>
                <a:gd name="connsiteX54" fmla="*/ 0 w 179236"/>
                <a:gd name="connsiteY54" fmla="*/ 28379 h 59745"/>
                <a:gd name="connsiteX55" fmla="*/ 0 w 179236"/>
                <a:gd name="connsiteY55" fmla="*/ 23898 h 59745"/>
                <a:gd name="connsiteX56" fmla="*/ 2987 w 179236"/>
                <a:gd name="connsiteY56" fmla="*/ 28379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79236" h="59745">
                  <a:moveTo>
                    <a:pt x="2987" y="28379"/>
                  </a:moveTo>
                  <a:lnTo>
                    <a:pt x="32860" y="46303"/>
                  </a:lnTo>
                  <a:lnTo>
                    <a:pt x="32860" y="46303"/>
                  </a:lnTo>
                  <a:lnTo>
                    <a:pt x="56758" y="59745"/>
                  </a:lnTo>
                  <a:lnTo>
                    <a:pt x="56758" y="59745"/>
                  </a:lnTo>
                  <a:lnTo>
                    <a:pt x="68707" y="67214"/>
                  </a:lnTo>
                  <a:cubicBezTo>
                    <a:pt x="71694" y="68707"/>
                    <a:pt x="74682" y="68707"/>
                    <a:pt x="77669" y="67214"/>
                  </a:cubicBezTo>
                  <a:lnTo>
                    <a:pt x="189692" y="2987"/>
                  </a:lnTo>
                  <a:cubicBezTo>
                    <a:pt x="191185" y="2987"/>
                    <a:pt x="191185" y="1494"/>
                    <a:pt x="191185" y="0"/>
                  </a:cubicBezTo>
                  <a:lnTo>
                    <a:pt x="191185" y="4481"/>
                  </a:lnTo>
                  <a:lnTo>
                    <a:pt x="191185" y="4481"/>
                  </a:lnTo>
                  <a:lnTo>
                    <a:pt x="191185" y="4481"/>
                  </a:lnTo>
                  <a:lnTo>
                    <a:pt x="191185" y="4481"/>
                  </a:lnTo>
                  <a:cubicBezTo>
                    <a:pt x="191185" y="5975"/>
                    <a:pt x="191185" y="5975"/>
                    <a:pt x="189692" y="7468"/>
                  </a:cubicBezTo>
                  <a:lnTo>
                    <a:pt x="112023" y="52277"/>
                  </a:lnTo>
                  <a:cubicBezTo>
                    <a:pt x="112023" y="52277"/>
                    <a:pt x="112023" y="50784"/>
                    <a:pt x="112023" y="50784"/>
                  </a:cubicBezTo>
                  <a:lnTo>
                    <a:pt x="112023" y="50784"/>
                  </a:lnTo>
                  <a:cubicBezTo>
                    <a:pt x="112023" y="50784"/>
                    <a:pt x="112023" y="50784"/>
                    <a:pt x="112023" y="50784"/>
                  </a:cubicBezTo>
                  <a:lnTo>
                    <a:pt x="112023" y="50784"/>
                  </a:lnTo>
                  <a:lnTo>
                    <a:pt x="110529" y="50784"/>
                  </a:lnTo>
                  <a:lnTo>
                    <a:pt x="110529" y="50784"/>
                  </a:lnTo>
                  <a:cubicBezTo>
                    <a:pt x="110529" y="50784"/>
                    <a:pt x="110529" y="50784"/>
                    <a:pt x="109035" y="50784"/>
                  </a:cubicBezTo>
                  <a:lnTo>
                    <a:pt x="100073" y="56758"/>
                  </a:lnTo>
                  <a:cubicBezTo>
                    <a:pt x="100073" y="56758"/>
                    <a:pt x="98580" y="58252"/>
                    <a:pt x="98580" y="58252"/>
                  </a:cubicBezTo>
                  <a:lnTo>
                    <a:pt x="98580" y="58252"/>
                  </a:lnTo>
                  <a:cubicBezTo>
                    <a:pt x="98580" y="58252"/>
                    <a:pt x="98580" y="58252"/>
                    <a:pt x="98580" y="58252"/>
                  </a:cubicBezTo>
                  <a:lnTo>
                    <a:pt x="98580" y="58252"/>
                  </a:lnTo>
                  <a:lnTo>
                    <a:pt x="100073" y="58252"/>
                  </a:lnTo>
                  <a:lnTo>
                    <a:pt x="100073" y="58252"/>
                  </a:lnTo>
                  <a:cubicBezTo>
                    <a:pt x="100073" y="58252"/>
                    <a:pt x="100073" y="58252"/>
                    <a:pt x="100073" y="58252"/>
                  </a:cubicBezTo>
                  <a:lnTo>
                    <a:pt x="97086" y="59745"/>
                  </a:lnTo>
                  <a:cubicBezTo>
                    <a:pt x="97086" y="59745"/>
                    <a:pt x="97086" y="58252"/>
                    <a:pt x="97086" y="58252"/>
                  </a:cubicBezTo>
                  <a:lnTo>
                    <a:pt x="97086" y="58252"/>
                  </a:lnTo>
                  <a:cubicBezTo>
                    <a:pt x="97086" y="58252"/>
                    <a:pt x="97086" y="58252"/>
                    <a:pt x="97086" y="58252"/>
                  </a:cubicBezTo>
                  <a:lnTo>
                    <a:pt x="97086" y="58252"/>
                  </a:lnTo>
                  <a:lnTo>
                    <a:pt x="97086" y="58252"/>
                  </a:lnTo>
                  <a:lnTo>
                    <a:pt x="97086" y="58252"/>
                  </a:lnTo>
                  <a:lnTo>
                    <a:pt x="95593" y="58252"/>
                  </a:lnTo>
                  <a:cubicBezTo>
                    <a:pt x="95593" y="58252"/>
                    <a:pt x="95593" y="58252"/>
                    <a:pt x="94099" y="58252"/>
                  </a:cubicBezTo>
                  <a:lnTo>
                    <a:pt x="86631" y="62733"/>
                  </a:lnTo>
                  <a:cubicBezTo>
                    <a:pt x="86631" y="62733"/>
                    <a:pt x="85137" y="64227"/>
                    <a:pt x="85137" y="64227"/>
                  </a:cubicBezTo>
                  <a:lnTo>
                    <a:pt x="85137" y="64227"/>
                  </a:lnTo>
                  <a:cubicBezTo>
                    <a:pt x="85137" y="64227"/>
                    <a:pt x="85137" y="64227"/>
                    <a:pt x="85137" y="64227"/>
                  </a:cubicBezTo>
                  <a:lnTo>
                    <a:pt x="86631" y="64227"/>
                  </a:lnTo>
                  <a:lnTo>
                    <a:pt x="86631" y="64227"/>
                  </a:lnTo>
                  <a:cubicBezTo>
                    <a:pt x="86631" y="64227"/>
                    <a:pt x="86631" y="64227"/>
                    <a:pt x="86631" y="64227"/>
                  </a:cubicBezTo>
                  <a:lnTo>
                    <a:pt x="76175" y="70201"/>
                  </a:lnTo>
                  <a:cubicBezTo>
                    <a:pt x="73188" y="71695"/>
                    <a:pt x="70201" y="71695"/>
                    <a:pt x="67214" y="70201"/>
                  </a:cubicBezTo>
                  <a:lnTo>
                    <a:pt x="49290" y="59745"/>
                  </a:lnTo>
                  <a:lnTo>
                    <a:pt x="31366" y="49290"/>
                  </a:lnTo>
                  <a:lnTo>
                    <a:pt x="1494" y="31366"/>
                  </a:lnTo>
                  <a:cubicBezTo>
                    <a:pt x="0" y="31366"/>
                    <a:pt x="0" y="29873"/>
                    <a:pt x="0" y="28379"/>
                  </a:cubicBezTo>
                  <a:lnTo>
                    <a:pt x="0" y="28379"/>
                  </a:lnTo>
                  <a:lnTo>
                    <a:pt x="0" y="28379"/>
                  </a:lnTo>
                  <a:lnTo>
                    <a:pt x="0" y="28379"/>
                  </a:lnTo>
                  <a:lnTo>
                    <a:pt x="0" y="23898"/>
                  </a:lnTo>
                  <a:cubicBezTo>
                    <a:pt x="1494" y="26886"/>
                    <a:pt x="1494" y="26886"/>
                    <a:pt x="2987" y="28379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2" name="任意多边形: 形状 10081"/>
            <p:cNvSpPr/>
            <p:nvPr/>
          </p:nvSpPr>
          <p:spPr>
            <a:xfrm>
              <a:off x="5987559" y="5415977"/>
              <a:ext cx="14936" cy="14936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3" name="任意多边形: 形状 10082"/>
            <p:cNvSpPr/>
            <p:nvPr/>
          </p:nvSpPr>
          <p:spPr>
            <a:xfrm>
              <a:off x="5797867" y="5441369"/>
              <a:ext cx="14936" cy="14936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4" name="任意多边形: 形状 10083"/>
            <p:cNvSpPr/>
            <p:nvPr/>
          </p:nvSpPr>
          <p:spPr>
            <a:xfrm>
              <a:off x="5796374" y="5373035"/>
              <a:ext cx="179236" cy="104554"/>
            </a:xfrm>
            <a:custGeom>
              <a:avLst/>
              <a:gdLst>
                <a:gd name="connsiteX0" fmla="*/ 122478 w 179236"/>
                <a:gd name="connsiteY0" fmla="*/ 1120 h 104554"/>
                <a:gd name="connsiteX1" fmla="*/ 113516 w 179236"/>
                <a:gd name="connsiteY1" fmla="*/ 1120 h 104554"/>
                <a:gd name="connsiteX2" fmla="*/ 1494 w 179236"/>
                <a:gd name="connsiteY2" fmla="*/ 65346 h 104554"/>
                <a:gd name="connsiteX3" fmla="*/ 0 w 179236"/>
                <a:gd name="connsiteY3" fmla="*/ 68334 h 104554"/>
                <a:gd name="connsiteX4" fmla="*/ 0 w 179236"/>
                <a:gd name="connsiteY4" fmla="*/ 68334 h 104554"/>
                <a:gd name="connsiteX5" fmla="*/ 0 w 179236"/>
                <a:gd name="connsiteY5" fmla="*/ 68334 h 104554"/>
                <a:gd name="connsiteX6" fmla="*/ 1494 w 179236"/>
                <a:gd name="connsiteY6" fmla="*/ 71321 h 104554"/>
                <a:gd name="connsiteX7" fmla="*/ 31366 w 179236"/>
                <a:gd name="connsiteY7" fmla="*/ 89245 h 104554"/>
                <a:gd name="connsiteX8" fmla="*/ 32860 w 179236"/>
                <a:gd name="connsiteY8" fmla="*/ 89245 h 104554"/>
                <a:gd name="connsiteX9" fmla="*/ 41822 w 179236"/>
                <a:gd name="connsiteY9" fmla="*/ 89245 h 104554"/>
                <a:gd name="connsiteX10" fmla="*/ 56758 w 179236"/>
                <a:gd name="connsiteY10" fmla="*/ 98207 h 104554"/>
                <a:gd name="connsiteX11" fmla="*/ 56758 w 179236"/>
                <a:gd name="connsiteY11" fmla="*/ 102687 h 104554"/>
                <a:gd name="connsiteX12" fmla="*/ 55264 w 179236"/>
                <a:gd name="connsiteY12" fmla="*/ 102687 h 104554"/>
                <a:gd name="connsiteX13" fmla="*/ 67214 w 179236"/>
                <a:gd name="connsiteY13" fmla="*/ 110155 h 104554"/>
                <a:gd name="connsiteX14" fmla="*/ 76175 w 179236"/>
                <a:gd name="connsiteY14" fmla="*/ 110155 h 104554"/>
                <a:gd name="connsiteX15" fmla="*/ 188198 w 179236"/>
                <a:gd name="connsiteY15" fmla="*/ 45929 h 104554"/>
                <a:gd name="connsiteX16" fmla="*/ 189692 w 179236"/>
                <a:gd name="connsiteY16" fmla="*/ 42942 h 104554"/>
                <a:gd name="connsiteX17" fmla="*/ 189692 w 179236"/>
                <a:gd name="connsiteY17" fmla="*/ 42942 h 104554"/>
                <a:gd name="connsiteX18" fmla="*/ 189692 w 179236"/>
                <a:gd name="connsiteY18" fmla="*/ 42942 h 104554"/>
                <a:gd name="connsiteX19" fmla="*/ 188198 w 179236"/>
                <a:gd name="connsiteY19" fmla="*/ 39955 h 104554"/>
                <a:gd name="connsiteX20" fmla="*/ 161313 w 179236"/>
                <a:gd name="connsiteY20" fmla="*/ 25019 h 104554"/>
                <a:gd name="connsiteX21" fmla="*/ 176249 w 179236"/>
                <a:gd name="connsiteY21" fmla="*/ 33980 h 104554"/>
                <a:gd name="connsiteX22" fmla="*/ 174755 w 179236"/>
                <a:gd name="connsiteY22" fmla="*/ 33980 h 104554"/>
                <a:gd name="connsiteX23" fmla="*/ 165794 w 179236"/>
                <a:gd name="connsiteY23" fmla="*/ 33980 h 104554"/>
                <a:gd name="connsiteX24" fmla="*/ 150857 w 179236"/>
                <a:gd name="connsiteY24" fmla="*/ 25019 h 104554"/>
                <a:gd name="connsiteX25" fmla="*/ 150857 w 179236"/>
                <a:gd name="connsiteY25" fmla="*/ 20537 h 104554"/>
                <a:gd name="connsiteX26" fmla="*/ 152351 w 179236"/>
                <a:gd name="connsiteY26" fmla="*/ 20537 h 104554"/>
                <a:gd name="connsiteX27" fmla="*/ 122478 w 179236"/>
                <a:gd name="connsiteY27" fmla="*/ 1120 h 104554"/>
                <a:gd name="connsiteX28" fmla="*/ 128453 w 179236"/>
                <a:gd name="connsiteY28" fmla="*/ 75802 h 104554"/>
                <a:gd name="connsiteX29" fmla="*/ 128453 w 179236"/>
                <a:gd name="connsiteY29" fmla="*/ 74308 h 104554"/>
                <a:gd name="connsiteX30" fmla="*/ 131440 w 179236"/>
                <a:gd name="connsiteY30" fmla="*/ 74308 h 104554"/>
                <a:gd name="connsiteX31" fmla="*/ 131440 w 179236"/>
                <a:gd name="connsiteY31" fmla="*/ 75802 h 104554"/>
                <a:gd name="connsiteX32" fmla="*/ 128453 w 179236"/>
                <a:gd name="connsiteY32" fmla="*/ 75802 h 104554"/>
                <a:gd name="connsiteX33" fmla="*/ 73188 w 179236"/>
                <a:gd name="connsiteY33" fmla="*/ 101194 h 104554"/>
                <a:gd name="connsiteX34" fmla="*/ 17924 w 179236"/>
                <a:gd name="connsiteY34" fmla="*/ 68334 h 104554"/>
                <a:gd name="connsiteX35" fmla="*/ 17924 w 179236"/>
                <a:gd name="connsiteY35" fmla="*/ 65346 h 104554"/>
                <a:gd name="connsiteX36" fmla="*/ 115010 w 179236"/>
                <a:gd name="connsiteY36" fmla="*/ 10082 h 104554"/>
                <a:gd name="connsiteX37" fmla="*/ 120984 w 179236"/>
                <a:gd name="connsiteY37" fmla="*/ 10082 h 104554"/>
                <a:gd name="connsiteX38" fmla="*/ 176249 w 179236"/>
                <a:gd name="connsiteY38" fmla="*/ 42942 h 104554"/>
                <a:gd name="connsiteX39" fmla="*/ 176249 w 179236"/>
                <a:gd name="connsiteY39" fmla="*/ 45929 h 104554"/>
                <a:gd name="connsiteX40" fmla="*/ 79163 w 179236"/>
                <a:gd name="connsiteY40" fmla="*/ 101194 h 104554"/>
                <a:gd name="connsiteX41" fmla="*/ 73188 w 179236"/>
                <a:gd name="connsiteY41" fmla="*/ 101194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79236" h="104554">
                  <a:moveTo>
                    <a:pt x="122478" y="1120"/>
                  </a:moveTo>
                  <a:cubicBezTo>
                    <a:pt x="119491" y="-373"/>
                    <a:pt x="116504" y="-373"/>
                    <a:pt x="113516" y="1120"/>
                  </a:cubicBezTo>
                  <a:lnTo>
                    <a:pt x="1494" y="65346"/>
                  </a:lnTo>
                  <a:cubicBezTo>
                    <a:pt x="0" y="65346"/>
                    <a:pt x="0" y="66840"/>
                    <a:pt x="0" y="68334"/>
                  </a:cubicBezTo>
                  <a:cubicBezTo>
                    <a:pt x="0" y="68334"/>
                    <a:pt x="0" y="68334"/>
                    <a:pt x="0" y="68334"/>
                  </a:cubicBezTo>
                  <a:cubicBezTo>
                    <a:pt x="0" y="68334"/>
                    <a:pt x="0" y="68334"/>
                    <a:pt x="0" y="68334"/>
                  </a:cubicBezTo>
                  <a:cubicBezTo>
                    <a:pt x="0" y="69828"/>
                    <a:pt x="0" y="69828"/>
                    <a:pt x="1494" y="71321"/>
                  </a:cubicBezTo>
                  <a:lnTo>
                    <a:pt x="31366" y="89245"/>
                  </a:lnTo>
                  <a:lnTo>
                    <a:pt x="32860" y="89245"/>
                  </a:lnTo>
                  <a:cubicBezTo>
                    <a:pt x="35847" y="87751"/>
                    <a:pt x="38835" y="87751"/>
                    <a:pt x="41822" y="89245"/>
                  </a:cubicBezTo>
                  <a:lnTo>
                    <a:pt x="56758" y="98207"/>
                  </a:lnTo>
                  <a:cubicBezTo>
                    <a:pt x="59745" y="99700"/>
                    <a:pt x="59745" y="101194"/>
                    <a:pt x="56758" y="102687"/>
                  </a:cubicBezTo>
                  <a:lnTo>
                    <a:pt x="55264" y="102687"/>
                  </a:lnTo>
                  <a:lnTo>
                    <a:pt x="67214" y="110155"/>
                  </a:lnTo>
                  <a:cubicBezTo>
                    <a:pt x="70201" y="111649"/>
                    <a:pt x="73188" y="111649"/>
                    <a:pt x="76175" y="110155"/>
                  </a:cubicBezTo>
                  <a:lnTo>
                    <a:pt x="188198" y="45929"/>
                  </a:lnTo>
                  <a:cubicBezTo>
                    <a:pt x="189692" y="45929"/>
                    <a:pt x="189692" y="44436"/>
                    <a:pt x="189692" y="42942"/>
                  </a:cubicBezTo>
                  <a:cubicBezTo>
                    <a:pt x="189692" y="42942"/>
                    <a:pt x="189692" y="42942"/>
                    <a:pt x="189692" y="42942"/>
                  </a:cubicBezTo>
                  <a:cubicBezTo>
                    <a:pt x="189692" y="42942"/>
                    <a:pt x="189692" y="42942"/>
                    <a:pt x="189692" y="42942"/>
                  </a:cubicBezTo>
                  <a:cubicBezTo>
                    <a:pt x="189692" y="41449"/>
                    <a:pt x="189692" y="41449"/>
                    <a:pt x="188198" y="39955"/>
                  </a:cubicBezTo>
                  <a:lnTo>
                    <a:pt x="161313" y="25019"/>
                  </a:lnTo>
                  <a:lnTo>
                    <a:pt x="176249" y="33980"/>
                  </a:lnTo>
                  <a:lnTo>
                    <a:pt x="174755" y="33980"/>
                  </a:lnTo>
                  <a:cubicBezTo>
                    <a:pt x="171768" y="35474"/>
                    <a:pt x="168781" y="35474"/>
                    <a:pt x="165794" y="33980"/>
                  </a:cubicBezTo>
                  <a:lnTo>
                    <a:pt x="150857" y="25019"/>
                  </a:lnTo>
                  <a:cubicBezTo>
                    <a:pt x="147870" y="23525"/>
                    <a:pt x="147870" y="22031"/>
                    <a:pt x="150857" y="20537"/>
                  </a:cubicBezTo>
                  <a:lnTo>
                    <a:pt x="152351" y="20537"/>
                  </a:lnTo>
                  <a:lnTo>
                    <a:pt x="122478" y="1120"/>
                  </a:lnTo>
                  <a:close/>
                  <a:moveTo>
                    <a:pt x="128453" y="75802"/>
                  </a:moveTo>
                  <a:cubicBezTo>
                    <a:pt x="126959" y="75802"/>
                    <a:pt x="126959" y="74308"/>
                    <a:pt x="128453" y="74308"/>
                  </a:cubicBezTo>
                  <a:cubicBezTo>
                    <a:pt x="129946" y="74308"/>
                    <a:pt x="131440" y="74308"/>
                    <a:pt x="131440" y="74308"/>
                  </a:cubicBezTo>
                  <a:cubicBezTo>
                    <a:pt x="132934" y="74308"/>
                    <a:pt x="132934" y="75802"/>
                    <a:pt x="131440" y="75802"/>
                  </a:cubicBezTo>
                  <a:cubicBezTo>
                    <a:pt x="131440" y="77296"/>
                    <a:pt x="129946" y="77296"/>
                    <a:pt x="128453" y="75802"/>
                  </a:cubicBezTo>
                  <a:close/>
                  <a:moveTo>
                    <a:pt x="73188" y="101194"/>
                  </a:moveTo>
                  <a:lnTo>
                    <a:pt x="17924" y="68334"/>
                  </a:lnTo>
                  <a:cubicBezTo>
                    <a:pt x="16430" y="66840"/>
                    <a:pt x="16430" y="65346"/>
                    <a:pt x="17924" y="65346"/>
                  </a:cubicBezTo>
                  <a:lnTo>
                    <a:pt x="115010" y="10082"/>
                  </a:lnTo>
                  <a:cubicBezTo>
                    <a:pt x="116504" y="8588"/>
                    <a:pt x="119491" y="8588"/>
                    <a:pt x="120984" y="10082"/>
                  </a:cubicBezTo>
                  <a:lnTo>
                    <a:pt x="176249" y="42942"/>
                  </a:lnTo>
                  <a:cubicBezTo>
                    <a:pt x="177743" y="44436"/>
                    <a:pt x="177743" y="45929"/>
                    <a:pt x="176249" y="45929"/>
                  </a:cubicBezTo>
                  <a:lnTo>
                    <a:pt x="79163" y="101194"/>
                  </a:lnTo>
                  <a:cubicBezTo>
                    <a:pt x="77669" y="102687"/>
                    <a:pt x="74682" y="102687"/>
                    <a:pt x="73188" y="101194"/>
                  </a:cubicBezTo>
                  <a:close/>
                </a:path>
              </a:pathLst>
            </a:custGeom>
            <a:solidFill>
              <a:srgbClr val="706F6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5" name="任意多边形: 形状 10084"/>
            <p:cNvSpPr/>
            <p:nvPr/>
          </p:nvSpPr>
          <p:spPr>
            <a:xfrm>
              <a:off x="5811683" y="5381997"/>
              <a:ext cx="149363" cy="89618"/>
            </a:xfrm>
            <a:custGeom>
              <a:avLst/>
              <a:gdLst>
                <a:gd name="connsiteX0" fmla="*/ 1120 w 149363"/>
                <a:gd name="connsiteY0" fmla="*/ 59372 h 89618"/>
                <a:gd name="connsiteX1" fmla="*/ 56385 w 149363"/>
                <a:gd name="connsiteY1" fmla="*/ 92232 h 89618"/>
                <a:gd name="connsiteX2" fmla="*/ 62359 w 149363"/>
                <a:gd name="connsiteY2" fmla="*/ 92232 h 89618"/>
                <a:gd name="connsiteX3" fmla="*/ 159445 w 149363"/>
                <a:gd name="connsiteY3" fmla="*/ 36967 h 89618"/>
                <a:gd name="connsiteX4" fmla="*/ 159445 w 149363"/>
                <a:gd name="connsiteY4" fmla="*/ 33980 h 89618"/>
                <a:gd name="connsiteX5" fmla="*/ 104181 w 149363"/>
                <a:gd name="connsiteY5" fmla="*/ 1120 h 89618"/>
                <a:gd name="connsiteX6" fmla="*/ 98207 w 149363"/>
                <a:gd name="connsiteY6" fmla="*/ 1120 h 89618"/>
                <a:gd name="connsiteX7" fmla="*/ 1120 w 149363"/>
                <a:gd name="connsiteY7" fmla="*/ 56384 h 89618"/>
                <a:gd name="connsiteX8" fmla="*/ 1120 w 149363"/>
                <a:gd name="connsiteY8" fmla="*/ 59372 h 89618"/>
                <a:gd name="connsiteX9" fmla="*/ 59372 w 149363"/>
                <a:gd name="connsiteY9" fmla="*/ 35474 h 89618"/>
                <a:gd name="connsiteX10" fmla="*/ 62359 w 149363"/>
                <a:gd name="connsiteY10" fmla="*/ 36967 h 89618"/>
                <a:gd name="connsiteX11" fmla="*/ 68334 w 149363"/>
                <a:gd name="connsiteY11" fmla="*/ 39955 h 89618"/>
                <a:gd name="connsiteX12" fmla="*/ 78789 w 149363"/>
                <a:gd name="connsiteY12" fmla="*/ 45929 h 89618"/>
                <a:gd name="connsiteX13" fmla="*/ 60866 w 149363"/>
                <a:gd name="connsiteY13" fmla="*/ 56384 h 89618"/>
                <a:gd name="connsiteX14" fmla="*/ 50410 w 149363"/>
                <a:gd name="connsiteY14" fmla="*/ 50410 h 89618"/>
                <a:gd name="connsiteX15" fmla="*/ 44436 w 149363"/>
                <a:gd name="connsiteY15" fmla="*/ 47423 h 89618"/>
                <a:gd name="connsiteX16" fmla="*/ 41448 w 149363"/>
                <a:gd name="connsiteY16" fmla="*/ 45929 h 89618"/>
                <a:gd name="connsiteX17" fmla="*/ 59372 w 149363"/>
                <a:gd name="connsiteY17" fmla="*/ 35474 h 89618"/>
                <a:gd name="connsiteX18" fmla="*/ 63853 w 149363"/>
                <a:gd name="connsiteY18" fmla="*/ 57878 h 89618"/>
                <a:gd name="connsiteX19" fmla="*/ 83270 w 149363"/>
                <a:gd name="connsiteY19" fmla="*/ 47423 h 89618"/>
                <a:gd name="connsiteX20" fmla="*/ 101194 w 149363"/>
                <a:gd name="connsiteY20" fmla="*/ 36967 h 89618"/>
                <a:gd name="connsiteX21" fmla="*/ 101194 w 149363"/>
                <a:gd name="connsiteY21" fmla="*/ 36967 h 89618"/>
                <a:gd name="connsiteX22" fmla="*/ 102687 w 149363"/>
                <a:gd name="connsiteY22" fmla="*/ 35474 h 89618"/>
                <a:gd name="connsiteX23" fmla="*/ 117624 w 149363"/>
                <a:gd name="connsiteY23" fmla="*/ 26512 h 89618"/>
                <a:gd name="connsiteX24" fmla="*/ 119117 w 149363"/>
                <a:gd name="connsiteY24" fmla="*/ 25019 h 89618"/>
                <a:gd name="connsiteX25" fmla="*/ 128079 w 149363"/>
                <a:gd name="connsiteY25" fmla="*/ 30993 h 89618"/>
                <a:gd name="connsiteX26" fmla="*/ 126585 w 149363"/>
                <a:gd name="connsiteY26" fmla="*/ 32487 h 89618"/>
                <a:gd name="connsiteX27" fmla="*/ 111649 w 149363"/>
                <a:gd name="connsiteY27" fmla="*/ 41448 h 89618"/>
                <a:gd name="connsiteX28" fmla="*/ 74308 w 149363"/>
                <a:gd name="connsiteY28" fmla="*/ 63853 h 89618"/>
                <a:gd name="connsiteX29" fmla="*/ 63853 w 149363"/>
                <a:gd name="connsiteY29" fmla="*/ 57878 h 89618"/>
                <a:gd name="connsiteX30" fmla="*/ 108662 w 149363"/>
                <a:gd name="connsiteY30" fmla="*/ 19044 h 89618"/>
                <a:gd name="connsiteX31" fmla="*/ 117624 w 149363"/>
                <a:gd name="connsiteY31" fmla="*/ 25019 h 89618"/>
                <a:gd name="connsiteX32" fmla="*/ 99700 w 149363"/>
                <a:gd name="connsiteY32" fmla="*/ 35474 h 89618"/>
                <a:gd name="connsiteX33" fmla="*/ 80283 w 149363"/>
                <a:gd name="connsiteY33" fmla="*/ 45929 h 89618"/>
                <a:gd name="connsiteX34" fmla="*/ 69827 w 149363"/>
                <a:gd name="connsiteY34" fmla="*/ 39955 h 89618"/>
                <a:gd name="connsiteX35" fmla="*/ 60866 w 149363"/>
                <a:gd name="connsiteY35" fmla="*/ 33980 h 89618"/>
                <a:gd name="connsiteX36" fmla="*/ 78789 w 149363"/>
                <a:gd name="connsiteY36" fmla="*/ 23525 h 89618"/>
                <a:gd name="connsiteX37" fmla="*/ 80283 w 149363"/>
                <a:gd name="connsiteY37" fmla="*/ 22031 h 89618"/>
                <a:gd name="connsiteX38" fmla="*/ 98207 w 149363"/>
                <a:gd name="connsiteY38" fmla="*/ 11575 h 89618"/>
                <a:gd name="connsiteX39" fmla="*/ 108662 w 149363"/>
                <a:gd name="connsiteY39" fmla="*/ 19044 h 89618"/>
                <a:gd name="connsiteX40" fmla="*/ 108662 w 149363"/>
                <a:gd name="connsiteY40" fmla="*/ 19044 h 89618"/>
                <a:gd name="connsiteX41" fmla="*/ 120611 w 149363"/>
                <a:gd name="connsiteY41" fmla="*/ 47423 h 89618"/>
                <a:gd name="connsiteX42" fmla="*/ 111649 w 149363"/>
                <a:gd name="connsiteY42" fmla="*/ 41448 h 89618"/>
                <a:gd name="connsiteX43" fmla="*/ 129573 w 149363"/>
                <a:gd name="connsiteY43" fmla="*/ 30993 h 89618"/>
                <a:gd name="connsiteX44" fmla="*/ 138535 w 149363"/>
                <a:gd name="connsiteY44" fmla="*/ 36967 h 89618"/>
                <a:gd name="connsiteX45" fmla="*/ 120611 w 149363"/>
                <a:gd name="connsiteY45" fmla="*/ 47423 h 89618"/>
                <a:gd name="connsiteX46" fmla="*/ 102687 w 149363"/>
                <a:gd name="connsiteY46" fmla="*/ 57878 h 89618"/>
                <a:gd name="connsiteX47" fmla="*/ 93726 w 149363"/>
                <a:gd name="connsiteY47" fmla="*/ 51904 h 89618"/>
                <a:gd name="connsiteX48" fmla="*/ 111649 w 149363"/>
                <a:gd name="connsiteY48" fmla="*/ 41448 h 89618"/>
                <a:gd name="connsiteX49" fmla="*/ 120611 w 149363"/>
                <a:gd name="connsiteY49" fmla="*/ 47423 h 89618"/>
                <a:gd name="connsiteX50" fmla="*/ 102687 w 149363"/>
                <a:gd name="connsiteY50" fmla="*/ 57878 h 89618"/>
                <a:gd name="connsiteX51" fmla="*/ 83270 w 149363"/>
                <a:gd name="connsiteY51" fmla="*/ 68334 h 89618"/>
                <a:gd name="connsiteX52" fmla="*/ 74308 w 149363"/>
                <a:gd name="connsiteY52" fmla="*/ 62359 h 89618"/>
                <a:gd name="connsiteX53" fmla="*/ 92232 w 149363"/>
                <a:gd name="connsiteY53" fmla="*/ 51904 h 89618"/>
                <a:gd name="connsiteX54" fmla="*/ 101194 w 149363"/>
                <a:gd name="connsiteY54" fmla="*/ 57878 h 89618"/>
                <a:gd name="connsiteX55" fmla="*/ 83270 w 149363"/>
                <a:gd name="connsiteY55" fmla="*/ 68334 h 89618"/>
                <a:gd name="connsiteX56" fmla="*/ 44436 w 149363"/>
                <a:gd name="connsiteY56" fmla="*/ 48916 h 89618"/>
                <a:gd name="connsiteX57" fmla="*/ 48917 w 149363"/>
                <a:gd name="connsiteY57" fmla="*/ 51904 h 89618"/>
                <a:gd name="connsiteX58" fmla="*/ 59372 w 149363"/>
                <a:gd name="connsiteY58" fmla="*/ 57878 h 89618"/>
                <a:gd name="connsiteX59" fmla="*/ 41448 w 149363"/>
                <a:gd name="connsiteY59" fmla="*/ 68334 h 89618"/>
                <a:gd name="connsiteX60" fmla="*/ 30993 w 149363"/>
                <a:gd name="connsiteY60" fmla="*/ 62359 h 89618"/>
                <a:gd name="connsiteX61" fmla="*/ 26512 w 149363"/>
                <a:gd name="connsiteY61" fmla="*/ 59372 h 89618"/>
                <a:gd name="connsiteX62" fmla="*/ 22031 w 149363"/>
                <a:gd name="connsiteY62" fmla="*/ 56384 h 89618"/>
                <a:gd name="connsiteX63" fmla="*/ 39955 w 149363"/>
                <a:gd name="connsiteY63" fmla="*/ 45929 h 89618"/>
                <a:gd name="connsiteX64" fmla="*/ 44436 w 149363"/>
                <a:gd name="connsiteY64" fmla="*/ 48916 h 89618"/>
                <a:gd name="connsiteX65" fmla="*/ 62359 w 149363"/>
                <a:gd name="connsiteY65" fmla="*/ 57878 h 89618"/>
                <a:gd name="connsiteX66" fmla="*/ 71321 w 149363"/>
                <a:gd name="connsiteY66" fmla="*/ 63853 h 89618"/>
                <a:gd name="connsiteX67" fmla="*/ 53397 w 149363"/>
                <a:gd name="connsiteY67" fmla="*/ 74308 h 89618"/>
                <a:gd name="connsiteX68" fmla="*/ 44436 w 149363"/>
                <a:gd name="connsiteY68" fmla="*/ 68334 h 89618"/>
                <a:gd name="connsiteX69" fmla="*/ 62359 w 149363"/>
                <a:gd name="connsiteY69" fmla="*/ 57878 h 89618"/>
                <a:gd name="connsiteX70" fmla="*/ 63853 w 149363"/>
                <a:gd name="connsiteY70" fmla="*/ 80283 h 89618"/>
                <a:gd name="connsiteX71" fmla="*/ 54891 w 149363"/>
                <a:gd name="connsiteY71" fmla="*/ 74308 h 89618"/>
                <a:gd name="connsiteX72" fmla="*/ 72815 w 149363"/>
                <a:gd name="connsiteY72" fmla="*/ 63853 h 89618"/>
                <a:gd name="connsiteX73" fmla="*/ 81776 w 149363"/>
                <a:gd name="connsiteY73" fmla="*/ 69828 h 89618"/>
                <a:gd name="connsiteX74" fmla="*/ 63853 w 149363"/>
                <a:gd name="connsiteY74" fmla="*/ 80283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149363" h="89618">
                  <a:moveTo>
                    <a:pt x="1120" y="59372"/>
                  </a:moveTo>
                  <a:lnTo>
                    <a:pt x="56385" y="92232"/>
                  </a:lnTo>
                  <a:cubicBezTo>
                    <a:pt x="57878" y="93725"/>
                    <a:pt x="60866" y="93725"/>
                    <a:pt x="62359" y="92232"/>
                  </a:cubicBezTo>
                  <a:lnTo>
                    <a:pt x="159445" y="36967"/>
                  </a:lnTo>
                  <a:cubicBezTo>
                    <a:pt x="160939" y="35474"/>
                    <a:pt x="160939" y="33980"/>
                    <a:pt x="159445" y="33980"/>
                  </a:cubicBezTo>
                  <a:lnTo>
                    <a:pt x="104181" y="1120"/>
                  </a:lnTo>
                  <a:cubicBezTo>
                    <a:pt x="102687" y="-373"/>
                    <a:pt x="99700" y="-373"/>
                    <a:pt x="98207" y="1120"/>
                  </a:cubicBezTo>
                  <a:lnTo>
                    <a:pt x="1120" y="56384"/>
                  </a:lnTo>
                  <a:cubicBezTo>
                    <a:pt x="-373" y="57878"/>
                    <a:pt x="-373" y="59372"/>
                    <a:pt x="1120" y="59372"/>
                  </a:cubicBezTo>
                  <a:close/>
                  <a:moveTo>
                    <a:pt x="59372" y="35474"/>
                  </a:moveTo>
                  <a:lnTo>
                    <a:pt x="62359" y="36967"/>
                  </a:lnTo>
                  <a:lnTo>
                    <a:pt x="68334" y="39955"/>
                  </a:lnTo>
                  <a:lnTo>
                    <a:pt x="78789" y="45929"/>
                  </a:lnTo>
                  <a:lnTo>
                    <a:pt x="60866" y="56384"/>
                  </a:lnTo>
                  <a:lnTo>
                    <a:pt x="50410" y="50410"/>
                  </a:lnTo>
                  <a:lnTo>
                    <a:pt x="44436" y="47423"/>
                  </a:lnTo>
                  <a:lnTo>
                    <a:pt x="41448" y="45929"/>
                  </a:lnTo>
                  <a:lnTo>
                    <a:pt x="59372" y="35474"/>
                  </a:lnTo>
                  <a:close/>
                  <a:moveTo>
                    <a:pt x="63853" y="57878"/>
                  </a:moveTo>
                  <a:lnTo>
                    <a:pt x="83270" y="47423"/>
                  </a:lnTo>
                  <a:lnTo>
                    <a:pt x="101194" y="36967"/>
                  </a:lnTo>
                  <a:lnTo>
                    <a:pt x="101194" y="36967"/>
                  </a:lnTo>
                  <a:lnTo>
                    <a:pt x="102687" y="35474"/>
                  </a:lnTo>
                  <a:lnTo>
                    <a:pt x="117624" y="26512"/>
                  </a:lnTo>
                  <a:lnTo>
                    <a:pt x="119117" y="25019"/>
                  </a:lnTo>
                  <a:lnTo>
                    <a:pt x="128079" y="30993"/>
                  </a:lnTo>
                  <a:lnTo>
                    <a:pt x="126585" y="32487"/>
                  </a:lnTo>
                  <a:lnTo>
                    <a:pt x="111649" y="41448"/>
                  </a:lnTo>
                  <a:lnTo>
                    <a:pt x="74308" y="63853"/>
                  </a:lnTo>
                  <a:lnTo>
                    <a:pt x="63853" y="57878"/>
                  </a:lnTo>
                  <a:close/>
                  <a:moveTo>
                    <a:pt x="108662" y="19044"/>
                  </a:moveTo>
                  <a:lnTo>
                    <a:pt x="117624" y="25019"/>
                  </a:lnTo>
                  <a:lnTo>
                    <a:pt x="99700" y="35474"/>
                  </a:lnTo>
                  <a:lnTo>
                    <a:pt x="80283" y="45929"/>
                  </a:lnTo>
                  <a:lnTo>
                    <a:pt x="69827" y="39955"/>
                  </a:lnTo>
                  <a:lnTo>
                    <a:pt x="60866" y="33980"/>
                  </a:lnTo>
                  <a:lnTo>
                    <a:pt x="78789" y="23525"/>
                  </a:lnTo>
                  <a:lnTo>
                    <a:pt x="80283" y="22031"/>
                  </a:lnTo>
                  <a:lnTo>
                    <a:pt x="98207" y="11575"/>
                  </a:lnTo>
                  <a:lnTo>
                    <a:pt x="108662" y="19044"/>
                  </a:lnTo>
                  <a:lnTo>
                    <a:pt x="108662" y="19044"/>
                  </a:lnTo>
                  <a:close/>
                  <a:moveTo>
                    <a:pt x="120611" y="47423"/>
                  </a:moveTo>
                  <a:lnTo>
                    <a:pt x="111649" y="41448"/>
                  </a:lnTo>
                  <a:lnTo>
                    <a:pt x="129573" y="30993"/>
                  </a:lnTo>
                  <a:lnTo>
                    <a:pt x="138535" y="36967"/>
                  </a:lnTo>
                  <a:lnTo>
                    <a:pt x="120611" y="47423"/>
                  </a:lnTo>
                  <a:close/>
                  <a:moveTo>
                    <a:pt x="102687" y="57878"/>
                  </a:moveTo>
                  <a:lnTo>
                    <a:pt x="93726" y="51904"/>
                  </a:lnTo>
                  <a:lnTo>
                    <a:pt x="111649" y="41448"/>
                  </a:lnTo>
                  <a:lnTo>
                    <a:pt x="120611" y="47423"/>
                  </a:lnTo>
                  <a:lnTo>
                    <a:pt x="102687" y="57878"/>
                  </a:lnTo>
                  <a:close/>
                  <a:moveTo>
                    <a:pt x="83270" y="68334"/>
                  </a:moveTo>
                  <a:lnTo>
                    <a:pt x="74308" y="62359"/>
                  </a:lnTo>
                  <a:lnTo>
                    <a:pt x="92232" y="51904"/>
                  </a:lnTo>
                  <a:lnTo>
                    <a:pt x="101194" y="57878"/>
                  </a:lnTo>
                  <a:lnTo>
                    <a:pt x="83270" y="68334"/>
                  </a:lnTo>
                  <a:close/>
                  <a:moveTo>
                    <a:pt x="44436" y="48916"/>
                  </a:moveTo>
                  <a:lnTo>
                    <a:pt x="48917" y="51904"/>
                  </a:lnTo>
                  <a:lnTo>
                    <a:pt x="59372" y="57878"/>
                  </a:lnTo>
                  <a:lnTo>
                    <a:pt x="41448" y="68334"/>
                  </a:lnTo>
                  <a:lnTo>
                    <a:pt x="30993" y="62359"/>
                  </a:lnTo>
                  <a:lnTo>
                    <a:pt x="26512" y="59372"/>
                  </a:lnTo>
                  <a:lnTo>
                    <a:pt x="22031" y="56384"/>
                  </a:lnTo>
                  <a:lnTo>
                    <a:pt x="39955" y="45929"/>
                  </a:lnTo>
                  <a:lnTo>
                    <a:pt x="44436" y="48916"/>
                  </a:lnTo>
                  <a:close/>
                  <a:moveTo>
                    <a:pt x="62359" y="57878"/>
                  </a:moveTo>
                  <a:lnTo>
                    <a:pt x="71321" y="63853"/>
                  </a:lnTo>
                  <a:lnTo>
                    <a:pt x="53397" y="74308"/>
                  </a:lnTo>
                  <a:lnTo>
                    <a:pt x="44436" y="68334"/>
                  </a:lnTo>
                  <a:lnTo>
                    <a:pt x="62359" y="57878"/>
                  </a:lnTo>
                  <a:close/>
                  <a:moveTo>
                    <a:pt x="63853" y="80283"/>
                  </a:moveTo>
                  <a:lnTo>
                    <a:pt x="54891" y="74308"/>
                  </a:lnTo>
                  <a:lnTo>
                    <a:pt x="72815" y="63853"/>
                  </a:lnTo>
                  <a:lnTo>
                    <a:pt x="81776" y="69828"/>
                  </a:lnTo>
                  <a:lnTo>
                    <a:pt x="63853" y="80283"/>
                  </a:lnTo>
                  <a:close/>
                </a:path>
              </a:pathLst>
            </a:custGeom>
            <a:solidFill>
              <a:srgbClr val="00A19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6" name="任意多边形: 形状 10085"/>
            <p:cNvSpPr/>
            <p:nvPr/>
          </p:nvSpPr>
          <p:spPr>
            <a:xfrm>
              <a:off x="5924826" y="5447343"/>
              <a:ext cx="14936" cy="14936"/>
            </a:xfrm>
            <a:custGeom>
              <a:avLst/>
              <a:gdLst>
                <a:gd name="connsiteX0" fmla="*/ 0 w 0"/>
                <a:gd name="connsiteY0" fmla="*/ 0 h 0"/>
                <a:gd name="connsiteX1" fmla="*/ 2987 w 0"/>
                <a:gd name="connsiteY1" fmla="*/ 0 h 0"/>
                <a:gd name="connsiteX2" fmla="*/ 2987 w 0"/>
                <a:gd name="connsiteY2" fmla="*/ 1494 h 0"/>
                <a:gd name="connsiteX3" fmla="*/ 0 w 0"/>
                <a:gd name="connsiteY3" fmla="*/ 1494 h 0"/>
                <a:gd name="connsiteX4" fmla="*/ 0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1493" y="0"/>
                    <a:pt x="2987" y="0"/>
                    <a:pt x="2987" y="0"/>
                  </a:cubicBezTo>
                  <a:cubicBezTo>
                    <a:pt x="4481" y="0"/>
                    <a:pt x="4481" y="1494"/>
                    <a:pt x="2987" y="1494"/>
                  </a:cubicBezTo>
                  <a:cubicBezTo>
                    <a:pt x="1493" y="1494"/>
                    <a:pt x="0" y="1494"/>
                    <a:pt x="0" y="1494"/>
                  </a:cubicBezTo>
                  <a:cubicBezTo>
                    <a:pt x="0" y="149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7" name="任意多边形: 形状 10086"/>
            <p:cNvSpPr/>
            <p:nvPr/>
          </p:nvSpPr>
          <p:spPr>
            <a:xfrm>
              <a:off x="5829233" y="5461159"/>
              <a:ext cx="14936" cy="14936"/>
            </a:xfrm>
            <a:custGeom>
              <a:avLst/>
              <a:gdLst>
                <a:gd name="connsiteX0" fmla="*/ 0 w 14936"/>
                <a:gd name="connsiteY0" fmla="*/ 1120 h 0"/>
                <a:gd name="connsiteX1" fmla="*/ 0 w 14936"/>
                <a:gd name="connsiteY1" fmla="*/ 1120 h 0"/>
                <a:gd name="connsiteX2" fmla="*/ 0 w 14936"/>
                <a:gd name="connsiteY2" fmla="*/ 1120 h 0"/>
                <a:gd name="connsiteX3" fmla="*/ 8962 w 14936"/>
                <a:gd name="connsiteY3" fmla="*/ 1120 h 0"/>
                <a:gd name="connsiteX4" fmla="*/ 23898 w 14936"/>
                <a:gd name="connsiteY4" fmla="*/ 10082 h 0"/>
                <a:gd name="connsiteX5" fmla="*/ 23898 w 14936"/>
                <a:gd name="connsiteY5" fmla="*/ 14563 h 0"/>
                <a:gd name="connsiteX6" fmla="*/ 22405 w 14936"/>
                <a:gd name="connsiteY6" fmla="*/ 14563 h 0"/>
                <a:gd name="connsiteX7" fmla="*/ 22405 w 14936"/>
                <a:gd name="connsiteY7" fmla="*/ 14563 h 0"/>
                <a:gd name="connsiteX8" fmla="*/ 0 w 14936"/>
                <a:gd name="connsiteY8" fmla="*/ 11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36">
                  <a:moveTo>
                    <a:pt x="0" y="1120"/>
                  </a:moveTo>
                  <a:lnTo>
                    <a:pt x="0" y="1120"/>
                  </a:lnTo>
                  <a:lnTo>
                    <a:pt x="0" y="1120"/>
                  </a:lnTo>
                  <a:cubicBezTo>
                    <a:pt x="2987" y="-373"/>
                    <a:pt x="7468" y="-373"/>
                    <a:pt x="8962" y="1120"/>
                  </a:cubicBezTo>
                  <a:lnTo>
                    <a:pt x="23898" y="10082"/>
                  </a:lnTo>
                  <a:cubicBezTo>
                    <a:pt x="26885" y="11576"/>
                    <a:pt x="26885" y="13070"/>
                    <a:pt x="23898" y="14563"/>
                  </a:cubicBezTo>
                  <a:lnTo>
                    <a:pt x="22405" y="14563"/>
                  </a:lnTo>
                  <a:lnTo>
                    <a:pt x="22405" y="14563"/>
                  </a:lnTo>
                  <a:lnTo>
                    <a:pt x="0" y="1120"/>
                  </a:ln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8" name="任意多边形: 形状 10087"/>
            <p:cNvSpPr/>
            <p:nvPr/>
          </p:nvSpPr>
          <p:spPr>
            <a:xfrm>
              <a:off x="5946484" y="5393572"/>
              <a:ext cx="14936" cy="14936"/>
            </a:xfrm>
            <a:custGeom>
              <a:avLst/>
              <a:gdLst>
                <a:gd name="connsiteX0" fmla="*/ 26139 w 14936"/>
                <a:gd name="connsiteY0" fmla="*/ 13443 h 0"/>
                <a:gd name="connsiteX1" fmla="*/ 17177 w 14936"/>
                <a:gd name="connsiteY1" fmla="*/ 13443 h 0"/>
                <a:gd name="connsiteX2" fmla="*/ 2240 w 14936"/>
                <a:gd name="connsiteY2" fmla="*/ 4481 h 0"/>
                <a:gd name="connsiteX3" fmla="*/ 2240 w 14936"/>
                <a:gd name="connsiteY3" fmla="*/ 0 h 0"/>
                <a:gd name="connsiteX4" fmla="*/ 3734 w 14936"/>
                <a:gd name="connsiteY4" fmla="*/ 0 h 0"/>
                <a:gd name="connsiteX5" fmla="*/ 3734 w 14936"/>
                <a:gd name="connsiteY5" fmla="*/ 0 h 0"/>
                <a:gd name="connsiteX6" fmla="*/ 12696 w 14936"/>
                <a:gd name="connsiteY6" fmla="*/ 4481 h 0"/>
                <a:gd name="connsiteX7" fmla="*/ 26139 w 14936"/>
                <a:gd name="connsiteY7" fmla="*/ 13443 h 0"/>
                <a:gd name="connsiteX8" fmla="*/ 26139 w 14936"/>
                <a:gd name="connsiteY8" fmla="*/ 13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36">
                  <a:moveTo>
                    <a:pt x="26139" y="13443"/>
                  </a:moveTo>
                  <a:cubicBezTo>
                    <a:pt x="23151" y="14936"/>
                    <a:pt x="20164" y="14936"/>
                    <a:pt x="17177" y="13443"/>
                  </a:cubicBezTo>
                  <a:lnTo>
                    <a:pt x="2240" y="4481"/>
                  </a:lnTo>
                  <a:cubicBezTo>
                    <a:pt x="-747" y="2987"/>
                    <a:pt x="-747" y="1494"/>
                    <a:pt x="2240" y="0"/>
                  </a:cubicBezTo>
                  <a:lnTo>
                    <a:pt x="3734" y="0"/>
                  </a:lnTo>
                  <a:lnTo>
                    <a:pt x="3734" y="0"/>
                  </a:lnTo>
                  <a:lnTo>
                    <a:pt x="12696" y="4481"/>
                  </a:lnTo>
                  <a:lnTo>
                    <a:pt x="26139" y="13443"/>
                  </a:lnTo>
                  <a:lnTo>
                    <a:pt x="26139" y="13443"/>
                  </a:ln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9" name="任意多边形: 形状 10088"/>
            <p:cNvSpPr/>
            <p:nvPr/>
          </p:nvSpPr>
          <p:spPr>
            <a:xfrm>
              <a:off x="5866574" y="5445849"/>
              <a:ext cx="14936" cy="14936"/>
            </a:xfrm>
            <a:custGeom>
              <a:avLst/>
              <a:gdLst>
                <a:gd name="connsiteX0" fmla="*/ 17924 w 14936"/>
                <a:gd name="connsiteY0" fmla="*/ 0 h 14936"/>
                <a:gd name="connsiteX1" fmla="*/ 26885 w 14936"/>
                <a:gd name="connsiteY1" fmla="*/ 5975 h 14936"/>
                <a:gd name="connsiteX2" fmla="*/ 8962 w 14936"/>
                <a:gd name="connsiteY2" fmla="*/ 16430 h 14936"/>
                <a:gd name="connsiteX3" fmla="*/ 0 w 14936"/>
                <a:gd name="connsiteY3" fmla="*/ 1045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7924" y="0"/>
                  </a:moveTo>
                  <a:lnTo>
                    <a:pt x="26885" y="5975"/>
                  </a:lnTo>
                  <a:lnTo>
                    <a:pt x="8962" y="16430"/>
                  </a:lnTo>
                  <a:lnTo>
                    <a:pt x="0" y="10456"/>
                  </a:lnTo>
                  <a:close/>
                </a:path>
              </a:pathLst>
            </a:custGeom>
            <a:solidFill>
              <a:srgbClr val="E96B5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0" name="任意多边形: 形状 10089"/>
            <p:cNvSpPr/>
            <p:nvPr/>
          </p:nvSpPr>
          <p:spPr>
            <a:xfrm>
              <a:off x="5885992" y="5435394"/>
              <a:ext cx="14936" cy="14936"/>
            </a:xfrm>
            <a:custGeom>
              <a:avLst/>
              <a:gdLst>
                <a:gd name="connsiteX0" fmla="*/ 17924 w 14936"/>
                <a:gd name="connsiteY0" fmla="*/ 0 h 14936"/>
                <a:gd name="connsiteX1" fmla="*/ 26885 w 14936"/>
                <a:gd name="connsiteY1" fmla="*/ 5974 h 14936"/>
                <a:gd name="connsiteX2" fmla="*/ 8962 w 14936"/>
                <a:gd name="connsiteY2" fmla="*/ 14936 h 14936"/>
                <a:gd name="connsiteX3" fmla="*/ 0 w 14936"/>
                <a:gd name="connsiteY3" fmla="*/ 10455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7924" y="0"/>
                  </a:moveTo>
                  <a:lnTo>
                    <a:pt x="26885" y="5974"/>
                  </a:lnTo>
                  <a:lnTo>
                    <a:pt x="8962" y="14936"/>
                  </a:lnTo>
                  <a:lnTo>
                    <a:pt x="0" y="10455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1" name="任意多边形: 形状 10090"/>
            <p:cNvSpPr/>
            <p:nvPr/>
          </p:nvSpPr>
          <p:spPr>
            <a:xfrm>
              <a:off x="5903915" y="5424939"/>
              <a:ext cx="14936" cy="14936"/>
            </a:xfrm>
            <a:custGeom>
              <a:avLst/>
              <a:gdLst>
                <a:gd name="connsiteX0" fmla="*/ 17924 w 14936"/>
                <a:gd name="connsiteY0" fmla="*/ 0 h 14936"/>
                <a:gd name="connsiteX1" fmla="*/ 26885 w 14936"/>
                <a:gd name="connsiteY1" fmla="*/ 4481 h 14936"/>
                <a:gd name="connsiteX2" fmla="*/ 10456 w 14936"/>
                <a:gd name="connsiteY2" fmla="*/ 14936 h 14936"/>
                <a:gd name="connsiteX3" fmla="*/ 0 w 14936"/>
                <a:gd name="connsiteY3" fmla="*/ 1045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7924" y="0"/>
                  </a:moveTo>
                  <a:lnTo>
                    <a:pt x="26885" y="4481"/>
                  </a:lnTo>
                  <a:lnTo>
                    <a:pt x="10456" y="14936"/>
                  </a:lnTo>
                  <a:lnTo>
                    <a:pt x="0" y="10456"/>
                  </a:lnTo>
                  <a:close/>
                </a:path>
              </a:pathLst>
            </a:custGeom>
            <a:solidFill>
              <a:srgbClr val="FCEA1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2" name="任意多边形: 形状 10091"/>
            <p:cNvSpPr/>
            <p:nvPr/>
          </p:nvSpPr>
          <p:spPr>
            <a:xfrm>
              <a:off x="5923332" y="5412990"/>
              <a:ext cx="14936" cy="14936"/>
            </a:xfrm>
            <a:custGeom>
              <a:avLst/>
              <a:gdLst>
                <a:gd name="connsiteX0" fmla="*/ 17924 w 14936"/>
                <a:gd name="connsiteY0" fmla="*/ 0 h 14936"/>
                <a:gd name="connsiteX1" fmla="*/ 26885 w 14936"/>
                <a:gd name="connsiteY1" fmla="*/ 5974 h 14936"/>
                <a:gd name="connsiteX2" fmla="*/ 8962 w 14936"/>
                <a:gd name="connsiteY2" fmla="*/ 16430 h 14936"/>
                <a:gd name="connsiteX3" fmla="*/ 0 w 14936"/>
                <a:gd name="connsiteY3" fmla="*/ 10455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7924" y="0"/>
                  </a:moveTo>
                  <a:lnTo>
                    <a:pt x="26885" y="5974"/>
                  </a:lnTo>
                  <a:lnTo>
                    <a:pt x="8962" y="16430"/>
                  </a:lnTo>
                  <a:lnTo>
                    <a:pt x="0" y="10455"/>
                  </a:lnTo>
                  <a:close/>
                </a:path>
              </a:pathLst>
            </a:custGeom>
            <a:solidFill>
              <a:srgbClr val="36A9E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3" name="任意多边形: 形状 10092"/>
            <p:cNvSpPr/>
            <p:nvPr/>
          </p:nvSpPr>
          <p:spPr>
            <a:xfrm>
              <a:off x="5856119" y="5439875"/>
              <a:ext cx="14936" cy="14936"/>
            </a:xfrm>
            <a:custGeom>
              <a:avLst/>
              <a:gdLst>
                <a:gd name="connsiteX0" fmla="*/ 8962 w 14936"/>
                <a:gd name="connsiteY0" fmla="*/ 16430 h 14936"/>
                <a:gd name="connsiteX1" fmla="*/ 0 w 14936"/>
                <a:gd name="connsiteY1" fmla="*/ 10456 h 14936"/>
                <a:gd name="connsiteX2" fmla="*/ 17924 w 14936"/>
                <a:gd name="connsiteY2" fmla="*/ 0 h 14936"/>
                <a:gd name="connsiteX3" fmla="*/ 26885 w 14936"/>
                <a:gd name="connsiteY3" fmla="*/ 5974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8962" y="16430"/>
                  </a:moveTo>
                  <a:lnTo>
                    <a:pt x="0" y="10456"/>
                  </a:lnTo>
                  <a:lnTo>
                    <a:pt x="17924" y="0"/>
                  </a:lnTo>
                  <a:lnTo>
                    <a:pt x="26885" y="5974"/>
                  </a:lnTo>
                  <a:close/>
                </a:path>
              </a:pathLst>
            </a:custGeom>
            <a:solidFill>
              <a:srgbClr val="36A9E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4" name="任意多边形: 形状 10093"/>
            <p:cNvSpPr/>
            <p:nvPr/>
          </p:nvSpPr>
          <p:spPr>
            <a:xfrm>
              <a:off x="5893460" y="5418964"/>
              <a:ext cx="14936" cy="14936"/>
            </a:xfrm>
            <a:custGeom>
              <a:avLst/>
              <a:gdLst>
                <a:gd name="connsiteX0" fmla="*/ 17924 w 14936"/>
                <a:gd name="connsiteY0" fmla="*/ 0 h 0"/>
                <a:gd name="connsiteX1" fmla="*/ 17924 w 14936"/>
                <a:gd name="connsiteY1" fmla="*/ 0 h 0"/>
                <a:gd name="connsiteX2" fmla="*/ 0 w 14936"/>
                <a:gd name="connsiteY2" fmla="*/ 896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36">
                  <a:moveTo>
                    <a:pt x="17924" y="0"/>
                  </a:moveTo>
                  <a:lnTo>
                    <a:pt x="17924" y="0"/>
                  </a:lnTo>
                  <a:lnTo>
                    <a:pt x="0" y="8962"/>
                  </a:lnTo>
                  <a:close/>
                </a:path>
              </a:pathLst>
            </a:custGeom>
            <a:solidFill>
              <a:srgbClr val="296AAE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5" name="任意多边形: 形状 10094"/>
            <p:cNvSpPr/>
            <p:nvPr/>
          </p:nvSpPr>
          <p:spPr>
            <a:xfrm>
              <a:off x="5875536" y="5407015"/>
              <a:ext cx="59745" cy="29873"/>
            </a:xfrm>
            <a:custGeom>
              <a:avLst/>
              <a:gdLst>
                <a:gd name="connsiteX0" fmla="*/ 17924 w 59745"/>
                <a:gd name="connsiteY0" fmla="*/ 20911 h 29872"/>
                <a:gd name="connsiteX1" fmla="*/ 35847 w 59745"/>
                <a:gd name="connsiteY1" fmla="*/ 11949 h 29872"/>
                <a:gd name="connsiteX2" fmla="*/ 37341 w 59745"/>
                <a:gd name="connsiteY2" fmla="*/ 10455 h 29872"/>
                <a:gd name="connsiteX3" fmla="*/ 52277 w 59745"/>
                <a:gd name="connsiteY3" fmla="*/ 1493 h 29872"/>
                <a:gd name="connsiteX4" fmla="*/ 55264 w 59745"/>
                <a:gd name="connsiteY4" fmla="*/ 0 h 29872"/>
                <a:gd name="connsiteX5" fmla="*/ 64226 w 59745"/>
                <a:gd name="connsiteY5" fmla="*/ 5974 h 29872"/>
                <a:gd name="connsiteX6" fmla="*/ 62733 w 59745"/>
                <a:gd name="connsiteY6" fmla="*/ 7468 h 29872"/>
                <a:gd name="connsiteX7" fmla="*/ 46303 w 59745"/>
                <a:gd name="connsiteY7" fmla="*/ 16430 h 29872"/>
                <a:gd name="connsiteX8" fmla="*/ 8962 w 59745"/>
                <a:gd name="connsiteY8" fmla="*/ 37341 h 29872"/>
                <a:gd name="connsiteX9" fmla="*/ 0 w 59745"/>
                <a:gd name="connsiteY9" fmla="*/ 3286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745" h="29872">
                  <a:moveTo>
                    <a:pt x="17924" y="20911"/>
                  </a:moveTo>
                  <a:lnTo>
                    <a:pt x="35847" y="11949"/>
                  </a:lnTo>
                  <a:lnTo>
                    <a:pt x="37341" y="10455"/>
                  </a:lnTo>
                  <a:lnTo>
                    <a:pt x="52277" y="1493"/>
                  </a:lnTo>
                  <a:lnTo>
                    <a:pt x="55264" y="0"/>
                  </a:lnTo>
                  <a:lnTo>
                    <a:pt x="64226" y="5974"/>
                  </a:lnTo>
                  <a:lnTo>
                    <a:pt x="62733" y="7468"/>
                  </a:lnTo>
                  <a:lnTo>
                    <a:pt x="46303" y="16430"/>
                  </a:lnTo>
                  <a:lnTo>
                    <a:pt x="8962" y="37341"/>
                  </a:lnTo>
                  <a:lnTo>
                    <a:pt x="0" y="3286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6" name="任意多边形: 形状 10095"/>
            <p:cNvSpPr/>
            <p:nvPr/>
          </p:nvSpPr>
          <p:spPr>
            <a:xfrm>
              <a:off x="5835208" y="5427926"/>
              <a:ext cx="29873" cy="14936"/>
            </a:xfrm>
            <a:custGeom>
              <a:avLst/>
              <a:gdLst>
                <a:gd name="connsiteX0" fmla="*/ 37341 w 29872"/>
                <a:gd name="connsiteY0" fmla="*/ 11949 h 14936"/>
                <a:gd name="connsiteX1" fmla="*/ 19417 w 29872"/>
                <a:gd name="connsiteY1" fmla="*/ 20911 h 14936"/>
                <a:gd name="connsiteX2" fmla="*/ 8962 w 29872"/>
                <a:gd name="connsiteY2" fmla="*/ 14936 h 14936"/>
                <a:gd name="connsiteX3" fmla="*/ 4481 w 29872"/>
                <a:gd name="connsiteY3" fmla="*/ 13443 h 14936"/>
                <a:gd name="connsiteX4" fmla="*/ 0 w 29872"/>
                <a:gd name="connsiteY4" fmla="*/ 10455 h 14936"/>
                <a:gd name="connsiteX5" fmla="*/ 16430 w 29872"/>
                <a:gd name="connsiteY5" fmla="*/ 0 h 14936"/>
                <a:gd name="connsiteX6" fmla="*/ 20911 w 29872"/>
                <a:gd name="connsiteY6" fmla="*/ 2987 h 14936"/>
                <a:gd name="connsiteX7" fmla="*/ 26885 w 29872"/>
                <a:gd name="connsiteY7" fmla="*/ 5974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72" h="14936">
                  <a:moveTo>
                    <a:pt x="37341" y="11949"/>
                  </a:moveTo>
                  <a:lnTo>
                    <a:pt x="19417" y="20911"/>
                  </a:lnTo>
                  <a:lnTo>
                    <a:pt x="8962" y="14936"/>
                  </a:lnTo>
                  <a:lnTo>
                    <a:pt x="4481" y="13443"/>
                  </a:lnTo>
                  <a:lnTo>
                    <a:pt x="0" y="10455"/>
                  </a:lnTo>
                  <a:lnTo>
                    <a:pt x="16430" y="0"/>
                  </a:lnTo>
                  <a:lnTo>
                    <a:pt x="20911" y="2987"/>
                  </a:lnTo>
                  <a:lnTo>
                    <a:pt x="26885" y="5974"/>
                  </a:lnTo>
                  <a:close/>
                </a:path>
              </a:pathLst>
            </a:custGeom>
            <a:solidFill>
              <a:srgbClr val="FCEA1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7" name="任意多边形: 形状 10096"/>
            <p:cNvSpPr/>
            <p:nvPr/>
          </p:nvSpPr>
          <p:spPr>
            <a:xfrm>
              <a:off x="5853132" y="5417470"/>
              <a:ext cx="29873" cy="14936"/>
            </a:xfrm>
            <a:custGeom>
              <a:avLst/>
              <a:gdLst>
                <a:gd name="connsiteX0" fmla="*/ 26885 w 29872"/>
                <a:gd name="connsiteY0" fmla="*/ 4481 h 14936"/>
                <a:gd name="connsiteX1" fmla="*/ 37341 w 29872"/>
                <a:gd name="connsiteY1" fmla="*/ 10456 h 14936"/>
                <a:gd name="connsiteX2" fmla="*/ 20911 w 29872"/>
                <a:gd name="connsiteY2" fmla="*/ 20911 h 14936"/>
                <a:gd name="connsiteX3" fmla="*/ 10455 w 29872"/>
                <a:gd name="connsiteY3" fmla="*/ 14936 h 14936"/>
                <a:gd name="connsiteX4" fmla="*/ 2987 w 29872"/>
                <a:gd name="connsiteY4" fmla="*/ 11949 h 14936"/>
                <a:gd name="connsiteX5" fmla="*/ 0 w 29872"/>
                <a:gd name="connsiteY5" fmla="*/ 8962 h 14936"/>
                <a:gd name="connsiteX6" fmla="*/ 17924 w 29872"/>
                <a:gd name="connsiteY6" fmla="*/ 0 h 14936"/>
                <a:gd name="connsiteX7" fmla="*/ 20911 w 29872"/>
                <a:gd name="connsiteY7" fmla="*/ 1494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72" h="14936">
                  <a:moveTo>
                    <a:pt x="26885" y="4481"/>
                  </a:moveTo>
                  <a:lnTo>
                    <a:pt x="37341" y="10456"/>
                  </a:lnTo>
                  <a:lnTo>
                    <a:pt x="20911" y="20911"/>
                  </a:lnTo>
                  <a:lnTo>
                    <a:pt x="10455" y="14936"/>
                  </a:lnTo>
                  <a:lnTo>
                    <a:pt x="2987" y="11949"/>
                  </a:lnTo>
                  <a:lnTo>
                    <a:pt x="0" y="8962"/>
                  </a:lnTo>
                  <a:lnTo>
                    <a:pt x="17924" y="0"/>
                  </a:lnTo>
                  <a:lnTo>
                    <a:pt x="20911" y="1494"/>
                  </a:lnTo>
                  <a:close/>
                </a:path>
              </a:pathLst>
            </a:custGeom>
            <a:solidFill>
              <a:srgbClr val="E96B5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8" name="任意多边形: 形状 10097"/>
            <p:cNvSpPr/>
            <p:nvPr/>
          </p:nvSpPr>
          <p:spPr>
            <a:xfrm>
              <a:off x="5872549" y="5393572"/>
              <a:ext cx="44809" cy="29873"/>
            </a:xfrm>
            <a:custGeom>
              <a:avLst/>
              <a:gdLst>
                <a:gd name="connsiteX0" fmla="*/ 56758 w 44809"/>
                <a:gd name="connsiteY0" fmla="*/ 13443 h 29872"/>
                <a:gd name="connsiteX1" fmla="*/ 47796 w 44809"/>
                <a:gd name="connsiteY1" fmla="*/ 7468 h 29872"/>
                <a:gd name="connsiteX2" fmla="*/ 46303 w 44809"/>
                <a:gd name="connsiteY2" fmla="*/ 5975 h 29872"/>
                <a:gd name="connsiteX3" fmla="*/ 37341 w 44809"/>
                <a:gd name="connsiteY3" fmla="*/ 0 h 29872"/>
                <a:gd name="connsiteX4" fmla="*/ 19417 w 44809"/>
                <a:gd name="connsiteY4" fmla="*/ 10456 h 29872"/>
                <a:gd name="connsiteX5" fmla="*/ 17924 w 44809"/>
                <a:gd name="connsiteY5" fmla="*/ 11949 h 29872"/>
                <a:gd name="connsiteX6" fmla="*/ 0 w 44809"/>
                <a:gd name="connsiteY6" fmla="*/ 22405 h 29872"/>
                <a:gd name="connsiteX7" fmla="*/ 8962 w 44809"/>
                <a:gd name="connsiteY7" fmla="*/ 28379 h 29872"/>
                <a:gd name="connsiteX8" fmla="*/ 19417 w 44809"/>
                <a:gd name="connsiteY8" fmla="*/ 34354 h 29872"/>
                <a:gd name="connsiteX9" fmla="*/ 38834 w 44809"/>
                <a:gd name="connsiteY9" fmla="*/ 23898 h 29872"/>
                <a:gd name="connsiteX10" fmla="*/ 56758 w 44809"/>
                <a:gd name="connsiteY10" fmla="*/ 13443 h 29872"/>
                <a:gd name="connsiteX11" fmla="*/ 20911 w 44809"/>
                <a:gd name="connsiteY11" fmla="*/ 28379 h 29872"/>
                <a:gd name="connsiteX12" fmla="*/ 46303 w 44809"/>
                <a:gd name="connsiteY12" fmla="*/ 13443 h 29872"/>
                <a:gd name="connsiteX13" fmla="*/ 47796 w 44809"/>
                <a:gd name="connsiteY13" fmla="*/ 13443 h 29872"/>
                <a:gd name="connsiteX14" fmla="*/ 20911 w 44809"/>
                <a:gd name="connsiteY14" fmla="*/ 28379 h 29872"/>
                <a:gd name="connsiteX15" fmla="*/ 20911 w 44809"/>
                <a:gd name="connsiteY15" fmla="*/ 28379 h 29872"/>
                <a:gd name="connsiteX16" fmla="*/ 17924 w 44809"/>
                <a:gd name="connsiteY16" fmla="*/ 26886 h 29872"/>
                <a:gd name="connsiteX17" fmla="*/ 17924 w 44809"/>
                <a:gd name="connsiteY17" fmla="*/ 26886 h 29872"/>
                <a:gd name="connsiteX18" fmla="*/ 26885 w 44809"/>
                <a:gd name="connsiteY18" fmla="*/ 19418 h 29872"/>
                <a:gd name="connsiteX19" fmla="*/ 28379 w 44809"/>
                <a:gd name="connsiteY19" fmla="*/ 19418 h 29872"/>
                <a:gd name="connsiteX20" fmla="*/ 17924 w 44809"/>
                <a:gd name="connsiteY20" fmla="*/ 26886 h 29872"/>
                <a:gd name="connsiteX21" fmla="*/ 35847 w 44809"/>
                <a:gd name="connsiteY21" fmla="*/ 7468 h 29872"/>
                <a:gd name="connsiteX22" fmla="*/ 10455 w 44809"/>
                <a:gd name="connsiteY22" fmla="*/ 22405 h 29872"/>
                <a:gd name="connsiteX23" fmla="*/ 8962 w 44809"/>
                <a:gd name="connsiteY23" fmla="*/ 22405 h 29872"/>
                <a:gd name="connsiteX24" fmla="*/ 35847 w 44809"/>
                <a:gd name="connsiteY24" fmla="*/ 7468 h 29872"/>
                <a:gd name="connsiteX25" fmla="*/ 35847 w 44809"/>
                <a:gd name="connsiteY25" fmla="*/ 7468 h 29872"/>
                <a:gd name="connsiteX26" fmla="*/ 40328 w 44809"/>
                <a:gd name="connsiteY26" fmla="*/ 10456 h 29872"/>
                <a:gd name="connsiteX27" fmla="*/ 14936 w 44809"/>
                <a:gd name="connsiteY27" fmla="*/ 25392 h 29872"/>
                <a:gd name="connsiteX28" fmla="*/ 13443 w 44809"/>
                <a:gd name="connsiteY28" fmla="*/ 25392 h 29872"/>
                <a:gd name="connsiteX29" fmla="*/ 40328 w 44809"/>
                <a:gd name="connsiteY29" fmla="*/ 10456 h 29872"/>
                <a:gd name="connsiteX30" fmla="*/ 40328 w 44809"/>
                <a:gd name="connsiteY30" fmla="*/ 10456 h 29872"/>
                <a:gd name="connsiteX31" fmla="*/ 41822 w 44809"/>
                <a:gd name="connsiteY31" fmla="*/ 11949 h 29872"/>
                <a:gd name="connsiteX32" fmla="*/ 41822 w 44809"/>
                <a:gd name="connsiteY32" fmla="*/ 11949 h 29872"/>
                <a:gd name="connsiteX33" fmla="*/ 32860 w 44809"/>
                <a:gd name="connsiteY33" fmla="*/ 19418 h 29872"/>
                <a:gd name="connsiteX34" fmla="*/ 31366 w 44809"/>
                <a:gd name="connsiteY34" fmla="*/ 19418 h 29872"/>
                <a:gd name="connsiteX35" fmla="*/ 41822 w 44809"/>
                <a:gd name="connsiteY35" fmla="*/ 11949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809" h="29872">
                  <a:moveTo>
                    <a:pt x="56758" y="13443"/>
                  </a:moveTo>
                  <a:lnTo>
                    <a:pt x="47796" y="7468"/>
                  </a:lnTo>
                  <a:lnTo>
                    <a:pt x="46303" y="5975"/>
                  </a:lnTo>
                  <a:lnTo>
                    <a:pt x="37341" y="0"/>
                  </a:lnTo>
                  <a:lnTo>
                    <a:pt x="19417" y="10456"/>
                  </a:lnTo>
                  <a:lnTo>
                    <a:pt x="17924" y="11949"/>
                  </a:lnTo>
                  <a:lnTo>
                    <a:pt x="0" y="22405"/>
                  </a:lnTo>
                  <a:lnTo>
                    <a:pt x="8962" y="28379"/>
                  </a:lnTo>
                  <a:lnTo>
                    <a:pt x="19417" y="34354"/>
                  </a:lnTo>
                  <a:lnTo>
                    <a:pt x="38834" y="23898"/>
                  </a:lnTo>
                  <a:lnTo>
                    <a:pt x="56758" y="13443"/>
                  </a:lnTo>
                  <a:close/>
                  <a:moveTo>
                    <a:pt x="20911" y="28379"/>
                  </a:moveTo>
                  <a:lnTo>
                    <a:pt x="46303" y="13443"/>
                  </a:lnTo>
                  <a:lnTo>
                    <a:pt x="47796" y="13443"/>
                  </a:lnTo>
                  <a:lnTo>
                    <a:pt x="20911" y="28379"/>
                  </a:lnTo>
                  <a:lnTo>
                    <a:pt x="20911" y="28379"/>
                  </a:lnTo>
                  <a:close/>
                  <a:moveTo>
                    <a:pt x="17924" y="26886"/>
                  </a:moveTo>
                  <a:lnTo>
                    <a:pt x="17924" y="26886"/>
                  </a:lnTo>
                  <a:lnTo>
                    <a:pt x="26885" y="19418"/>
                  </a:lnTo>
                  <a:lnTo>
                    <a:pt x="28379" y="19418"/>
                  </a:lnTo>
                  <a:lnTo>
                    <a:pt x="17924" y="26886"/>
                  </a:lnTo>
                  <a:close/>
                  <a:moveTo>
                    <a:pt x="35847" y="7468"/>
                  </a:moveTo>
                  <a:lnTo>
                    <a:pt x="10455" y="22405"/>
                  </a:lnTo>
                  <a:lnTo>
                    <a:pt x="8962" y="22405"/>
                  </a:lnTo>
                  <a:lnTo>
                    <a:pt x="35847" y="7468"/>
                  </a:lnTo>
                  <a:lnTo>
                    <a:pt x="35847" y="7468"/>
                  </a:lnTo>
                  <a:close/>
                  <a:moveTo>
                    <a:pt x="40328" y="10456"/>
                  </a:moveTo>
                  <a:lnTo>
                    <a:pt x="14936" y="25392"/>
                  </a:lnTo>
                  <a:lnTo>
                    <a:pt x="13443" y="25392"/>
                  </a:lnTo>
                  <a:lnTo>
                    <a:pt x="40328" y="10456"/>
                  </a:lnTo>
                  <a:lnTo>
                    <a:pt x="40328" y="10456"/>
                  </a:lnTo>
                  <a:close/>
                  <a:moveTo>
                    <a:pt x="41822" y="11949"/>
                  </a:moveTo>
                  <a:lnTo>
                    <a:pt x="41822" y="11949"/>
                  </a:lnTo>
                  <a:lnTo>
                    <a:pt x="32860" y="19418"/>
                  </a:lnTo>
                  <a:lnTo>
                    <a:pt x="31366" y="19418"/>
                  </a:lnTo>
                  <a:lnTo>
                    <a:pt x="41822" y="11949"/>
                  </a:lnTo>
                  <a:close/>
                </a:path>
              </a:pathLst>
            </a:custGeom>
            <a:solidFill>
              <a:srgbClr val="FFFF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9" name="任意多边形: 形状 10098"/>
            <p:cNvSpPr/>
            <p:nvPr/>
          </p:nvSpPr>
          <p:spPr>
            <a:xfrm>
              <a:off x="5883004" y="5473109"/>
              <a:ext cx="14936" cy="14936"/>
            </a:xfrm>
            <a:custGeom>
              <a:avLst/>
              <a:gdLst>
                <a:gd name="connsiteX0" fmla="*/ 10455 w 0"/>
                <a:gd name="connsiteY0" fmla="*/ 1120 h 0"/>
                <a:gd name="connsiteX1" fmla="*/ 2987 w 0"/>
                <a:gd name="connsiteY1" fmla="*/ 5601 h 0"/>
                <a:gd name="connsiteX2" fmla="*/ 1494 w 0"/>
                <a:gd name="connsiteY2" fmla="*/ 7095 h 0"/>
                <a:gd name="connsiteX3" fmla="*/ 1494 w 0"/>
                <a:gd name="connsiteY3" fmla="*/ 7095 h 0"/>
                <a:gd name="connsiteX4" fmla="*/ 1494 w 0"/>
                <a:gd name="connsiteY4" fmla="*/ 7095 h 0"/>
                <a:gd name="connsiteX5" fmla="*/ 1494 w 0"/>
                <a:gd name="connsiteY5" fmla="*/ 7095 h 0"/>
                <a:gd name="connsiteX6" fmla="*/ 0 w 0"/>
                <a:gd name="connsiteY6" fmla="*/ 7095 h 0"/>
                <a:gd name="connsiteX7" fmla="*/ 0 w 0"/>
                <a:gd name="connsiteY7" fmla="*/ 7095 h 0"/>
                <a:gd name="connsiteX8" fmla="*/ 0 w 0"/>
                <a:gd name="connsiteY8" fmla="*/ 7095 h 0"/>
                <a:gd name="connsiteX9" fmla="*/ 1494 w 0"/>
                <a:gd name="connsiteY9" fmla="*/ 5601 h 0"/>
                <a:gd name="connsiteX10" fmla="*/ 10455 w 0"/>
                <a:gd name="connsiteY10" fmla="*/ 1120 h 0"/>
                <a:gd name="connsiteX11" fmla="*/ 10455 w 0"/>
                <a:gd name="connsiteY11" fmla="*/ 1120 h 0"/>
                <a:gd name="connsiteX12" fmla="*/ 10455 w 0"/>
                <a:gd name="connsiteY12" fmla="*/ 1120 h 0"/>
                <a:gd name="connsiteX13" fmla="*/ 10455 w 0"/>
                <a:gd name="connsiteY13" fmla="*/ 11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>
                  <a:moveTo>
                    <a:pt x="10455" y="1120"/>
                  </a:moveTo>
                  <a:lnTo>
                    <a:pt x="2987" y="5601"/>
                  </a:lnTo>
                  <a:cubicBezTo>
                    <a:pt x="2987" y="5601"/>
                    <a:pt x="1494" y="7095"/>
                    <a:pt x="1494" y="7095"/>
                  </a:cubicBezTo>
                  <a:lnTo>
                    <a:pt x="1494" y="7095"/>
                  </a:lnTo>
                  <a:cubicBezTo>
                    <a:pt x="1494" y="7095"/>
                    <a:pt x="1494" y="7095"/>
                    <a:pt x="1494" y="7095"/>
                  </a:cubicBezTo>
                  <a:lnTo>
                    <a:pt x="1494" y="7095"/>
                  </a:lnTo>
                  <a:lnTo>
                    <a:pt x="0" y="7095"/>
                  </a:lnTo>
                  <a:cubicBezTo>
                    <a:pt x="0" y="7095"/>
                    <a:pt x="0" y="7095"/>
                    <a:pt x="0" y="7095"/>
                  </a:cubicBezTo>
                  <a:lnTo>
                    <a:pt x="0" y="7095"/>
                  </a:lnTo>
                  <a:cubicBezTo>
                    <a:pt x="0" y="7095"/>
                    <a:pt x="0" y="5601"/>
                    <a:pt x="1494" y="5601"/>
                  </a:cubicBezTo>
                  <a:lnTo>
                    <a:pt x="10455" y="1120"/>
                  </a:lnTo>
                  <a:cubicBezTo>
                    <a:pt x="8962" y="-373"/>
                    <a:pt x="8962" y="-373"/>
                    <a:pt x="10455" y="1120"/>
                  </a:cubicBezTo>
                  <a:lnTo>
                    <a:pt x="10455" y="1120"/>
                  </a:lnTo>
                  <a:cubicBezTo>
                    <a:pt x="10455" y="1120"/>
                    <a:pt x="10455" y="1120"/>
                    <a:pt x="10455" y="1120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0" name="任意多边形: 形状 10099"/>
            <p:cNvSpPr/>
            <p:nvPr/>
          </p:nvSpPr>
          <p:spPr>
            <a:xfrm>
              <a:off x="5893460" y="5474229"/>
              <a:ext cx="14936" cy="14936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1" name="任意多边形: 形状 10100"/>
            <p:cNvSpPr/>
            <p:nvPr/>
          </p:nvSpPr>
          <p:spPr>
            <a:xfrm>
              <a:off x="5884498" y="5472735"/>
              <a:ext cx="14936" cy="14936"/>
            </a:xfrm>
            <a:custGeom>
              <a:avLst/>
              <a:gdLst>
                <a:gd name="connsiteX0" fmla="*/ 0 w 0"/>
                <a:gd name="connsiteY0" fmla="*/ 7468 h 0"/>
                <a:gd name="connsiteX1" fmla="*/ 0 w 0"/>
                <a:gd name="connsiteY1" fmla="*/ 7468 h 0"/>
                <a:gd name="connsiteX2" fmla="*/ 0 w 0"/>
                <a:gd name="connsiteY2" fmla="*/ 7468 h 0"/>
                <a:gd name="connsiteX3" fmla="*/ 1493 w 0"/>
                <a:gd name="connsiteY3" fmla="*/ 4481 h 0"/>
                <a:gd name="connsiteX4" fmla="*/ 8962 w 0"/>
                <a:gd name="connsiteY4" fmla="*/ 0 h 0"/>
                <a:gd name="connsiteX5" fmla="*/ 10455 w 0"/>
                <a:gd name="connsiteY5" fmla="*/ 0 h 0"/>
                <a:gd name="connsiteX6" fmla="*/ 10455 w 0"/>
                <a:gd name="connsiteY6" fmla="*/ 0 h 0"/>
                <a:gd name="connsiteX7" fmla="*/ 10455 w 0"/>
                <a:gd name="connsiteY7" fmla="*/ 0 h 0"/>
                <a:gd name="connsiteX8" fmla="*/ 10455 w 0"/>
                <a:gd name="connsiteY8" fmla="*/ 0 h 0"/>
                <a:gd name="connsiteX9" fmla="*/ 10455 w 0"/>
                <a:gd name="connsiteY9" fmla="*/ 0 h 0"/>
                <a:gd name="connsiteX10" fmla="*/ 10455 w 0"/>
                <a:gd name="connsiteY10" fmla="*/ 1494 h 0"/>
                <a:gd name="connsiteX11" fmla="*/ 10455 w 0"/>
                <a:gd name="connsiteY11" fmla="*/ 1494 h 0"/>
                <a:gd name="connsiteX12" fmla="*/ 0 w 0"/>
                <a:gd name="connsiteY12" fmla="*/ 7468 h 0"/>
                <a:gd name="connsiteX13" fmla="*/ 0 w 0"/>
                <a:gd name="connsiteY13" fmla="*/ 7468 h 0"/>
                <a:gd name="connsiteX14" fmla="*/ 0 w 0"/>
                <a:gd name="connsiteY14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>
                  <a:moveTo>
                    <a:pt x="0" y="7468"/>
                  </a:moveTo>
                  <a:cubicBezTo>
                    <a:pt x="0" y="7468"/>
                    <a:pt x="0" y="7468"/>
                    <a:pt x="0" y="7468"/>
                  </a:cubicBezTo>
                  <a:lnTo>
                    <a:pt x="0" y="7468"/>
                  </a:lnTo>
                  <a:cubicBezTo>
                    <a:pt x="0" y="5974"/>
                    <a:pt x="0" y="5974"/>
                    <a:pt x="1493" y="4481"/>
                  </a:cubicBezTo>
                  <a:lnTo>
                    <a:pt x="8962" y="0"/>
                  </a:lnTo>
                  <a:cubicBezTo>
                    <a:pt x="8962" y="0"/>
                    <a:pt x="8962" y="0"/>
                    <a:pt x="10455" y="0"/>
                  </a:cubicBezTo>
                  <a:lnTo>
                    <a:pt x="10455" y="0"/>
                  </a:lnTo>
                  <a:cubicBezTo>
                    <a:pt x="10455" y="0"/>
                    <a:pt x="10455" y="0"/>
                    <a:pt x="10455" y="0"/>
                  </a:cubicBezTo>
                  <a:cubicBezTo>
                    <a:pt x="10455" y="0"/>
                    <a:pt x="10455" y="0"/>
                    <a:pt x="10455" y="0"/>
                  </a:cubicBezTo>
                  <a:lnTo>
                    <a:pt x="10455" y="0"/>
                  </a:lnTo>
                  <a:cubicBezTo>
                    <a:pt x="10455" y="0"/>
                    <a:pt x="10455" y="1494"/>
                    <a:pt x="10455" y="1494"/>
                  </a:cubicBezTo>
                  <a:cubicBezTo>
                    <a:pt x="10455" y="1494"/>
                    <a:pt x="10455" y="1494"/>
                    <a:pt x="10455" y="1494"/>
                  </a:cubicBezTo>
                  <a:lnTo>
                    <a:pt x="0" y="7468"/>
                  </a:lnTo>
                  <a:cubicBezTo>
                    <a:pt x="1493" y="7468"/>
                    <a:pt x="1493" y="7468"/>
                    <a:pt x="0" y="7468"/>
                  </a:cubicBezTo>
                  <a:cubicBezTo>
                    <a:pt x="1493" y="7468"/>
                    <a:pt x="0" y="7468"/>
                    <a:pt x="0" y="7468"/>
                  </a:cubicBezTo>
                  <a:close/>
                </a:path>
              </a:pathLst>
            </a:custGeom>
            <a:solidFill>
              <a:srgbClr val="B2B2B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2" name="任意多边形: 形状 10101"/>
            <p:cNvSpPr/>
            <p:nvPr/>
          </p:nvSpPr>
          <p:spPr>
            <a:xfrm>
              <a:off x="5894953" y="5465267"/>
              <a:ext cx="14936" cy="14936"/>
            </a:xfrm>
            <a:custGeom>
              <a:avLst/>
              <a:gdLst>
                <a:gd name="connsiteX0" fmla="*/ 11949 w 0"/>
                <a:gd name="connsiteY0" fmla="*/ 0 h 0"/>
                <a:gd name="connsiteX1" fmla="*/ 2987 w 0"/>
                <a:gd name="connsiteY1" fmla="*/ 5974 h 0"/>
                <a:gd name="connsiteX2" fmla="*/ 1493 w 0"/>
                <a:gd name="connsiteY2" fmla="*/ 7468 h 0"/>
                <a:gd name="connsiteX3" fmla="*/ 1493 w 0"/>
                <a:gd name="connsiteY3" fmla="*/ 7468 h 0"/>
                <a:gd name="connsiteX4" fmla="*/ 1493 w 0"/>
                <a:gd name="connsiteY4" fmla="*/ 7468 h 0"/>
                <a:gd name="connsiteX5" fmla="*/ 1493 w 0"/>
                <a:gd name="connsiteY5" fmla="*/ 7468 h 0"/>
                <a:gd name="connsiteX6" fmla="*/ 0 w 0"/>
                <a:gd name="connsiteY6" fmla="*/ 7468 h 0"/>
                <a:gd name="connsiteX7" fmla="*/ 0 w 0"/>
                <a:gd name="connsiteY7" fmla="*/ 7468 h 0"/>
                <a:gd name="connsiteX8" fmla="*/ 0 w 0"/>
                <a:gd name="connsiteY8" fmla="*/ 7468 h 0"/>
                <a:gd name="connsiteX9" fmla="*/ 0 w 0"/>
                <a:gd name="connsiteY9" fmla="*/ 7468 h 0"/>
                <a:gd name="connsiteX10" fmla="*/ 1493 w 0"/>
                <a:gd name="connsiteY10" fmla="*/ 5974 h 0"/>
                <a:gd name="connsiteX11" fmla="*/ 11949 w 0"/>
                <a:gd name="connsiteY11" fmla="*/ 0 h 0"/>
                <a:gd name="connsiteX12" fmla="*/ 11949 w 0"/>
                <a:gd name="connsiteY12" fmla="*/ 0 h 0"/>
                <a:gd name="connsiteX13" fmla="*/ 11949 w 0"/>
                <a:gd name="connsiteY13" fmla="*/ 0 h 0"/>
                <a:gd name="connsiteX14" fmla="*/ 11949 w 0"/>
                <a:gd name="connsiteY14" fmla="*/ 0 h 0"/>
                <a:gd name="connsiteX15" fmla="*/ 11949 w 0"/>
                <a:gd name="connsiteY15" fmla="*/ 0 h 0"/>
                <a:gd name="connsiteX16" fmla="*/ 11949 w 0"/>
                <a:gd name="connsiteY1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>
                  <a:moveTo>
                    <a:pt x="11949" y="0"/>
                  </a:moveTo>
                  <a:lnTo>
                    <a:pt x="2987" y="5974"/>
                  </a:lnTo>
                  <a:cubicBezTo>
                    <a:pt x="2987" y="5974"/>
                    <a:pt x="1493" y="7468"/>
                    <a:pt x="1493" y="7468"/>
                  </a:cubicBezTo>
                  <a:lnTo>
                    <a:pt x="1493" y="7468"/>
                  </a:lnTo>
                  <a:cubicBezTo>
                    <a:pt x="1493" y="7468"/>
                    <a:pt x="1493" y="7468"/>
                    <a:pt x="1493" y="7468"/>
                  </a:cubicBezTo>
                  <a:lnTo>
                    <a:pt x="1493" y="7468"/>
                  </a:lnTo>
                  <a:lnTo>
                    <a:pt x="0" y="7468"/>
                  </a:lnTo>
                  <a:lnTo>
                    <a:pt x="0" y="7468"/>
                  </a:lnTo>
                  <a:cubicBezTo>
                    <a:pt x="0" y="7468"/>
                    <a:pt x="0" y="7468"/>
                    <a:pt x="0" y="7468"/>
                  </a:cubicBezTo>
                  <a:lnTo>
                    <a:pt x="0" y="7468"/>
                  </a:lnTo>
                  <a:cubicBezTo>
                    <a:pt x="0" y="7468"/>
                    <a:pt x="0" y="5974"/>
                    <a:pt x="1493" y="5974"/>
                  </a:cubicBezTo>
                  <a:lnTo>
                    <a:pt x="11949" y="0"/>
                  </a:lnTo>
                  <a:cubicBezTo>
                    <a:pt x="11949" y="0"/>
                    <a:pt x="11949" y="0"/>
                    <a:pt x="11949" y="0"/>
                  </a:cubicBezTo>
                  <a:lnTo>
                    <a:pt x="11949" y="0"/>
                  </a:lnTo>
                  <a:lnTo>
                    <a:pt x="11949" y="0"/>
                  </a:lnTo>
                  <a:lnTo>
                    <a:pt x="11949" y="0"/>
                  </a:lnTo>
                  <a:cubicBezTo>
                    <a:pt x="13443" y="0"/>
                    <a:pt x="11949" y="0"/>
                    <a:pt x="11949" y="0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3" name="任意多边形: 形状 10102"/>
            <p:cNvSpPr/>
            <p:nvPr/>
          </p:nvSpPr>
          <p:spPr>
            <a:xfrm>
              <a:off x="5896447" y="5465267"/>
              <a:ext cx="14936" cy="14936"/>
            </a:xfrm>
            <a:custGeom>
              <a:avLst/>
              <a:gdLst>
                <a:gd name="connsiteX0" fmla="*/ 0 w 0"/>
                <a:gd name="connsiteY0" fmla="*/ 8962 h 0"/>
                <a:gd name="connsiteX1" fmla="*/ 0 w 0"/>
                <a:gd name="connsiteY1" fmla="*/ 8962 h 0"/>
                <a:gd name="connsiteX2" fmla="*/ 0 w 0"/>
                <a:gd name="connsiteY2" fmla="*/ 8962 h 0"/>
                <a:gd name="connsiteX3" fmla="*/ 1494 w 0"/>
                <a:gd name="connsiteY3" fmla="*/ 5974 h 0"/>
                <a:gd name="connsiteX4" fmla="*/ 10456 w 0"/>
                <a:gd name="connsiteY4" fmla="*/ 0 h 0"/>
                <a:gd name="connsiteX5" fmla="*/ 10456 w 0"/>
                <a:gd name="connsiteY5" fmla="*/ 0 h 0"/>
                <a:gd name="connsiteX6" fmla="*/ 10456 w 0"/>
                <a:gd name="connsiteY6" fmla="*/ 0 h 0"/>
                <a:gd name="connsiteX7" fmla="*/ 10456 w 0"/>
                <a:gd name="connsiteY7" fmla="*/ 0 h 0"/>
                <a:gd name="connsiteX8" fmla="*/ 10456 w 0"/>
                <a:gd name="connsiteY8" fmla="*/ 1494 h 0"/>
                <a:gd name="connsiteX9" fmla="*/ 10456 w 0"/>
                <a:gd name="connsiteY9" fmla="*/ 1494 h 0"/>
                <a:gd name="connsiteX10" fmla="*/ 0 w 0"/>
                <a:gd name="connsiteY10" fmla="*/ 8962 h 0"/>
                <a:gd name="connsiteX11" fmla="*/ 0 w 0"/>
                <a:gd name="connsiteY11" fmla="*/ 8962 h 0"/>
                <a:gd name="connsiteX12" fmla="*/ 0 w 0"/>
                <a:gd name="connsiteY12" fmla="*/ 896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>
                  <a:moveTo>
                    <a:pt x="0" y="8962"/>
                  </a:moveTo>
                  <a:cubicBezTo>
                    <a:pt x="0" y="8962"/>
                    <a:pt x="0" y="8962"/>
                    <a:pt x="0" y="8962"/>
                  </a:cubicBezTo>
                  <a:lnTo>
                    <a:pt x="0" y="8962"/>
                  </a:lnTo>
                  <a:cubicBezTo>
                    <a:pt x="0" y="7468"/>
                    <a:pt x="0" y="7468"/>
                    <a:pt x="1494" y="5974"/>
                  </a:cubicBezTo>
                  <a:lnTo>
                    <a:pt x="10456" y="0"/>
                  </a:lnTo>
                  <a:cubicBezTo>
                    <a:pt x="10456" y="0"/>
                    <a:pt x="10456" y="0"/>
                    <a:pt x="10456" y="0"/>
                  </a:cubicBezTo>
                  <a:cubicBezTo>
                    <a:pt x="10456" y="0"/>
                    <a:pt x="10456" y="0"/>
                    <a:pt x="10456" y="0"/>
                  </a:cubicBezTo>
                  <a:lnTo>
                    <a:pt x="10456" y="0"/>
                  </a:lnTo>
                  <a:cubicBezTo>
                    <a:pt x="10456" y="0"/>
                    <a:pt x="10456" y="1494"/>
                    <a:pt x="10456" y="1494"/>
                  </a:cubicBezTo>
                  <a:cubicBezTo>
                    <a:pt x="10456" y="1494"/>
                    <a:pt x="10456" y="1494"/>
                    <a:pt x="10456" y="1494"/>
                  </a:cubicBezTo>
                  <a:lnTo>
                    <a:pt x="0" y="8962"/>
                  </a:lnTo>
                  <a:cubicBezTo>
                    <a:pt x="1494" y="8962"/>
                    <a:pt x="1494" y="8962"/>
                    <a:pt x="0" y="8962"/>
                  </a:cubicBezTo>
                  <a:cubicBezTo>
                    <a:pt x="0" y="8962"/>
                    <a:pt x="0" y="8962"/>
                    <a:pt x="0" y="8962"/>
                  </a:cubicBezTo>
                  <a:close/>
                </a:path>
              </a:pathLst>
            </a:custGeom>
            <a:solidFill>
              <a:srgbClr val="B2B2B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4" name="任意多边形: 形状 10103"/>
            <p:cNvSpPr/>
            <p:nvPr/>
          </p:nvSpPr>
          <p:spPr>
            <a:xfrm>
              <a:off x="5773969" y="5441369"/>
              <a:ext cx="59745" cy="44809"/>
            </a:xfrm>
            <a:custGeom>
              <a:avLst/>
              <a:gdLst>
                <a:gd name="connsiteX0" fmla="*/ 64226 w 59745"/>
                <a:gd name="connsiteY0" fmla="*/ 4481 h 44809"/>
                <a:gd name="connsiteX1" fmla="*/ 56758 w 59745"/>
                <a:gd name="connsiteY1" fmla="*/ 1494 h 44809"/>
                <a:gd name="connsiteX2" fmla="*/ 50784 w 59745"/>
                <a:gd name="connsiteY2" fmla="*/ 2987 h 44809"/>
                <a:gd name="connsiteX3" fmla="*/ 43316 w 59745"/>
                <a:gd name="connsiteY3" fmla="*/ 1494 h 44809"/>
                <a:gd name="connsiteX4" fmla="*/ 10455 w 59745"/>
                <a:gd name="connsiteY4" fmla="*/ 5974 h 44809"/>
                <a:gd name="connsiteX5" fmla="*/ 5975 w 59745"/>
                <a:gd name="connsiteY5" fmla="*/ 8962 h 44809"/>
                <a:gd name="connsiteX6" fmla="*/ 0 w 59745"/>
                <a:gd name="connsiteY6" fmla="*/ 22405 h 44809"/>
                <a:gd name="connsiteX7" fmla="*/ 0 w 59745"/>
                <a:gd name="connsiteY7" fmla="*/ 25392 h 44809"/>
                <a:gd name="connsiteX8" fmla="*/ 1494 w 59745"/>
                <a:gd name="connsiteY8" fmla="*/ 28379 h 44809"/>
                <a:gd name="connsiteX9" fmla="*/ 16430 w 59745"/>
                <a:gd name="connsiteY9" fmla="*/ 43315 h 44809"/>
                <a:gd name="connsiteX10" fmla="*/ 37341 w 59745"/>
                <a:gd name="connsiteY10" fmla="*/ 50783 h 44809"/>
                <a:gd name="connsiteX11" fmla="*/ 44809 w 59745"/>
                <a:gd name="connsiteY11" fmla="*/ 52277 h 44809"/>
                <a:gd name="connsiteX12" fmla="*/ 44809 w 59745"/>
                <a:gd name="connsiteY12" fmla="*/ 22405 h 44809"/>
                <a:gd name="connsiteX13" fmla="*/ 47796 w 59745"/>
                <a:gd name="connsiteY13" fmla="*/ 14936 h 44809"/>
                <a:gd name="connsiteX14" fmla="*/ 55264 w 59745"/>
                <a:gd name="connsiteY14" fmla="*/ 14936 h 44809"/>
                <a:gd name="connsiteX15" fmla="*/ 64226 w 59745"/>
                <a:gd name="connsiteY15" fmla="*/ 448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745" h="44809">
                  <a:moveTo>
                    <a:pt x="64226" y="4481"/>
                  </a:moveTo>
                  <a:cubicBezTo>
                    <a:pt x="62733" y="2987"/>
                    <a:pt x="59745" y="1494"/>
                    <a:pt x="56758" y="1494"/>
                  </a:cubicBezTo>
                  <a:cubicBezTo>
                    <a:pt x="55264" y="1494"/>
                    <a:pt x="52277" y="2987"/>
                    <a:pt x="50784" y="2987"/>
                  </a:cubicBezTo>
                  <a:cubicBezTo>
                    <a:pt x="47796" y="2987"/>
                    <a:pt x="44809" y="2987"/>
                    <a:pt x="43316" y="1494"/>
                  </a:cubicBezTo>
                  <a:cubicBezTo>
                    <a:pt x="32860" y="-1494"/>
                    <a:pt x="20911" y="0"/>
                    <a:pt x="10455" y="5974"/>
                  </a:cubicBezTo>
                  <a:cubicBezTo>
                    <a:pt x="8962" y="7468"/>
                    <a:pt x="7468" y="7468"/>
                    <a:pt x="5975" y="8962"/>
                  </a:cubicBezTo>
                  <a:cubicBezTo>
                    <a:pt x="2987" y="11949"/>
                    <a:pt x="0" y="17924"/>
                    <a:pt x="0" y="22405"/>
                  </a:cubicBezTo>
                  <a:cubicBezTo>
                    <a:pt x="0" y="23898"/>
                    <a:pt x="0" y="25392"/>
                    <a:pt x="0" y="25392"/>
                  </a:cubicBezTo>
                  <a:cubicBezTo>
                    <a:pt x="0" y="26885"/>
                    <a:pt x="0" y="26885"/>
                    <a:pt x="1494" y="28379"/>
                  </a:cubicBezTo>
                  <a:cubicBezTo>
                    <a:pt x="4481" y="34353"/>
                    <a:pt x="10455" y="40328"/>
                    <a:pt x="16430" y="43315"/>
                  </a:cubicBezTo>
                  <a:cubicBezTo>
                    <a:pt x="22405" y="46303"/>
                    <a:pt x="29873" y="49290"/>
                    <a:pt x="37341" y="50783"/>
                  </a:cubicBezTo>
                  <a:cubicBezTo>
                    <a:pt x="40328" y="50783"/>
                    <a:pt x="41822" y="52277"/>
                    <a:pt x="44809" y="52277"/>
                  </a:cubicBezTo>
                  <a:lnTo>
                    <a:pt x="44809" y="22405"/>
                  </a:lnTo>
                  <a:cubicBezTo>
                    <a:pt x="44809" y="22405"/>
                    <a:pt x="46303" y="16430"/>
                    <a:pt x="47796" y="14936"/>
                  </a:cubicBezTo>
                  <a:cubicBezTo>
                    <a:pt x="50784" y="14936"/>
                    <a:pt x="53771" y="14936"/>
                    <a:pt x="55264" y="14936"/>
                  </a:cubicBezTo>
                  <a:cubicBezTo>
                    <a:pt x="70201" y="13443"/>
                    <a:pt x="64226" y="4481"/>
                    <a:pt x="64226" y="4481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5" name="任意多边形: 形状 10104"/>
            <p:cNvSpPr/>
            <p:nvPr/>
          </p:nvSpPr>
          <p:spPr>
            <a:xfrm>
              <a:off x="5871106" y="5356392"/>
              <a:ext cx="74682" cy="59745"/>
            </a:xfrm>
            <a:custGeom>
              <a:avLst/>
              <a:gdLst>
                <a:gd name="connsiteX0" fmla="*/ 28328 w 74681"/>
                <a:gd name="connsiteY0" fmla="*/ 1333 h 59745"/>
                <a:gd name="connsiteX1" fmla="*/ 5924 w 74681"/>
                <a:gd name="connsiteY1" fmla="*/ 4321 h 59745"/>
                <a:gd name="connsiteX2" fmla="*/ 4430 w 74681"/>
                <a:gd name="connsiteY2" fmla="*/ 23738 h 59745"/>
                <a:gd name="connsiteX3" fmla="*/ 29822 w 74681"/>
                <a:gd name="connsiteY3" fmla="*/ 49130 h 59745"/>
                <a:gd name="connsiteX4" fmla="*/ 38784 w 74681"/>
                <a:gd name="connsiteY4" fmla="*/ 50623 h 59745"/>
                <a:gd name="connsiteX5" fmla="*/ 46252 w 74681"/>
                <a:gd name="connsiteY5" fmla="*/ 55104 h 59745"/>
                <a:gd name="connsiteX6" fmla="*/ 53720 w 74681"/>
                <a:gd name="connsiteY6" fmla="*/ 56598 h 59745"/>
                <a:gd name="connsiteX7" fmla="*/ 46252 w 74681"/>
                <a:gd name="connsiteY7" fmla="*/ 41661 h 59745"/>
                <a:gd name="connsiteX8" fmla="*/ 79112 w 74681"/>
                <a:gd name="connsiteY8" fmla="*/ 64066 h 59745"/>
                <a:gd name="connsiteX9" fmla="*/ 85086 w 74681"/>
                <a:gd name="connsiteY9" fmla="*/ 58091 h 59745"/>
                <a:gd name="connsiteX10" fmla="*/ 67163 w 74681"/>
                <a:gd name="connsiteY10" fmla="*/ 41661 h 59745"/>
                <a:gd name="connsiteX11" fmla="*/ 73137 w 74681"/>
                <a:gd name="connsiteY11" fmla="*/ 26725 h 59745"/>
                <a:gd name="connsiteX12" fmla="*/ 55214 w 74681"/>
                <a:gd name="connsiteY12" fmla="*/ 4321 h 59745"/>
                <a:gd name="connsiteX13" fmla="*/ 28328 w 74681"/>
                <a:gd name="connsiteY13" fmla="*/ 1333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681" h="59745">
                  <a:moveTo>
                    <a:pt x="28328" y="1333"/>
                  </a:moveTo>
                  <a:cubicBezTo>
                    <a:pt x="19367" y="1333"/>
                    <a:pt x="13392" y="-3148"/>
                    <a:pt x="5924" y="4321"/>
                  </a:cubicBezTo>
                  <a:cubicBezTo>
                    <a:pt x="-51" y="11789"/>
                    <a:pt x="-3038" y="17763"/>
                    <a:pt x="4430" y="23738"/>
                  </a:cubicBezTo>
                  <a:cubicBezTo>
                    <a:pt x="8911" y="28219"/>
                    <a:pt x="23847" y="47636"/>
                    <a:pt x="29822" y="49130"/>
                  </a:cubicBezTo>
                  <a:cubicBezTo>
                    <a:pt x="32809" y="49130"/>
                    <a:pt x="35797" y="49130"/>
                    <a:pt x="38784" y="50623"/>
                  </a:cubicBezTo>
                  <a:cubicBezTo>
                    <a:pt x="41771" y="52117"/>
                    <a:pt x="43265" y="53610"/>
                    <a:pt x="46252" y="55104"/>
                  </a:cubicBezTo>
                  <a:cubicBezTo>
                    <a:pt x="47745" y="56598"/>
                    <a:pt x="50733" y="58091"/>
                    <a:pt x="53720" y="56598"/>
                  </a:cubicBezTo>
                  <a:cubicBezTo>
                    <a:pt x="55214" y="56598"/>
                    <a:pt x="56707" y="50623"/>
                    <a:pt x="46252" y="41661"/>
                  </a:cubicBezTo>
                  <a:cubicBezTo>
                    <a:pt x="43265" y="40168"/>
                    <a:pt x="64176" y="50623"/>
                    <a:pt x="79112" y="64066"/>
                  </a:cubicBezTo>
                  <a:cubicBezTo>
                    <a:pt x="82099" y="65560"/>
                    <a:pt x="89567" y="65560"/>
                    <a:pt x="85086" y="58091"/>
                  </a:cubicBezTo>
                  <a:cubicBezTo>
                    <a:pt x="80606" y="50623"/>
                    <a:pt x="73137" y="46142"/>
                    <a:pt x="67163" y="41661"/>
                  </a:cubicBezTo>
                  <a:cubicBezTo>
                    <a:pt x="70150" y="38674"/>
                    <a:pt x="73137" y="31206"/>
                    <a:pt x="73137" y="26725"/>
                  </a:cubicBezTo>
                  <a:cubicBezTo>
                    <a:pt x="73137" y="22244"/>
                    <a:pt x="59695" y="7308"/>
                    <a:pt x="55214" y="4321"/>
                  </a:cubicBezTo>
                  <a:cubicBezTo>
                    <a:pt x="49239" y="1333"/>
                    <a:pt x="32809" y="1333"/>
                    <a:pt x="28328" y="1333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6" name="任意多边形: 形状 10105"/>
            <p:cNvSpPr/>
            <p:nvPr/>
          </p:nvSpPr>
          <p:spPr>
            <a:xfrm>
              <a:off x="6551966" y="5402498"/>
              <a:ext cx="74682" cy="164300"/>
            </a:xfrm>
            <a:custGeom>
              <a:avLst/>
              <a:gdLst>
                <a:gd name="connsiteX0" fmla="*/ 62919 w 74681"/>
                <a:gd name="connsiteY0" fmla="*/ 167323 h 164299"/>
                <a:gd name="connsiteX1" fmla="*/ 50970 w 74681"/>
                <a:gd name="connsiteY1" fmla="*/ 167323 h 164299"/>
                <a:gd name="connsiteX2" fmla="*/ 44996 w 74681"/>
                <a:gd name="connsiteY2" fmla="*/ 165830 h 164299"/>
                <a:gd name="connsiteX3" fmla="*/ 42009 w 74681"/>
                <a:gd name="connsiteY3" fmla="*/ 164336 h 164299"/>
                <a:gd name="connsiteX4" fmla="*/ 25578 w 74681"/>
                <a:gd name="connsiteY4" fmla="*/ 143425 h 164299"/>
                <a:gd name="connsiteX5" fmla="*/ 21098 w 74681"/>
                <a:gd name="connsiteY5" fmla="*/ 125501 h 164299"/>
                <a:gd name="connsiteX6" fmla="*/ 1680 w 74681"/>
                <a:gd name="connsiteY6" fmla="*/ 37377 h 164299"/>
                <a:gd name="connsiteX7" fmla="*/ 187 w 74681"/>
                <a:gd name="connsiteY7" fmla="*/ 26922 h 164299"/>
                <a:gd name="connsiteX8" fmla="*/ 22591 w 74681"/>
                <a:gd name="connsiteY8" fmla="*/ 3024 h 164299"/>
                <a:gd name="connsiteX9" fmla="*/ 46489 w 74681"/>
                <a:gd name="connsiteY9" fmla="*/ 14973 h 164299"/>
                <a:gd name="connsiteX10" fmla="*/ 80843 w 74681"/>
                <a:gd name="connsiteY10" fmla="*/ 110565 h 164299"/>
                <a:gd name="connsiteX11" fmla="*/ 62919 w 74681"/>
                <a:gd name="connsiteY11" fmla="*/ 167323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164299">
                  <a:moveTo>
                    <a:pt x="62919" y="167323"/>
                  </a:moveTo>
                  <a:cubicBezTo>
                    <a:pt x="58438" y="168817"/>
                    <a:pt x="55451" y="168817"/>
                    <a:pt x="50970" y="167323"/>
                  </a:cubicBezTo>
                  <a:cubicBezTo>
                    <a:pt x="49477" y="167323"/>
                    <a:pt x="47983" y="167323"/>
                    <a:pt x="44996" y="165830"/>
                  </a:cubicBezTo>
                  <a:cubicBezTo>
                    <a:pt x="43502" y="165830"/>
                    <a:pt x="43502" y="165830"/>
                    <a:pt x="42009" y="164336"/>
                  </a:cubicBezTo>
                  <a:cubicBezTo>
                    <a:pt x="34540" y="159855"/>
                    <a:pt x="27072" y="153881"/>
                    <a:pt x="25578" y="143425"/>
                  </a:cubicBezTo>
                  <a:lnTo>
                    <a:pt x="21098" y="125501"/>
                  </a:lnTo>
                  <a:lnTo>
                    <a:pt x="1680" y="37377"/>
                  </a:lnTo>
                  <a:lnTo>
                    <a:pt x="187" y="26922"/>
                  </a:lnTo>
                  <a:cubicBezTo>
                    <a:pt x="-1307" y="17960"/>
                    <a:pt x="6161" y="7504"/>
                    <a:pt x="22591" y="3024"/>
                  </a:cubicBezTo>
                  <a:cubicBezTo>
                    <a:pt x="27072" y="1530"/>
                    <a:pt x="34540" y="-7432"/>
                    <a:pt x="46489" y="14973"/>
                  </a:cubicBezTo>
                  <a:lnTo>
                    <a:pt x="80843" y="110565"/>
                  </a:lnTo>
                  <a:cubicBezTo>
                    <a:pt x="91298" y="146413"/>
                    <a:pt x="79349" y="162842"/>
                    <a:pt x="62919" y="167323"/>
                  </a:cubicBez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7" name="任意多边形: 形状 10106"/>
            <p:cNvSpPr/>
            <p:nvPr/>
          </p:nvSpPr>
          <p:spPr>
            <a:xfrm>
              <a:off x="6556634" y="5411496"/>
              <a:ext cx="29873" cy="14936"/>
            </a:xfrm>
            <a:custGeom>
              <a:avLst/>
              <a:gdLst>
                <a:gd name="connsiteX0" fmla="*/ 22405 w 29872"/>
                <a:gd name="connsiteY0" fmla="*/ 11949 h 14936"/>
                <a:gd name="connsiteX1" fmla="*/ 0 w 29872"/>
                <a:gd name="connsiteY1" fmla="*/ 16430 h 14936"/>
                <a:gd name="connsiteX2" fmla="*/ 8962 w 29872"/>
                <a:gd name="connsiteY2" fmla="*/ 7468 h 14936"/>
                <a:gd name="connsiteX3" fmla="*/ 23898 w 29872"/>
                <a:gd name="connsiteY3" fmla="*/ 0 h 14936"/>
                <a:gd name="connsiteX4" fmla="*/ 28379 w 29872"/>
                <a:gd name="connsiteY4" fmla="*/ 0 h 14936"/>
                <a:gd name="connsiteX5" fmla="*/ 29873 w 29872"/>
                <a:gd name="connsiteY5" fmla="*/ 5974 h 14936"/>
                <a:gd name="connsiteX6" fmla="*/ 25392 w 29872"/>
                <a:gd name="connsiteY6" fmla="*/ 10456 h 14936"/>
                <a:gd name="connsiteX7" fmla="*/ 22405 w 29872"/>
                <a:gd name="connsiteY7" fmla="*/ 11949 h 14936"/>
                <a:gd name="connsiteX8" fmla="*/ 22405 w 29872"/>
                <a:gd name="connsiteY8" fmla="*/ 11949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72" h="14936">
                  <a:moveTo>
                    <a:pt x="22405" y="11949"/>
                  </a:moveTo>
                  <a:cubicBezTo>
                    <a:pt x="16430" y="14936"/>
                    <a:pt x="7468" y="16430"/>
                    <a:pt x="0" y="16430"/>
                  </a:cubicBezTo>
                  <a:cubicBezTo>
                    <a:pt x="1493" y="11949"/>
                    <a:pt x="4481" y="10456"/>
                    <a:pt x="8962" y="7468"/>
                  </a:cubicBezTo>
                  <a:cubicBezTo>
                    <a:pt x="13443" y="4481"/>
                    <a:pt x="17924" y="1494"/>
                    <a:pt x="23898" y="0"/>
                  </a:cubicBezTo>
                  <a:cubicBezTo>
                    <a:pt x="25392" y="0"/>
                    <a:pt x="26885" y="0"/>
                    <a:pt x="28379" y="0"/>
                  </a:cubicBezTo>
                  <a:cubicBezTo>
                    <a:pt x="29873" y="1494"/>
                    <a:pt x="29873" y="2987"/>
                    <a:pt x="29873" y="5974"/>
                  </a:cubicBezTo>
                  <a:cubicBezTo>
                    <a:pt x="29873" y="7468"/>
                    <a:pt x="28379" y="8962"/>
                    <a:pt x="25392" y="10456"/>
                  </a:cubicBezTo>
                  <a:cubicBezTo>
                    <a:pt x="25392" y="10456"/>
                    <a:pt x="23898" y="10456"/>
                    <a:pt x="22405" y="11949"/>
                  </a:cubicBezTo>
                  <a:lnTo>
                    <a:pt x="22405" y="11949"/>
                  </a:ln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8" name="任意多边形: 形状 10107"/>
            <p:cNvSpPr/>
            <p:nvPr/>
          </p:nvSpPr>
          <p:spPr>
            <a:xfrm>
              <a:off x="6519293" y="5350257"/>
              <a:ext cx="59745" cy="59745"/>
            </a:xfrm>
            <a:custGeom>
              <a:avLst/>
              <a:gdLst>
                <a:gd name="connsiteX0" fmla="*/ 20911 w 59745"/>
                <a:gd name="connsiteY0" fmla="*/ 0 h 59745"/>
                <a:gd name="connsiteX1" fmla="*/ 26885 w 59745"/>
                <a:gd name="connsiteY1" fmla="*/ 4481 h 59745"/>
                <a:gd name="connsiteX2" fmla="*/ 41822 w 59745"/>
                <a:gd name="connsiteY2" fmla="*/ 17924 h 59745"/>
                <a:gd name="connsiteX3" fmla="*/ 49290 w 59745"/>
                <a:gd name="connsiteY3" fmla="*/ 20911 h 59745"/>
                <a:gd name="connsiteX4" fmla="*/ 52277 w 59745"/>
                <a:gd name="connsiteY4" fmla="*/ 20911 h 59745"/>
                <a:gd name="connsiteX5" fmla="*/ 53771 w 59745"/>
                <a:gd name="connsiteY5" fmla="*/ 22405 h 59745"/>
                <a:gd name="connsiteX6" fmla="*/ 59745 w 59745"/>
                <a:gd name="connsiteY6" fmla="*/ 59745 h 59745"/>
                <a:gd name="connsiteX7" fmla="*/ 59745 w 59745"/>
                <a:gd name="connsiteY7" fmla="*/ 62733 h 59745"/>
                <a:gd name="connsiteX8" fmla="*/ 58252 w 59745"/>
                <a:gd name="connsiteY8" fmla="*/ 64227 h 59745"/>
                <a:gd name="connsiteX9" fmla="*/ 52277 w 59745"/>
                <a:gd name="connsiteY9" fmla="*/ 68707 h 59745"/>
                <a:gd name="connsiteX10" fmla="*/ 44809 w 59745"/>
                <a:gd name="connsiteY10" fmla="*/ 71695 h 59745"/>
                <a:gd name="connsiteX11" fmla="*/ 40328 w 59745"/>
                <a:gd name="connsiteY11" fmla="*/ 70201 h 59745"/>
                <a:gd name="connsiteX12" fmla="*/ 16430 w 59745"/>
                <a:gd name="connsiteY12" fmla="*/ 61239 h 59745"/>
                <a:gd name="connsiteX13" fmla="*/ 10455 w 59745"/>
                <a:gd name="connsiteY13" fmla="*/ 56758 h 59745"/>
                <a:gd name="connsiteX14" fmla="*/ 5974 w 59745"/>
                <a:gd name="connsiteY14" fmla="*/ 46303 h 59745"/>
                <a:gd name="connsiteX15" fmla="*/ 0 w 59745"/>
                <a:gd name="connsiteY15" fmla="*/ 31366 h 59745"/>
                <a:gd name="connsiteX16" fmla="*/ 2987 w 59745"/>
                <a:gd name="connsiteY16" fmla="*/ 22405 h 59745"/>
                <a:gd name="connsiteX17" fmla="*/ 16430 w 59745"/>
                <a:gd name="connsiteY17" fmla="*/ 2987 h 59745"/>
                <a:gd name="connsiteX18" fmla="*/ 20911 w 59745"/>
                <a:gd name="connsiteY18" fmla="*/ 0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9745" h="59745">
                  <a:moveTo>
                    <a:pt x="20911" y="0"/>
                  </a:moveTo>
                  <a:cubicBezTo>
                    <a:pt x="23898" y="0"/>
                    <a:pt x="25392" y="2987"/>
                    <a:pt x="26885" y="4481"/>
                  </a:cubicBezTo>
                  <a:cubicBezTo>
                    <a:pt x="31366" y="8962"/>
                    <a:pt x="35847" y="13443"/>
                    <a:pt x="41822" y="17924"/>
                  </a:cubicBezTo>
                  <a:cubicBezTo>
                    <a:pt x="44809" y="19418"/>
                    <a:pt x="46303" y="20911"/>
                    <a:pt x="49290" y="20911"/>
                  </a:cubicBezTo>
                  <a:cubicBezTo>
                    <a:pt x="50783" y="20911"/>
                    <a:pt x="50783" y="20911"/>
                    <a:pt x="52277" y="20911"/>
                  </a:cubicBezTo>
                  <a:cubicBezTo>
                    <a:pt x="53771" y="20911"/>
                    <a:pt x="53771" y="22405"/>
                    <a:pt x="53771" y="22405"/>
                  </a:cubicBezTo>
                  <a:cubicBezTo>
                    <a:pt x="59745" y="32860"/>
                    <a:pt x="61239" y="47796"/>
                    <a:pt x="59745" y="59745"/>
                  </a:cubicBezTo>
                  <a:cubicBezTo>
                    <a:pt x="59745" y="61239"/>
                    <a:pt x="59745" y="61239"/>
                    <a:pt x="59745" y="62733"/>
                  </a:cubicBezTo>
                  <a:cubicBezTo>
                    <a:pt x="59745" y="64227"/>
                    <a:pt x="58252" y="64227"/>
                    <a:pt x="58252" y="64227"/>
                  </a:cubicBezTo>
                  <a:cubicBezTo>
                    <a:pt x="56758" y="65720"/>
                    <a:pt x="53771" y="68707"/>
                    <a:pt x="52277" y="68707"/>
                  </a:cubicBezTo>
                  <a:cubicBezTo>
                    <a:pt x="49290" y="70201"/>
                    <a:pt x="46303" y="71695"/>
                    <a:pt x="44809" y="71695"/>
                  </a:cubicBezTo>
                  <a:cubicBezTo>
                    <a:pt x="43315" y="71695"/>
                    <a:pt x="41822" y="70201"/>
                    <a:pt x="40328" y="70201"/>
                  </a:cubicBezTo>
                  <a:cubicBezTo>
                    <a:pt x="32860" y="67214"/>
                    <a:pt x="23898" y="64227"/>
                    <a:pt x="16430" y="61239"/>
                  </a:cubicBezTo>
                  <a:cubicBezTo>
                    <a:pt x="13443" y="59745"/>
                    <a:pt x="11949" y="59745"/>
                    <a:pt x="10455" y="56758"/>
                  </a:cubicBezTo>
                  <a:cubicBezTo>
                    <a:pt x="7468" y="53771"/>
                    <a:pt x="7468" y="49290"/>
                    <a:pt x="5974" y="46303"/>
                  </a:cubicBezTo>
                  <a:cubicBezTo>
                    <a:pt x="4481" y="40328"/>
                    <a:pt x="0" y="37341"/>
                    <a:pt x="0" y="31366"/>
                  </a:cubicBezTo>
                  <a:cubicBezTo>
                    <a:pt x="0" y="28379"/>
                    <a:pt x="1493" y="25392"/>
                    <a:pt x="2987" y="22405"/>
                  </a:cubicBezTo>
                  <a:cubicBezTo>
                    <a:pt x="7468" y="16430"/>
                    <a:pt x="10455" y="8962"/>
                    <a:pt x="16430" y="2987"/>
                  </a:cubicBezTo>
                  <a:cubicBezTo>
                    <a:pt x="16430" y="2987"/>
                    <a:pt x="17924" y="0"/>
                    <a:pt x="20911" y="0"/>
                  </a:cubicBezTo>
                  <a:close/>
                </a:path>
              </a:pathLst>
            </a:custGeom>
            <a:solidFill>
              <a:srgbClr val="F7C08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9" name="任意多边形: 形状 10108"/>
            <p:cNvSpPr/>
            <p:nvPr/>
          </p:nvSpPr>
          <p:spPr>
            <a:xfrm>
              <a:off x="6490914" y="5423445"/>
              <a:ext cx="134427" cy="134427"/>
            </a:xfrm>
            <a:custGeom>
              <a:avLst/>
              <a:gdLst>
                <a:gd name="connsiteX0" fmla="*/ 135921 w 134427"/>
                <a:gd name="connsiteY0" fmla="*/ 135921 h 134427"/>
                <a:gd name="connsiteX1" fmla="*/ 113516 w 134427"/>
                <a:gd name="connsiteY1" fmla="*/ 144883 h 134427"/>
                <a:gd name="connsiteX2" fmla="*/ 92605 w 134427"/>
                <a:gd name="connsiteY2" fmla="*/ 135921 h 134427"/>
                <a:gd name="connsiteX3" fmla="*/ 71694 w 134427"/>
                <a:gd name="connsiteY3" fmla="*/ 115010 h 134427"/>
                <a:gd name="connsiteX4" fmla="*/ 62733 w 134427"/>
                <a:gd name="connsiteY4" fmla="*/ 106048 h 134427"/>
                <a:gd name="connsiteX5" fmla="*/ 62733 w 134427"/>
                <a:gd name="connsiteY5" fmla="*/ 106048 h 134427"/>
                <a:gd name="connsiteX6" fmla="*/ 8962 w 134427"/>
                <a:gd name="connsiteY6" fmla="*/ 53771 h 134427"/>
                <a:gd name="connsiteX7" fmla="*/ 8962 w 134427"/>
                <a:gd name="connsiteY7" fmla="*/ 10456 h 134427"/>
                <a:gd name="connsiteX8" fmla="*/ 13443 w 134427"/>
                <a:gd name="connsiteY8" fmla="*/ 5975 h 134427"/>
                <a:gd name="connsiteX9" fmla="*/ 31366 w 134427"/>
                <a:gd name="connsiteY9" fmla="*/ 0 h 134427"/>
                <a:gd name="connsiteX10" fmla="*/ 52277 w 134427"/>
                <a:gd name="connsiteY10" fmla="*/ 8962 h 134427"/>
                <a:gd name="connsiteX11" fmla="*/ 64226 w 134427"/>
                <a:gd name="connsiteY11" fmla="*/ 20911 h 134427"/>
                <a:gd name="connsiteX12" fmla="*/ 67213 w 134427"/>
                <a:gd name="connsiteY12" fmla="*/ 23898 h 134427"/>
                <a:gd name="connsiteX13" fmla="*/ 135921 w 134427"/>
                <a:gd name="connsiteY13" fmla="*/ 91112 h 134427"/>
                <a:gd name="connsiteX14" fmla="*/ 135921 w 134427"/>
                <a:gd name="connsiteY14" fmla="*/ 135921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4427" h="134427">
                  <a:moveTo>
                    <a:pt x="135921" y="135921"/>
                  </a:moveTo>
                  <a:cubicBezTo>
                    <a:pt x="129946" y="141895"/>
                    <a:pt x="122478" y="144883"/>
                    <a:pt x="113516" y="144883"/>
                  </a:cubicBezTo>
                  <a:cubicBezTo>
                    <a:pt x="106048" y="144883"/>
                    <a:pt x="98580" y="141895"/>
                    <a:pt x="92605" y="135921"/>
                  </a:cubicBezTo>
                  <a:lnTo>
                    <a:pt x="71694" y="115010"/>
                  </a:lnTo>
                  <a:lnTo>
                    <a:pt x="62733" y="106048"/>
                  </a:lnTo>
                  <a:lnTo>
                    <a:pt x="62733" y="106048"/>
                  </a:lnTo>
                  <a:lnTo>
                    <a:pt x="8962" y="53771"/>
                  </a:lnTo>
                  <a:cubicBezTo>
                    <a:pt x="-2987" y="41822"/>
                    <a:pt x="-2987" y="22405"/>
                    <a:pt x="8962" y="10456"/>
                  </a:cubicBezTo>
                  <a:cubicBezTo>
                    <a:pt x="10455" y="8962"/>
                    <a:pt x="11949" y="7468"/>
                    <a:pt x="13443" y="5975"/>
                  </a:cubicBezTo>
                  <a:cubicBezTo>
                    <a:pt x="17924" y="2987"/>
                    <a:pt x="25392" y="0"/>
                    <a:pt x="31366" y="0"/>
                  </a:cubicBezTo>
                  <a:cubicBezTo>
                    <a:pt x="38835" y="0"/>
                    <a:pt x="46303" y="2987"/>
                    <a:pt x="52277" y="8962"/>
                  </a:cubicBezTo>
                  <a:lnTo>
                    <a:pt x="64226" y="20911"/>
                  </a:lnTo>
                  <a:lnTo>
                    <a:pt x="67213" y="23898"/>
                  </a:lnTo>
                  <a:lnTo>
                    <a:pt x="135921" y="91112"/>
                  </a:lnTo>
                  <a:cubicBezTo>
                    <a:pt x="146376" y="104554"/>
                    <a:pt x="146376" y="123972"/>
                    <a:pt x="135921" y="135921"/>
                  </a:cubicBez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0" name="任意多边形: 形状 10109"/>
            <p:cNvSpPr/>
            <p:nvPr/>
          </p:nvSpPr>
          <p:spPr>
            <a:xfrm>
              <a:off x="6495394" y="5336680"/>
              <a:ext cx="74682" cy="74682"/>
            </a:xfrm>
            <a:custGeom>
              <a:avLst/>
              <a:gdLst>
                <a:gd name="connsiteX0" fmla="*/ 77669 w 74681"/>
                <a:gd name="connsiteY0" fmla="*/ 58386 h 74681"/>
                <a:gd name="connsiteX1" fmla="*/ 31366 w 74681"/>
                <a:gd name="connsiteY1" fmla="*/ 3122 h 74681"/>
                <a:gd name="connsiteX2" fmla="*/ 22405 w 74681"/>
                <a:gd name="connsiteY2" fmla="*/ 1628 h 74681"/>
                <a:gd name="connsiteX3" fmla="*/ 1494 w 74681"/>
                <a:gd name="connsiteY3" fmla="*/ 18058 h 74681"/>
                <a:gd name="connsiteX4" fmla="*/ 0 w 74681"/>
                <a:gd name="connsiteY4" fmla="*/ 21045 h 74681"/>
                <a:gd name="connsiteX5" fmla="*/ 0 w 74681"/>
                <a:gd name="connsiteY5" fmla="*/ 21045 h 74681"/>
                <a:gd name="connsiteX6" fmla="*/ 0 w 74681"/>
                <a:gd name="connsiteY6" fmla="*/ 21045 h 74681"/>
                <a:gd name="connsiteX7" fmla="*/ 0 w 74681"/>
                <a:gd name="connsiteY7" fmla="*/ 21045 h 74681"/>
                <a:gd name="connsiteX8" fmla="*/ 1494 w 74681"/>
                <a:gd name="connsiteY8" fmla="*/ 25527 h 74681"/>
                <a:gd name="connsiteX9" fmla="*/ 46303 w 74681"/>
                <a:gd name="connsiteY9" fmla="*/ 80791 h 74681"/>
                <a:gd name="connsiteX10" fmla="*/ 55264 w 74681"/>
                <a:gd name="connsiteY10" fmla="*/ 83778 h 74681"/>
                <a:gd name="connsiteX11" fmla="*/ 77669 w 74681"/>
                <a:gd name="connsiteY11" fmla="*/ 67348 h 74681"/>
                <a:gd name="connsiteX12" fmla="*/ 79163 w 74681"/>
                <a:gd name="connsiteY12" fmla="*/ 62868 h 74681"/>
                <a:gd name="connsiteX13" fmla="*/ 79163 w 74681"/>
                <a:gd name="connsiteY13" fmla="*/ 62868 h 74681"/>
                <a:gd name="connsiteX14" fmla="*/ 79163 w 74681"/>
                <a:gd name="connsiteY14" fmla="*/ 62868 h 74681"/>
                <a:gd name="connsiteX15" fmla="*/ 79163 w 74681"/>
                <a:gd name="connsiteY15" fmla="*/ 62868 h 74681"/>
                <a:gd name="connsiteX16" fmla="*/ 77669 w 74681"/>
                <a:gd name="connsiteY16" fmla="*/ 58386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4681" h="74681">
                  <a:moveTo>
                    <a:pt x="77669" y="58386"/>
                  </a:moveTo>
                  <a:lnTo>
                    <a:pt x="31366" y="3122"/>
                  </a:lnTo>
                  <a:cubicBezTo>
                    <a:pt x="28379" y="135"/>
                    <a:pt x="25392" y="-1359"/>
                    <a:pt x="22405" y="1628"/>
                  </a:cubicBezTo>
                  <a:lnTo>
                    <a:pt x="1494" y="18058"/>
                  </a:lnTo>
                  <a:cubicBezTo>
                    <a:pt x="0" y="19552"/>
                    <a:pt x="0" y="19552"/>
                    <a:pt x="0" y="21045"/>
                  </a:cubicBezTo>
                  <a:cubicBezTo>
                    <a:pt x="0" y="21045"/>
                    <a:pt x="0" y="21045"/>
                    <a:pt x="0" y="21045"/>
                  </a:cubicBezTo>
                  <a:lnTo>
                    <a:pt x="0" y="21045"/>
                  </a:lnTo>
                  <a:lnTo>
                    <a:pt x="0" y="21045"/>
                  </a:lnTo>
                  <a:cubicBezTo>
                    <a:pt x="0" y="22539"/>
                    <a:pt x="0" y="24033"/>
                    <a:pt x="1494" y="25527"/>
                  </a:cubicBezTo>
                  <a:lnTo>
                    <a:pt x="46303" y="80791"/>
                  </a:lnTo>
                  <a:cubicBezTo>
                    <a:pt x="49290" y="83778"/>
                    <a:pt x="52277" y="85272"/>
                    <a:pt x="55264" y="83778"/>
                  </a:cubicBezTo>
                  <a:lnTo>
                    <a:pt x="77669" y="67348"/>
                  </a:lnTo>
                  <a:cubicBezTo>
                    <a:pt x="79163" y="65855"/>
                    <a:pt x="79163" y="64361"/>
                    <a:pt x="79163" y="62868"/>
                  </a:cubicBezTo>
                  <a:lnTo>
                    <a:pt x="79163" y="62868"/>
                  </a:lnTo>
                  <a:lnTo>
                    <a:pt x="79163" y="62868"/>
                  </a:lnTo>
                  <a:lnTo>
                    <a:pt x="79163" y="62868"/>
                  </a:lnTo>
                  <a:cubicBezTo>
                    <a:pt x="79163" y="61374"/>
                    <a:pt x="79163" y="59880"/>
                    <a:pt x="77669" y="58386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1" name="任意多边形: 形状 10110"/>
            <p:cNvSpPr/>
            <p:nvPr/>
          </p:nvSpPr>
          <p:spPr>
            <a:xfrm>
              <a:off x="6495394" y="5360713"/>
              <a:ext cx="14936" cy="14936"/>
            </a:xfrm>
            <a:custGeom>
              <a:avLst/>
              <a:gdLst>
                <a:gd name="connsiteX0" fmla="*/ 0 w 0"/>
                <a:gd name="connsiteY0" fmla="*/ 1494 h 0"/>
                <a:gd name="connsiteX1" fmla="*/ 0 w 0"/>
                <a:gd name="connsiteY1" fmla="*/ 0 h 0"/>
                <a:gd name="connsiteX2" fmla="*/ 0 w 0"/>
                <a:gd name="connsiteY2" fmla="*/ 14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494"/>
                  </a:moveTo>
                  <a:lnTo>
                    <a:pt x="0" y="0"/>
                  </a:lnTo>
                  <a:lnTo>
                    <a:pt x="0" y="1494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2" name="任意多边形: 形状 10111"/>
            <p:cNvSpPr/>
            <p:nvPr/>
          </p:nvSpPr>
          <p:spPr>
            <a:xfrm>
              <a:off x="6574557" y="5402534"/>
              <a:ext cx="14936" cy="14936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3" name="任意多边形: 形状 10112"/>
            <p:cNvSpPr/>
            <p:nvPr/>
          </p:nvSpPr>
          <p:spPr>
            <a:xfrm>
              <a:off x="6495394" y="5339667"/>
              <a:ext cx="74682" cy="74682"/>
            </a:xfrm>
            <a:custGeom>
              <a:avLst/>
              <a:gdLst>
                <a:gd name="connsiteX0" fmla="*/ 46303 w 74681"/>
                <a:gd name="connsiteY0" fmla="*/ 80791 h 74681"/>
                <a:gd name="connsiteX1" fmla="*/ 55264 w 74681"/>
                <a:gd name="connsiteY1" fmla="*/ 83778 h 74681"/>
                <a:gd name="connsiteX2" fmla="*/ 77669 w 74681"/>
                <a:gd name="connsiteY2" fmla="*/ 67348 h 74681"/>
                <a:gd name="connsiteX3" fmla="*/ 79163 w 74681"/>
                <a:gd name="connsiteY3" fmla="*/ 62867 h 74681"/>
                <a:gd name="connsiteX4" fmla="*/ 79163 w 74681"/>
                <a:gd name="connsiteY4" fmla="*/ 62867 h 74681"/>
                <a:gd name="connsiteX5" fmla="*/ 79163 w 74681"/>
                <a:gd name="connsiteY5" fmla="*/ 62867 h 74681"/>
                <a:gd name="connsiteX6" fmla="*/ 77669 w 74681"/>
                <a:gd name="connsiteY6" fmla="*/ 58386 h 74681"/>
                <a:gd name="connsiteX7" fmla="*/ 31366 w 74681"/>
                <a:gd name="connsiteY7" fmla="*/ 3122 h 74681"/>
                <a:gd name="connsiteX8" fmla="*/ 22405 w 74681"/>
                <a:gd name="connsiteY8" fmla="*/ 1628 h 74681"/>
                <a:gd name="connsiteX9" fmla="*/ 1494 w 74681"/>
                <a:gd name="connsiteY9" fmla="*/ 18058 h 74681"/>
                <a:gd name="connsiteX10" fmla="*/ 0 w 74681"/>
                <a:gd name="connsiteY10" fmla="*/ 21046 h 74681"/>
                <a:gd name="connsiteX11" fmla="*/ 0 w 74681"/>
                <a:gd name="connsiteY11" fmla="*/ 21046 h 74681"/>
                <a:gd name="connsiteX12" fmla="*/ 0 w 74681"/>
                <a:gd name="connsiteY12" fmla="*/ 21046 h 74681"/>
                <a:gd name="connsiteX13" fmla="*/ 1494 w 74681"/>
                <a:gd name="connsiteY13" fmla="*/ 25526 h 74681"/>
                <a:gd name="connsiteX14" fmla="*/ 46303 w 74681"/>
                <a:gd name="connsiteY14" fmla="*/ 80791 h 74681"/>
                <a:gd name="connsiteX15" fmla="*/ 13443 w 74681"/>
                <a:gd name="connsiteY15" fmla="*/ 10590 h 74681"/>
                <a:gd name="connsiteX16" fmla="*/ 13443 w 74681"/>
                <a:gd name="connsiteY16" fmla="*/ 12084 h 74681"/>
                <a:gd name="connsiteX17" fmla="*/ 11949 w 74681"/>
                <a:gd name="connsiteY17" fmla="*/ 12084 h 74681"/>
                <a:gd name="connsiteX18" fmla="*/ 11949 w 74681"/>
                <a:gd name="connsiteY18" fmla="*/ 10590 h 74681"/>
                <a:gd name="connsiteX19" fmla="*/ 13443 w 74681"/>
                <a:gd name="connsiteY19" fmla="*/ 10590 h 74681"/>
                <a:gd name="connsiteX20" fmla="*/ 44809 w 74681"/>
                <a:gd name="connsiteY20" fmla="*/ 73323 h 74681"/>
                <a:gd name="connsiteX21" fmla="*/ 4481 w 74681"/>
                <a:gd name="connsiteY21" fmla="*/ 24033 h 74681"/>
                <a:gd name="connsiteX22" fmla="*/ 4481 w 74681"/>
                <a:gd name="connsiteY22" fmla="*/ 21046 h 74681"/>
                <a:gd name="connsiteX23" fmla="*/ 25392 w 74681"/>
                <a:gd name="connsiteY23" fmla="*/ 4616 h 74681"/>
                <a:gd name="connsiteX24" fmla="*/ 28379 w 74681"/>
                <a:gd name="connsiteY24" fmla="*/ 4616 h 74681"/>
                <a:gd name="connsiteX25" fmla="*/ 68707 w 74681"/>
                <a:gd name="connsiteY25" fmla="*/ 53905 h 74681"/>
                <a:gd name="connsiteX26" fmla="*/ 68707 w 74681"/>
                <a:gd name="connsiteY26" fmla="*/ 56893 h 74681"/>
                <a:gd name="connsiteX27" fmla="*/ 47796 w 74681"/>
                <a:gd name="connsiteY27" fmla="*/ 73323 h 74681"/>
                <a:gd name="connsiteX28" fmla="*/ 44809 w 74681"/>
                <a:gd name="connsiteY28" fmla="*/ 73323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4681" h="74681">
                  <a:moveTo>
                    <a:pt x="46303" y="80791"/>
                  </a:moveTo>
                  <a:cubicBezTo>
                    <a:pt x="49290" y="83778"/>
                    <a:pt x="52277" y="85272"/>
                    <a:pt x="55264" y="83778"/>
                  </a:cubicBezTo>
                  <a:lnTo>
                    <a:pt x="77669" y="67348"/>
                  </a:lnTo>
                  <a:cubicBezTo>
                    <a:pt x="79163" y="65855"/>
                    <a:pt x="79163" y="64361"/>
                    <a:pt x="79163" y="62867"/>
                  </a:cubicBezTo>
                  <a:cubicBezTo>
                    <a:pt x="79163" y="62867"/>
                    <a:pt x="79163" y="62867"/>
                    <a:pt x="79163" y="62867"/>
                  </a:cubicBezTo>
                  <a:cubicBezTo>
                    <a:pt x="79163" y="62867"/>
                    <a:pt x="79163" y="62867"/>
                    <a:pt x="79163" y="62867"/>
                  </a:cubicBezTo>
                  <a:cubicBezTo>
                    <a:pt x="79163" y="61373"/>
                    <a:pt x="79163" y="59880"/>
                    <a:pt x="77669" y="58386"/>
                  </a:cubicBezTo>
                  <a:lnTo>
                    <a:pt x="31366" y="3122"/>
                  </a:lnTo>
                  <a:cubicBezTo>
                    <a:pt x="28379" y="135"/>
                    <a:pt x="25392" y="-1359"/>
                    <a:pt x="22405" y="1628"/>
                  </a:cubicBezTo>
                  <a:lnTo>
                    <a:pt x="1494" y="18058"/>
                  </a:lnTo>
                  <a:cubicBezTo>
                    <a:pt x="0" y="19552"/>
                    <a:pt x="0" y="19552"/>
                    <a:pt x="0" y="21046"/>
                  </a:cubicBezTo>
                  <a:cubicBezTo>
                    <a:pt x="0" y="21046"/>
                    <a:pt x="0" y="21046"/>
                    <a:pt x="0" y="21046"/>
                  </a:cubicBezTo>
                  <a:cubicBezTo>
                    <a:pt x="0" y="21046"/>
                    <a:pt x="0" y="21046"/>
                    <a:pt x="0" y="21046"/>
                  </a:cubicBezTo>
                  <a:cubicBezTo>
                    <a:pt x="0" y="22539"/>
                    <a:pt x="0" y="24033"/>
                    <a:pt x="1494" y="25526"/>
                  </a:cubicBezTo>
                  <a:lnTo>
                    <a:pt x="46303" y="80791"/>
                  </a:lnTo>
                  <a:close/>
                  <a:moveTo>
                    <a:pt x="13443" y="10590"/>
                  </a:moveTo>
                  <a:cubicBezTo>
                    <a:pt x="13443" y="10590"/>
                    <a:pt x="13443" y="12084"/>
                    <a:pt x="13443" y="12084"/>
                  </a:cubicBezTo>
                  <a:cubicBezTo>
                    <a:pt x="13443" y="12084"/>
                    <a:pt x="11949" y="12084"/>
                    <a:pt x="11949" y="12084"/>
                  </a:cubicBezTo>
                  <a:cubicBezTo>
                    <a:pt x="11949" y="12084"/>
                    <a:pt x="11949" y="10590"/>
                    <a:pt x="11949" y="10590"/>
                  </a:cubicBezTo>
                  <a:cubicBezTo>
                    <a:pt x="11949" y="9096"/>
                    <a:pt x="13443" y="10590"/>
                    <a:pt x="13443" y="10590"/>
                  </a:cubicBezTo>
                  <a:close/>
                  <a:moveTo>
                    <a:pt x="44809" y="73323"/>
                  </a:moveTo>
                  <a:lnTo>
                    <a:pt x="4481" y="24033"/>
                  </a:lnTo>
                  <a:cubicBezTo>
                    <a:pt x="2987" y="22539"/>
                    <a:pt x="2987" y="21046"/>
                    <a:pt x="4481" y="21046"/>
                  </a:cubicBezTo>
                  <a:lnTo>
                    <a:pt x="25392" y="4616"/>
                  </a:lnTo>
                  <a:cubicBezTo>
                    <a:pt x="26885" y="4616"/>
                    <a:pt x="28379" y="4616"/>
                    <a:pt x="28379" y="4616"/>
                  </a:cubicBezTo>
                  <a:lnTo>
                    <a:pt x="68707" y="53905"/>
                  </a:lnTo>
                  <a:cubicBezTo>
                    <a:pt x="70201" y="55399"/>
                    <a:pt x="70201" y="56893"/>
                    <a:pt x="68707" y="56893"/>
                  </a:cubicBezTo>
                  <a:lnTo>
                    <a:pt x="47796" y="73323"/>
                  </a:lnTo>
                  <a:cubicBezTo>
                    <a:pt x="47796" y="74817"/>
                    <a:pt x="46303" y="74817"/>
                    <a:pt x="44809" y="73323"/>
                  </a:cubicBezTo>
                  <a:close/>
                </a:path>
              </a:pathLst>
            </a:custGeom>
            <a:solidFill>
              <a:srgbClr val="706F6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4" name="任意多边形: 形状 10113"/>
            <p:cNvSpPr/>
            <p:nvPr/>
          </p:nvSpPr>
          <p:spPr>
            <a:xfrm>
              <a:off x="6507344" y="5350257"/>
              <a:ext cx="14936" cy="14936"/>
            </a:xfrm>
            <a:custGeom>
              <a:avLst/>
              <a:gdLst>
                <a:gd name="connsiteX0" fmla="*/ 1493 w 0"/>
                <a:gd name="connsiteY0" fmla="*/ 1494 h 0"/>
                <a:gd name="connsiteX1" fmla="*/ 0 w 0"/>
                <a:gd name="connsiteY1" fmla="*/ 1494 h 0"/>
                <a:gd name="connsiteX2" fmla="*/ 0 w 0"/>
                <a:gd name="connsiteY2" fmla="*/ 0 h 0"/>
                <a:gd name="connsiteX3" fmla="*/ 1493 w 0"/>
                <a:gd name="connsiteY3" fmla="*/ 0 h 0"/>
                <a:gd name="connsiteX4" fmla="*/ 1493 w 0"/>
                <a:gd name="connsiteY4" fmla="*/ 14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493" y="1494"/>
                  </a:moveTo>
                  <a:cubicBezTo>
                    <a:pt x="1493" y="1494"/>
                    <a:pt x="0" y="1494"/>
                    <a:pt x="0" y="1494"/>
                  </a:cubicBezTo>
                  <a:cubicBezTo>
                    <a:pt x="0" y="1494"/>
                    <a:pt x="0" y="0"/>
                    <a:pt x="0" y="0"/>
                  </a:cubicBezTo>
                  <a:cubicBezTo>
                    <a:pt x="0" y="0"/>
                    <a:pt x="1493" y="0"/>
                    <a:pt x="1493" y="0"/>
                  </a:cubicBezTo>
                  <a:cubicBezTo>
                    <a:pt x="2987" y="0"/>
                    <a:pt x="2987" y="1494"/>
                    <a:pt x="1493" y="1494"/>
                  </a:cubicBezTo>
                  <a:close/>
                </a:path>
              </a:pathLst>
            </a:custGeom>
            <a:solidFill>
              <a:srgbClr val="EE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5" name="任意多边形: 形状 10114"/>
            <p:cNvSpPr/>
            <p:nvPr/>
          </p:nvSpPr>
          <p:spPr>
            <a:xfrm>
              <a:off x="6498755" y="5344656"/>
              <a:ext cx="59745" cy="59745"/>
            </a:xfrm>
            <a:custGeom>
              <a:avLst/>
              <a:gdLst>
                <a:gd name="connsiteX0" fmla="*/ 65347 w 59745"/>
                <a:gd name="connsiteY0" fmla="*/ 50410 h 59745"/>
                <a:gd name="connsiteX1" fmla="*/ 25018 w 59745"/>
                <a:gd name="connsiteY1" fmla="*/ 1120 h 59745"/>
                <a:gd name="connsiteX2" fmla="*/ 22031 w 59745"/>
                <a:gd name="connsiteY2" fmla="*/ 1120 h 59745"/>
                <a:gd name="connsiteX3" fmla="*/ 1120 w 59745"/>
                <a:gd name="connsiteY3" fmla="*/ 17550 h 59745"/>
                <a:gd name="connsiteX4" fmla="*/ 1120 w 59745"/>
                <a:gd name="connsiteY4" fmla="*/ 20537 h 59745"/>
                <a:gd name="connsiteX5" fmla="*/ 41448 w 59745"/>
                <a:gd name="connsiteY5" fmla="*/ 69828 h 59745"/>
                <a:gd name="connsiteX6" fmla="*/ 44436 w 59745"/>
                <a:gd name="connsiteY6" fmla="*/ 71321 h 59745"/>
                <a:gd name="connsiteX7" fmla="*/ 65347 w 59745"/>
                <a:gd name="connsiteY7" fmla="*/ 54891 h 59745"/>
                <a:gd name="connsiteX8" fmla="*/ 65347 w 59745"/>
                <a:gd name="connsiteY8" fmla="*/ 50410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59745">
                  <a:moveTo>
                    <a:pt x="65347" y="50410"/>
                  </a:moveTo>
                  <a:lnTo>
                    <a:pt x="25018" y="1120"/>
                  </a:lnTo>
                  <a:cubicBezTo>
                    <a:pt x="23525" y="-373"/>
                    <a:pt x="22031" y="-373"/>
                    <a:pt x="22031" y="1120"/>
                  </a:cubicBezTo>
                  <a:lnTo>
                    <a:pt x="1120" y="17550"/>
                  </a:lnTo>
                  <a:cubicBezTo>
                    <a:pt x="-373" y="17550"/>
                    <a:pt x="-373" y="19044"/>
                    <a:pt x="1120" y="20537"/>
                  </a:cubicBezTo>
                  <a:lnTo>
                    <a:pt x="41448" y="69828"/>
                  </a:lnTo>
                  <a:cubicBezTo>
                    <a:pt x="42942" y="71321"/>
                    <a:pt x="44436" y="71321"/>
                    <a:pt x="44436" y="71321"/>
                  </a:cubicBezTo>
                  <a:lnTo>
                    <a:pt x="65347" y="54891"/>
                  </a:lnTo>
                  <a:cubicBezTo>
                    <a:pt x="66840" y="51904"/>
                    <a:pt x="66840" y="50410"/>
                    <a:pt x="65347" y="50410"/>
                  </a:cubicBezTo>
                  <a:close/>
                </a:path>
              </a:pathLst>
            </a:custGeom>
            <a:solidFill>
              <a:srgbClr val="00C2B9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6" name="任意多边形: 形状 10115"/>
            <p:cNvSpPr/>
            <p:nvPr/>
          </p:nvSpPr>
          <p:spPr>
            <a:xfrm>
              <a:off x="6552526" y="5405522"/>
              <a:ext cx="14936" cy="14936"/>
            </a:xfrm>
            <a:custGeom>
              <a:avLst/>
              <a:gdLst>
                <a:gd name="connsiteX0" fmla="*/ 1120 w 0"/>
                <a:gd name="connsiteY0" fmla="*/ 4481 h 0"/>
                <a:gd name="connsiteX1" fmla="*/ 5601 w 0"/>
                <a:gd name="connsiteY1" fmla="*/ 0 h 0"/>
                <a:gd name="connsiteX2" fmla="*/ 8588 w 0"/>
                <a:gd name="connsiteY2" fmla="*/ 0 h 0"/>
                <a:gd name="connsiteX3" fmla="*/ 8588 w 0"/>
                <a:gd name="connsiteY3" fmla="*/ 0 h 0"/>
                <a:gd name="connsiteX4" fmla="*/ 8588 w 0"/>
                <a:gd name="connsiteY4" fmla="*/ 2987 h 0"/>
                <a:gd name="connsiteX5" fmla="*/ 4108 w 0"/>
                <a:gd name="connsiteY5" fmla="*/ 7468 h 0"/>
                <a:gd name="connsiteX6" fmla="*/ 1120 w 0"/>
                <a:gd name="connsiteY6" fmla="*/ 7468 h 0"/>
                <a:gd name="connsiteX7" fmla="*/ 1120 w 0"/>
                <a:gd name="connsiteY7" fmla="*/ 7468 h 0"/>
                <a:gd name="connsiteX8" fmla="*/ 1120 w 0"/>
                <a:gd name="connsiteY8" fmla="*/ 448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>
                  <a:moveTo>
                    <a:pt x="1120" y="4481"/>
                  </a:moveTo>
                  <a:lnTo>
                    <a:pt x="5601" y="0"/>
                  </a:lnTo>
                  <a:cubicBezTo>
                    <a:pt x="7095" y="0"/>
                    <a:pt x="7095" y="0"/>
                    <a:pt x="8588" y="0"/>
                  </a:cubicBezTo>
                  <a:lnTo>
                    <a:pt x="8588" y="0"/>
                  </a:lnTo>
                  <a:cubicBezTo>
                    <a:pt x="10082" y="1494"/>
                    <a:pt x="10082" y="1494"/>
                    <a:pt x="8588" y="2987"/>
                  </a:cubicBezTo>
                  <a:lnTo>
                    <a:pt x="4108" y="7468"/>
                  </a:lnTo>
                  <a:cubicBezTo>
                    <a:pt x="2614" y="7468"/>
                    <a:pt x="2614" y="7468"/>
                    <a:pt x="1120" y="7468"/>
                  </a:cubicBezTo>
                  <a:lnTo>
                    <a:pt x="1120" y="7468"/>
                  </a:lnTo>
                  <a:cubicBezTo>
                    <a:pt x="-373" y="5974"/>
                    <a:pt x="-373" y="5974"/>
                    <a:pt x="1120" y="4481"/>
                  </a:cubicBezTo>
                  <a:close/>
                </a:path>
              </a:pathLst>
            </a:custGeom>
            <a:solidFill>
              <a:srgbClr val="EE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7" name="任意多边形: 形状 10116"/>
            <p:cNvSpPr/>
            <p:nvPr/>
          </p:nvSpPr>
          <p:spPr>
            <a:xfrm>
              <a:off x="6393081" y="6180344"/>
              <a:ext cx="89618" cy="44809"/>
            </a:xfrm>
            <a:custGeom>
              <a:avLst/>
              <a:gdLst>
                <a:gd name="connsiteX0" fmla="*/ 6721 w 89618"/>
                <a:gd name="connsiteY0" fmla="*/ 3361 h 44809"/>
                <a:gd name="connsiteX1" fmla="*/ 6721 w 89618"/>
                <a:gd name="connsiteY1" fmla="*/ 22778 h 44809"/>
                <a:gd name="connsiteX2" fmla="*/ 58999 w 89618"/>
                <a:gd name="connsiteY2" fmla="*/ 52651 h 44809"/>
                <a:gd name="connsiteX3" fmla="*/ 91859 w 89618"/>
                <a:gd name="connsiteY3" fmla="*/ 52651 h 44809"/>
                <a:gd name="connsiteX4" fmla="*/ 91859 w 89618"/>
                <a:gd name="connsiteY4" fmla="*/ 52651 h 44809"/>
                <a:gd name="connsiteX5" fmla="*/ 91859 w 89618"/>
                <a:gd name="connsiteY5" fmla="*/ 33234 h 44809"/>
                <a:gd name="connsiteX6" fmla="*/ 39581 w 89618"/>
                <a:gd name="connsiteY6" fmla="*/ 3361 h 44809"/>
                <a:gd name="connsiteX7" fmla="*/ 6721 w 89618"/>
                <a:gd name="connsiteY7" fmla="*/ 3361 h 44809"/>
                <a:gd name="connsiteX8" fmla="*/ 6721 w 89618"/>
                <a:gd name="connsiteY8" fmla="*/ 336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3361"/>
                  </a:moveTo>
                  <a:cubicBezTo>
                    <a:pt x="-2240" y="9335"/>
                    <a:pt x="-2240" y="16803"/>
                    <a:pt x="6721" y="22778"/>
                  </a:cubicBezTo>
                  <a:lnTo>
                    <a:pt x="58999" y="52651"/>
                  </a:lnTo>
                  <a:cubicBezTo>
                    <a:pt x="67960" y="58625"/>
                    <a:pt x="82897" y="58625"/>
                    <a:pt x="91859" y="52651"/>
                  </a:cubicBezTo>
                  <a:lnTo>
                    <a:pt x="91859" y="52651"/>
                  </a:lnTo>
                  <a:cubicBezTo>
                    <a:pt x="100820" y="46676"/>
                    <a:pt x="100820" y="39208"/>
                    <a:pt x="91859" y="33234"/>
                  </a:cubicBezTo>
                  <a:lnTo>
                    <a:pt x="39581" y="3361"/>
                  </a:lnTo>
                  <a:cubicBezTo>
                    <a:pt x="32113" y="-1120"/>
                    <a:pt x="15683" y="-1120"/>
                    <a:pt x="6721" y="3361"/>
                  </a:cubicBezTo>
                  <a:lnTo>
                    <a:pt x="6721" y="3361"/>
                  </a:ln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8" name="任意多边形: 形状 10117"/>
            <p:cNvSpPr/>
            <p:nvPr/>
          </p:nvSpPr>
          <p:spPr>
            <a:xfrm>
              <a:off x="6392334" y="6150845"/>
              <a:ext cx="89618" cy="74682"/>
            </a:xfrm>
            <a:custGeom>
              <a:avLst/>
              <a:gdLst>
                <a:gd name="connsiteX0" fmla="*/ 56758 w 89618"/>
                <a:gd name="connsiteY0" fmla="*/ 2987 h 74681"/>
                <a:gd name="connsiteX1" fmla="*/ 17924 w 89618"/>
                <a:gd name="connsiteY1" fmla="*/ 0 h 74681"/>
                <a:gd name="connsiteX2" fmla="*/ 0 w 89618"/>
                <a:gd name="connsiteY2" fmla="*/ 43315 h 74681"/>
                <a:gd name="connsiteX3" fmla="*/ 100073 w 89618"/>
                <a:gd name="connsiteY3" fmla="*/ 76175 h 74681"/>
                <a:gd name="connsiteX4" fmla="*/ 67214 w 89618"/>
                <a:gd name="connsiteY4" fmla="*/ 29873 h 74681"/>
                <a:gd name="connsiteX5" fmla="*/ 56758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56758" y="2987"/>
                  </a:moveTo>
                  <a:lnTo>
                    <a:pt x="17924" y="0"/>
                  </a:lnTo>
                  <a:cubicBezTo>
                    <a:pt x="8962" y="10456"/>
                    <a:pt x="2987" y="23898"/>
                    <a:pt x="0" y="43315"/>
                  </a:cubicBezTo>
                  <a:lnTo>
                    <a:pt x="100073" y="76175"/>
                  </a:lnTo>
                  <a:cubicBezTo>
                    <a:pt x="103061" y="62733"/>
                    <a:pt x="86631" y="43315"/>
                    <a:pt x="67214" y="29873"/>
                  </a:cubicBezTo>
                  <a:cubicBezTo>
                    <a:pt x="61239" y="22405"/>
                    <a:pt x="64226" y="10456"/>
                    <a:pt x="56758" y="2987"/>
                  </a:cubicBez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9" name="任意多边形: 形状 10118"/>
            <p:cNvSpPr/>
            <p:nvPr/>
          </p:nvSpPr>
          <p:spPr>
            <a:xfrm>
              <a:off x="6506597" y="6114998"/>
              <a:ext cx="89618" cy="44809"/>
            </a:xfrm>
            <a:custGeom>
              <a:avLst/>
              <a:gdLst>
                <a:gd name="connsiteX0" fmla="*/ 6721 w 89618"/>
                <a:gd name="connsiteY0" fmla="*/ 4481 h 44809"/>
                <a:gd name="connsiteX1" fmla="*/ 6721 w 89618"/>
                <a:gd name="connsiteY1" fmla="*/ 23898 h 44809"/>
                <a:gd name="connsiteX2" fmla="*/ 58998 w 89618"/>
                <a:gd name="connsiteY2" fmla="*/ 53771 h 44809"/>
                <a:gd name="connsiteX3" fmla="*/ 91858 w 89618"/>
                <a:gd name="connsiteY3" fmla="*/ 53771 h 44809"/>
                <a:gd name="connsiteX4" fmla="*/ 91858 w 89618"/>
                <a:gd name="connsiteY4" fmla="*/ 53771 h 44809"/>
                <a:gd name="connsiteX5" fmla="*/ 91858 w 89618"/>
                <a:gd name="connsiteY5" fmla="*/ 34354 h 44809"/>
                <a:gd name="connsiteX6" fmla="*/ 39581 w 89618"/>
                <a:gd name="connsiteY6" fmla="*/ 4481 h 44809"/>
                <a:gd name="connsiteX7" fmla="*/ 6721 w 89618"/>
                <a:gd name="connsiteY7" fmla="*/ 4481 h 44809"/>
                <a:gd name="connsiteX8" fmla="*/ 6721 w 89618"/>
                <a:gd name="connsiteY8" fmla="*/ 448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4481"/>
                  </a:moveTo>
                  <a:cubicBezTo>
                    <a:pt x="-2240" y="10455"/>
                    <a:pt x="-2240" y="17923"/>
                    <a:pt x="6721" y="23898"/>
                  </a:cubicBezTo>
                  <a:lnTo>
                    <a:pt x="58998" y="53771"/>
                  </a:lnTo>
                  <a:cubicBezTo>
                    <a:pt x="67960" y="59745"/>
                    <a:pt x="82897" y="59745"/>
                    <a:pt x="91858" y="53771"/>
                  </a:cubicBezTo>
                  <a:lnTo>
                    <a:pt x="91858" y="53771"/>
                  </a:lnTo>
                  <a:cubicBezTo>
                    <a:pt x="100820" y="47796"/>
                    <a:pt x="100820" y="40328"/>
                    <a:pt x="91858" y="34354"/>
                  </a:cubicBezTo>
                  <a:lnTo>
                    <a:pt x="39581" y="4481"/>
                  </a:lnTo>
                  <a:cubicBezTo>
                    <a:pt x="30619" y="-1494"/>
                    <a:pt x="15683" y="-1494"/>
                    <a:pt x="6721" y="4481"/>
                  </a:cubicBezTo>
                  <a:lnTo>
                    <a:pt x="6721" y="4481"/>
                  </a:ln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0" name="任意多边形: 形状 10119"/>
            <p:cNvSpPr/>
            <p:nvPr/>
          </p:nvSpPr>
          <p:spPr>
            <a:xfrm>
              <a:off x="6505850" y="6085125"/>
              <a:ext cx="89618" cy="74682"/>
            </a:xfrm>
            <a:custGeom>
              <a:avLst/>
              <a:gdLst>
                <a:gd name="connsiteX0" fmla="*/ 56758 w 89618"/>
                <a:gd name="connsiteY0" fmla="*/ 2987 h 74681"/>
                <a:gd name="connsiteX1" fmla="*/ 17924 w 89618"/>
                <a:gd name="connsiteY1" fmla="*/ 0 h 74681"/>
                <a:gd name="connsiteX2" fmla="*/ 0 w 89618"/>
                <a:gd name="connsiteY2" fmla="*/ 43315 h 74681"/>
                <a:gd name="connsiteX3" fmla="*/ 100073 w 89618"/>
                <a:gd name="connsiteY3" fmla="*/ 76175 h 74681"/>
                <a:gd name="connsiteX4" fmla="*/ 67214 w 89618"/>
                <a:gd name="connsiteY4" fmla="*/ 29873 h 74681"/>
                <a:gd name="connsiteX5" fmla="*/ 56758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56758" y="2987"/>
                  </a:moveTo>
                  <a:lnTo>
                    <a:pt x="17924" y="0"/>
                  </a:lnTo>
                  <a:cubicBezTo>
                    <a:pt x="8962" y="10455"/>
                    <a:pt x="2987" y="23898"/>
                    <a:pt x="0" y="43315"/>
                  </a:cubicBezTo>
                  <a:lnTo>
                    <a:pt x="100073" y="76175"/>
                  </a:lnTo>
                  <a:cubicBezTo>
                    <a:pt x="103061" y="62732"/>
                    <a:pt x="86631" y="43315"/>
                    <a:pt x="67214" y="29873"/>
                  </a:cubicBezTo>
                  <a:cubicBezTo>
                    <a:pt x="59745" y="23898"/>
                    <a:pt x="64226" y="10455"/>
                    <a:pt x="56758" y="2987"/>
                  </a:cubicBez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1" name="任意多边形: 形状 10120"/>
            <p:cNvSpPr/>
            <p:nvPr/>
          </p:nvSpPr>
          <p:spPr>
            <a:xfrm>
              <a:off x="6475977" y="5684831"/>
              <a:ext cx="104554" cy="224045"/>
            </a:xfrm>
            <a:custGeom>
              <a:avLst/>
              <a:gdLst>
                <a:gd name="connsiteX0" fmla="*/ 110529 w 104554"/>
                <a:gd name="connsiteY0" fmla="*/ 215084 h 224045"/>
                <a:gd name="connsiteX1" fmla="*/ 29873 w 104554"/>
                <a:gd name="connsiteY1" fmla="*/ 225539 h 224045"/>
                <a:gd name="connsiteX2" fmla="*/ 26885 w 104554"/>
                <a:gd name="connsiteY2" fmla="*/ 207616 h 224045"/>
                <a:gd name="connsiteX3" fmla="*/ 13443 w 104554"/>
                <a:gd name="connsiteY3" fmla="*/ 107542 h 224045"/>
                <a:gd name="connsiteX4" fmla="*/ 0 w 104554"/>
                <a:gd name="connsiteY4" fmla="*/ 10456 h 224045"/>
                <a:gd name="connsiteX5" fmla="*/ 82150 w 104554"/>
                <a:gd name="connsiteY5" fmla="*/ 0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554" h="224045">
                  <a:moveTo>
                    <a:pt x="110529" y="215084"/>
                  </a:moveTo>
                  <a:lnTo>
                    <a:pt x="29873" y="225539"/>
                  </a:lnTo>
                  <a:lnTo>
                    <a:pt x="26885" y="207616"/>
                  </a:lnTo>
                  <a:lnTo>
                    <a:pt x="13443" y="107542"/>
                  </a:lnTo>
                  <a:lnTo>
                    <a:pt x="0" y="10456"/>
                  </a:lnTo>
                  <a:lnTo>
                    <a:pt x="82150" y="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2" name="任意多边形: 形状 10121"/>
            <p:cNvSpPr/>
            <p:nvPr/>
          </p:nvSpPr>
          <p:spPr>
            <a:xfrm>
              <a:off x="6489420" y="5775943"/>
              <a:ext cx="14936" cy="104554"/>
            </a:xfrm>
            <a:custGeom>
              <a:avLst/>
              <a:gdLst>
                <a:gd name="connsiteX0" fmla="*/ 28379 w 14936"/>
                <a:gd name="connsiteY0" fmla="*/ 0 h 104554"/>
                <a:gd name="connsiteX1" fmla="*/ 17924 w 14936"/>
                <a:gd name="connsiteY1" fmla="*/ 59745 h 104554"/>
                <a:gd name="connsiteX2" fmla="*/ 13443 w 14936"/>
                <a:gd name="connsiteY2" fmla="*/ 116504 h 104554"/>
                <a:gd name="connsiteX3" fmla="*/ 0 w 14936"/>
                <a:gd name="connsiteY3" fmla="*/ 14936 h 104554"/>
                <a:gd name="connsiteX4" fmla="*/ 2987 w 14936"/>
                <a:gd name="connsiteY4" fmla="*/ 11949 h 104554"/>
                <a:gd name="connsiteX5" fmla="*/ 28379 w 14936"/>
                <a:gd name="connsiteY5" fmla="*/ 0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 h="104554">
                  <a:moveTo>
                    <a:pt x="28379" y="0"/>
                  </a:moveTo>
                  <a:cubicBezTo>
                    <a:pt x="20911" y="19418"/>
                    <a:pt x="19417" y="40328"/>
                    <a:pt x="17924" y="59745"/>
                  </a:cubicBezTo>
                  <a:cubicBezTo>
                    <a:pt x="16430" y="79163"/>
                    <a:pt x="14936" y="98580"/>
                    <a:pt x="13443" y="116504"/>
                  </a:cubicBezTo>
                  <a:lnTo>
                    <a:pt x="0" y="14936"/>
                  </a:lnTo>
                  <a:cubicBezTo>
                    <a:pt x="1493" y="13443"/>
                    <a:pt x="2987" y="13443"/>
                    <a:pt x="2987" y="11949"/>
                  </a:cubicBezTo>
                  <a:cubicBezTo>
                    <a:pt x="11949" y="8962"/>
                    <a:pt x="19417" y="4481"/>
                    <a:pt x="28379" y="0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3" name="任意多边形: 形状 10122"/>
            <p:cNvSpPr/>
            <p:nvPr/>
          </p:nvSpPr>
          <p:spPr>
            <a:xfrm>
              <a:off x="6499502" y="6070936"/>
              <a:ext cx="74682" cy="44809"/>
            </a:xfrm>
            <a:custGeom>
              <a:avLst/>
              <a:gdLst>
                <a:gd name="connsiteX0" fmla="*/ 69080 w 74681"/>
                <a:gd name="connsiteY0" fmla="*/ 6721 h 44809"/>
                <a:gd name="connsiteX1" fmla="*/ 69080 w 74681"/>
                <a:gd name="connsiteY1" fmla="*/ 39581 h 44809"/>
                <a:gd name="connsiteX2" fmla="*/ 12323 w 74681"/>
                <a:gd name="connsiteY2" fmla="*/ 39581 h 44809"/>
                <a:gd name="connsiteX3" fmla="*/ 12323 w 74681"/>
                <a:gd name="connsiteY3" fmla="*/ 6721 h 44809"/>
                <a:gd name="connsiteX4" fmla="*/ 69080 w 74681"/>
                <a:gd name="connsiteY4" fmla="*/ 672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69080" y="6721"/>
                  </a:moveTo>
                  <a:cubicBezTo>
                    <a:pt x="85511" y="15683"/>
                    <a:pt x="85511" y="30620"/>
                    <a:pt x="69080" y="39581"/>
                  </a:cubicBezTo>
                  <a:cubicBezTo>
                    <a:pt x="52651" y="48543"/>
                    <a:pt x="27259" y="48543"/>
                    <a:pt x="12323" y="39581"/>
                  </a:cubicBezTo>
                  <a:cubicBezTo>
                    <a:pt x="-4108" y="30620"/>
                    <a:pt x="-4108" y="15683"/>
                    <a:pt x="12323" y="6721"/>
                  </a:cubicBezTo>
                  <a:cubicBezTo>
                    <a:pt x="27259" y="-2240"/>
                    <a:pt x="54144" y="-2240"/>
                    <a:pt x="69080" y="672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4" name="任意多边形: 形状 10123"/>
            <p:cNvSpPr/>
            <p:nvPr/>
          </p:nvSpPr>
          <p:spPr>
            <a:xfrm>
              <a:off x="6499061" y="5859356"/>
              <a:ext cx="89618" cy="224045"/>
            </a:xfrm>
            <a:custGeom>
              <a:avLst/>
              <a:gdLst>
                <a:gd name="connsiteX0" fmla="*/ 814 w 89618"/>
                <a:gd name="connsiteY0" fmla="*/ 234731 h 224045"/>
                <a:gd name="connsiteX1" fmla="*/ 6789 w 89618"/>
                <a:gd name="connsiteY1" fmla="*/ 51014 h 224045"/>
                <a:gd name="connsiteX2" fmla="*/ 23219 w 89618"/>
                <a:gd name="connsiteY2" fmla="*/ 12179 h 224045"/>
                <a:gd name="connsiteX3" fmla="*/ 57572 w 89618"/>
                <a:gd name="connsiteY3" fmla="*/ 230 h 224045"/>
                <a:gd name="connsiteX4" fmla="*/ 88938 w 89618"/>
                <a:gd name="connsiteY4" fmla="*/ 40559 h 224045"/>
                <a:gd name="connsiteX5" fmla="*/ 82964 w 89618"/>
                <a:gd name="connsiteY5" fmla="*/ 234731 h 224045"/>
                <a:gd name="connsiteX6" fmla="*/ 59066 w 89618"/>
                <a:gd name="connsiteY6" fmla="*/ 234731 h 224045"/>
                <a:gd name="connsiteX7" fmla="*/ 814 w 89618"/>
                <a:gd name="connsiteY7" fmla="*/ 234731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618" h="224045">
                  <a:moveTo>
                    <a:pt x="814" y="234731"/>
                  </a:moveTo>
                  <a:cubicBezTo>
                    <a:pt x="-2173" y="174986"/>
                    <a:pt x="3801" y="58482"/>
                    <a:pt x="6789" y="51014"/>
                  </a:cubicBezTo>
                  <a:cubicBezTo>
                    <a:pt x="11270" y="43546"/>
                    <a:pt x="15750" y="16661"/>
                    <a:pt x="23219" y="12179"/>
                  </a:cubicBezTo>
                  <a:cubicBezTo>
                    <a:pt x="33674" y="4711"/>
                    <a:pt x="45623" y="-1263"/>
                    <a:pt x="57572" y="230"/>
                  </a:cubicBezTo>
                  <a:cubicBezTo>
                    <a:pt x="72509" y="1724"/>
                    <a:pt x="85951" y="25622"/>
                    <a:pt x="88938" y="40559"/>
                  </a:cubicBezTo>
                  <a:cubicBezTo>
                    <a:pt x="91926" y="55495"/>
                    <a:pt x="84458" y="227263"/>
                    <a:pt x="82964" y="234731"/>
                  </a:cubicBezTo>
                  <a:cubicBezTo>
                    <a:pt x="81470" y="243693"/>
                    <a:pt x="68028" y="231744"/>
                    <a:pt x="59066" y="234731"/>
                  </a:cubicBezTo>
                  <a:lnTo>
                    <a:pt x="814" y="234731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5" name="任意多边形: 形状 10124"/>
            <p:cNvSpPr/>
            <p:nvPr/>
          </p:nvSpPr>
          <p:spPr>
            <a:xfrm>
              <a:off x="6410257" y="5738602"/>
              <a:ext cx="74682" cy="209109"/>
            </a:xfrm>
            <a:custGeom>
              <a:avLst/>
              <a:gdLst>
                <a:gd name="connsiteX0" fmla="*/ 0 w 74681"/>
                <a:gd name="connsiteY0" fmla="*/ 0 h 209108"/>
                <a:gd name="connsiteX1" fmla="*/ 82150 w 74681"/>
                <a:gd name="connsiteY1" fmla="*/ 0 h 209108"/>
                <a:gd name="connsiteX2" fmla="*/ 82150 w 74681"/>
                <a:gd name="connsiteY2" fmla="*/ 216577 h 209108"/>
                <a:gd name="connsiteX3" fmla="*/ 0 w 74681"/>
                <a:gd name="connsiteY3" fmla="*/ 216577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209108">
                  <a:moveTo>
                    <a:pt x="0" y="0"/>
                  </a:moveTo>
                  <a:lnTo>
                    <a:pt x="82150" y="0"/>
                  </a:lnTo>
                  <a:lnTo>
                    <a:pt x="82150" y="216577"/>
                  </a:lnTo>
                  <a:lnTo>
                    <a:pt x="0" y="216577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6" name="任意多边形: 形状 10125"/>
            <p:cNvSpPr/>
            <p:nvPr/>
          </p:nvSpPr>
          <p:spPr>
            <a:xfrm>
              <a:off x="6381878" y="5429420"/>
              <a:ext cx="179236" cy="328600"/>
            </a:xfrm>
            <a:custGeom>
              <a:avLst/>
              <a:gdLst>
                <a:gd name="connsiteX0" fmla="*/ 179236 w 179236"/>
                <a:gd name="connsiteY0" fmla="*/ 238982 h 328599"/>
                <a:gd name="connsiteX1" fmla="*/ 149363 w 179236"/>
                <a:gd name="connsiteY1" fmla="*/ 291259 h 328599"/>
                <a:gd name="connsiteX2" fmla="*/ 126959 w 179236"/>
                <a:gd name="connsiteY2" fmla="*/ 304701 h 328599"/>
                <a:gd name="connsiteX3" fmla="*/ 95593 w 179236"/>
                <a:gd name="connsiteY3" fmla="*/ 322625 h 328599"/>
                <a:gd name="connsiteX4" fmla="*/ 53771 w 179236"/>
                <a:gd name="connsiteY4" fmla="*/ 330093 h 328599"/>
                <a:gd name="connsiteX5" fmla="*/ 5975 w 179236"/>
                <a:gd name="connsiteY5" fmla="*/ 271841 h 328599"/>
                <a:gd name="connsiteX6" fmla="*/ 0 w 179236"/>
                <a:gd name="connsiteY6" fmla="*/ 73188 h 328599"/>
                <a:gd name="connsiteX7" fmla="*/ 61239 w 179236"/>
                <a:gd name="connsiteY7" fmla="*/ 11949 h 328599"/>
                <a:gd name="connsiteX8" fmla="*/ 120984 w 179236"/>
                <a:gd name="connsiteY8" fmla="*/ 2987 h 328599"/>
                <a:gd name="connsiteX9" fmla="*/ 167287 w 179236"/>
                <a:gd name="connsiteY9" fmla="*/ 56758 h 328599"/>
                <a:gd name="connsiteX10" fmla="*/ 167287 w 179236"/>
                <a:gd name="connsiteY10" fmla="*/ 56758 h 328599"/>
                <a:gd name="connsiteX11" fmla="*/ 168781 w 179236"/>
                <a:gd name="connsiteY11" fmla="*/ 76175 h 328599"/>
                <a:gd name="connsiteX12" fmla="*/ 170274 w 179236"/>
                <a:gd name="connsiteY12" fmla="*/ 101567 h 328599"/>
                <a:gd name="connsiteX13" fmla="*/ 170274 w 179236"/>
                <a:gd name="connsiteY13" fmla="*/ 107542 h 328599"/>
                <a:gd name="connsiteX14" fmla="*/ 176249 w 179236"/>
                <a:gd name="connsiteY14" fmla="*/ 194173 h 328599"/>
                <a:gd name="connsiteX15" fmla="*/ 177743 w 179236"/>
                <a:gd name="connsiteY15" fmla="*/ 225539 h 328599"/>
                <a:gd name="connsiteX16" fmla="*/ 179236 w 179236"/>
                <a:gd name="connsiteY16" fmla="*/ 238982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9236" h="328599">
                  <a:moveTo>
                    <a:pt x="179236" y="238982"/>
                  </a:moveTo>
                  <a:cubicBezTo>
                    <a:pt x="179236" y="259892"/>
                    <a:pt x="167287" y="280803"/>
                    <a:pt x="149363" y="291259"/>
                  </a:cubicBezTo>
                  <a:lnTo>
                    <a:pt x="126959" y="304701"/>
                  </a:lnTo>
                  <a:lnTo>
                    <a:pt x="95593" y="322625"/>
                  </a:lnTo>
                  <a:cubicBezTo>
                    <a:pt x="82150" y="330093"/>
                    <a:pt x="67214" y="331587"/>
                    <a:pt x="53771" y="330093"/>
                  </a:cubicBezTo>
                  <a:cubicBezTo>
                    <a:pt x="26885" y="324119"/>
                    <a:pt x="5975" y="301714"/>
                    <a:pt x="5975" y="271841"/>
                  </a:cubicBezTo>
                  <a:lnTo>
                    <a:pt x="0" y="73188"/>
                  </a:lnTo>
                  <a:cubicBezTo>
                    <a:pt x="13443" y="49290"/>
                    <a:pt x="34354" y="28379"/>
                    <a:pt x="61239" y="11949"/>
                  </a:cubicBezTo>
                  <a:cubicBezTo>
                    <a:pt x="82150" y="0"/>
                    <a:pt x="103061" y="-2987"/>
                    <a:pt x="120984" y="2987"/>
                  </a:cubicBezTo>
                  <a:cubicBezTo>
                    <a:pt x="143389" y="10455"/>
                    <a:pt x="161313" y="29873"/>
                    <a:pt x="167287" y="56758"/>
                  </a:cubicBezTo>
                  <a:cubicBezTo>
                    <a:pt x="167287" y="56758"/>
                    <a:pt x="167287" y="56758"/>
                    <a:pt x="167287" y="56758"/>
                  </a:cubicBezTo>
                  <a:cubicBezTo>
                    <a:pt x="168781" y="62733"/>
                    <a:pt x="168781" y="70201"/>
                    <a:pt x="168781" y="76175"/>
                  </a:cubicBezTo>
                  <a:lnTo>
                    <a:pt x="170274" y="101567"/>
                  </a:lnTo>
                  <a:lnTo>
                    <a:pt x="170274" y="107542"/>
                  </a:lnTo>
                  <a:lnTo>
                    <a:pt x="176249" y="194173"/>
                  </a:lnTo>
                  <a:lnTo>
                    <a:pt x="177743" y="225539"/>
                  </a:lnTo>
                  <a:lnTo>
                    <a:pt x="179236" y="238982"/>
                  </a:ln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7" name="任意多边形: 形状 10126"/>
            <p:cNvSpPr/>
            <p:nvPr/>
          </p:nvSpPr>
          <p:spPr>
            <a:xfrm>
              <a:off x="6444611" y="5428860"/>
              <a:ext cx="59745" cy="29873"/>
            </a:xfrm>
            <a:custGeom>
              <a:avLst/>
              <a:gdLst>
                <a:gd name="connsiteX0" fmla="*/ 61239 w 59745"/>
                <a:gd name="connsiteY0" fmla="*/ 24458 h 29872"/>
                <a:gd name="connsiteX1" fmla="*/ 53771 w 59745"/>
                <a:gd name="connsiteY1" fmla="*/ 31926 h 29872"/>
                <a:gd name="connsiteX2" fmla="*/ 8962 w 59745"/>
                <a:gd name="connsiteY2" fmla="*/ 31926 h 29872"/>
                <a:gd name="connsiteX3" fmla="*/ 8962 w 59745"/>
                <a:gd name="connsiteY3" fmla="*/ 6535 h 29872"/>
                <a:gd name="connsiteX4" fmla="*/ 17924 w 59745"/>
                <a:gd name="connsiteY4" fmla="*/ 2053 h 29872"/>
                <a:gd name="connsiteX5" fmla="*/ 23898 w 59745"/>
                <a:gd name="connsiteY5" fmla="*/ 560 h 29872"/>
                <a:gd name="connsiteX6" fmla="*/ 53771 w 59745"/>
                <a:gd name="connsiteY6" fmla="*/ 5041 h 29872"/>
                <a:gd name="connsiteX7" fmla="*/ 62733 w 59745"/>
                <a:gd name="connsiteY7" fmla="*/ 14003 h 29872"/>
                <a:gd name="connsiteX8" fmla="*/ 61239 w 59745"/>
                <a:gd name="connsiteY8" fmla="*/ 24458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9872">
                  <a:moveTo>
                    <a:pt x="61239" y="24458"/>
                  </a:moveTo>
                  <a:cubicBezTo>
                    <a:pt x="59746" y="27445"/>
                    <a:pt x="56758" y="30433"/>
                    <a:pt x="53771" y="31926"/>
                  </a:cubicBezTo>
                  <a:cubicBezTo>
                    <a:pt x="41822" y="39394"/>
                    <a:pt x="20911" y="39394"/>
                    <a:pt x="8962" y="31926"/>
                  </a:cubicBezTo>
                  <a:cubicBezTo>
                    <a:pt x="-2987" y="24458"/>
                    <a:pt x="-2987" y="12509"/>
                    <a:pt x="8962" y="6535"/>
                  </a:cubicBezTo>
                  <a:cubicBezTo>
                    <a:pt x="11949" y="5041"/>
                    <a:pt x="14937" y="3547"/>
                    <a:pt x="17924" y="2053"/>
                  </a:cubicBezTo>
                  <a:cubicBezTo>
                    <a:pt x="19417" y="2053"/>
                    <a:pt x="20911" y="560"/>
                    <a:pt x="23898" y="560"/>
                  </a:cubicBezTo>
                  <a:cubicBezTo>
                    <a:pt x="34354" y="-934"/>
                    <a:pt x="46303" y="560"/>
                    <a:pt x="53771" y="5041"/>
                  </a:cubicBezTo>
                  <a:cubicBezTo>
                    <a:pt x="58252" y="8028"/>
                    <a:pt x="61239" y="11015"/>
                    <a:pt x="62733" y="14003"/>
                  </a:cubicBezTo>
                  <a:cubicBezTo>
                    <a:pt x="64226" y="18483"/>
                    <a:pt x="62733" y="21471"/>
                    <a:pt x="61239" y="24458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8" name="任意多边形: 形状 10127"/>
            <p:cNvSpPr/>
            <p:nvPr/>
          </p:nvSpPr>
          <p:spPr>
            <a:xfrm>
              <a:off x="6444611" y="5365193"/>
              <a:ext cx="59745" cy="74682"/>
            </a:xfrm>
            <a:custGeom>
              <a:avLst/>
              <a:gdLst>
                <a:gd name="connsiteX0" fmla="*/ 0 w 59745"/>
                <a:gd name="connsiteY0" fmla="*/ 0 h 74681"/>
                <a:gd name="connsiteX1" fmla="*/ 62733 w 59745"/>
                <a:gd name="connsiteY1" fmla="*/ 0 h 74681"/>
                <a:gd name="connsiteX2" fmla="*/ 62733 w 59745"/>
                <a:gd name="connsiteY2" fmla="*/ 82150 h 74681"/>
                <a:gd name="connsiteX3" fmla="*/ 0 w 59745"/>
                <a:gd name="connsiteY3" fmla="*/ 8215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74681">
                  <a:moveTo>
                    <a:pt x="0" y="0"/>
                  </a:moveTo>
                  <a:lnTo>
                    <a:pt x="62733" y="0"/>
                  </a:lnTo>
                  <a:lnTo>
                    <a:pt x="62733" y="82150"/>
                  </a:lnTo>
                  <a:lnTo>
                    <a:pt x="0" y="82150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9" name="任意多边形: 形状 10128"/>
            <p:cNvSpPr/>
            <p:nvPr/>
          </p:nvSpPr>
          <p:spPr>
            <a:xfrm>
              <a:off x="6454480" y="5308055"/>
              <a:ext cx="74682" cy="119491"/>
            </a:xfrm>
            <a:custGeom>
              <a:avLst/>
              <a:gdLst>
                <a:gd name="connsiteX0" fmla="*/ 586 w 74681"/>
                <a:gd name="connsiteY0" fmla="*/ 63113 h 119490"/>
                <a:gd name="connsiteX1" fmla="*/ 3573 w 74681"/>
                <a:gd name="connsiteY1" fmla="*/ 89999 h 119490"/>
                <a:gd name="connsiteX2" fmla="*/ 15522 w 74681"/>
                <a:gd name="connsiteY2" fmla="*/ 113897 h 119490"/>
                <a:gd name="connsiteX3" fmla="*/ 52863 w 74681"/>
                <a:gd name="connsiteY3" fmla="*/ 125846 h 119490"/>
                <a:gd name="connsiteX4" fmla="*/ 61825 w 74681"/>
                <a:gd name="connsiteY4" fmla="*/ 122858 h 119490"/>
                <a:gd name="connsiteX5" fmla="*/ 70787 w 74681"/>
                <a:gd name="connsiteY5" fmla="*/ 107922 h 119490"/>
                <a:gd name="connsiteX6" fmla="*/ 76761 w 74681"/>
                <a:gd name="connsiteY6" fmla="*/ 31747 h 119490"/>
                <a:gd name="connsiteX7" fmla="*/ 75268 w 74681"/>
                <a:gd name="connsiteY7" fmla="*/ 19798 h 119490"/>
                <a:gd name="connsiteX8" fmla="*/ 49876 w 74681"/>
                <a:gd name="connsiteY8" fmla="*/ 381 h 119490"/>
                <a:gd name="connsiteX9" fmla="*/ 17016 w 74681"/>
                <a:gd name="connsiteY9" fmla="*/ 7849 h 119490"/>
                <a:gd name="connsiteX10" fmla="*/ 9548 w 74681"/>
                <a:gd name="connsiteY10" fmla="*/ 12330 h 119490"/>
                <a:gd name="connsiteX11" fmla="*/ 3573 w 74681"/>
                <a:gd name="connsiteY11" fmla="*/ 19798 h 119490"/>
                <a:gd name="connsiteX12" fmla="*/ 586 w 74681"/>
                <a:gd name="connsiteY12" fmla="*/ 63113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586" y="63113"/>
                  </a:moveTo>
                  <a:cubicBezTo>
                    <a:pt x="586" y="72075"/>
                    <a:pt x="2079" y="81037"/>
                    <a:pt x="3573" y="89999"/>
                  </a:cubicBezTo>
                  <a:cubicBezTo>
                    <a:pt x="5067" y="98961"/>
                    <a:pt x="9548" y="107922"/>
                    <a:pt x="15522" y="113897"/>
                  </a:cubicBezTo>
                  <a:cubicBezTo>
                    <a:pt x="24484" y="124352"/>
                    <a:pt x="39420" y="128833"/>
                    <a:pt x="52863" y="125846"/>
                  </a:cubicBezTo>
                  <a:cubicBezTo>
                    <a:pt x="55850" y="125846"/>
                    <a:pt x="58838" y="124352"/>
                    <a:pt x="61825" y="122858"/>
                  </a:cubicBezTo>
                  <a:cubicBezTo>
                    <a:pt x="66306" y="119871"/>
                    <a:pt x="69293" y="112403"/>
                    <a:pt x="70787" y="107922"/>
                  </a:cubicBezTo>
                  <a:cubicBezTo>
                    <a:pt x="78255" y="84024"/>
                    <a:pt x="79749" y="57139"/>
                    <a:pt x="76761" y="31747"/>
                  </a:cubicBezTo>
                  <a:cubicBezTo>
                    <a:pt x="76761" y="27266"/>
                    <a:pt x="76761" y="24279"/>
                    <a:pt x="75268" y="19798"/>
                  </a:cubicBezTo>
                  <a:cubicBezTo>
                    <a:pt x="72280" y="9343"/>
                    <a:pt x="60331" y="1874"/>
                    <a:pt x="49876" y="381"/>
                  </a:cubicBezTo>
                  <a:cubicBezTo>
                    <a:pt x="39420" y="-1113"/>
                    <a:pt x="27471" y="1874"/>
                    <a:pt x="17016" y="7849"/>
                  </a:cubicBezTo>
                  <a:cubicBezTo>
                    <a:pt x="14029" y="9343"/>
                    <a:pt x="11041" y="10836"/>
                    <a:pt x="9548" y="12330"/>
                  </a:cubicBezTo>
                  <a:cubicBezTo>
                    <a:pt x="8054" y="13823"/>
                    <a:pt x="6560" y="16811"/>
                    <a:pt x="3573" y="19798"/>
                  </a:cubicBezTo>
                  <a:cubicBezTo>
                    <a:pt x="586" y="21291"/>
                    <a:pt x="-908" y="49670"/>
                    <a:pt x="586" y="63113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0" name="任意多边形: 形状 10129"/>
            <p:cNvSpPr/>
            <p:nvPr/>
          </p:nvSpPr>
          <p:spPr>
            <a:xfrm>
              <a:off x="6454480" y="5317017"/>
              <a:ext cx="74682" cy="119491"/>
            </a:xfrm>
            <a:custGeom>
              <a:avLst/>
              <a:gdLst>
                <a:gd name="connsiteX0" fmla="*/ 586 w 74681"/>
                <a:gd name="connsiteY0" fmla="*/ 63113 h 119490"/>
                <a:gd name="connsiteX1" fmla="*/ 3573 w 74681"/>
                <a:gd name="connsiteY1" fmla="*/ 89999 h 119490"/>
                <a:gd name="connsiteX2" fmla="*/ 15522 w 74681"/>
                <a:gd name="connsiteY2" fmla="*/ 113897 h 119490"/>
                <a:gd name="connsiteX3" fmla="*/ 52863 w 74681"/>
                <a:gd name="connsiteY3" fmla="*/ 125846 h 119490"/>
                <a:gd name="connsiteX4" fmla="*/ 61825 w 74681"/>
                <a:gd name="connsiteY4" fmla="*/ 122858 h 119490"/>
                <a:gd name="connsiteX5" fmla="*/ 70787 w 74681"/>
                <a:gd name="connsiteY5" fmla="*/ 107922 h 119490"/>
                <a:gd name="connsiteX6" fmla="*/ 76761 w 74681"/>
                <a:gd name="connsiteY6" fmla="*/ 31747 h 119490"/>
                <a:gd name="connsiteX7" fmla="*/ 75268 w 74681"/>
                <a:gd name="connsiteY7" fmla="*/ 19798 h 119490"/>
                <a:gd name="connsiteX8" fmla="*/ 49876 w 74681"/>
                <a:gd name="connsiteY8" fmla="*/ 381 h 119490"/>
                <a:gd name="connsiteX9" fmla="*/ 17016 w 74681"/>
                <a:gd name="connsiteY9" fmla="*/ 7849 h 119490"/>
                <a:gd name="connsiteX10" fmla="*/ 9548 w 74681"/>
                <a:gd name="connsiteY10" fmla="*/ 12330 h 119490"/>
                <a:gd name="connsiteX11" fmla="*/ 3573 w 74681"/>
                <a:gd name="connsiteY11" fmla="*/ 19798 h 119490"/>
                <a:gd name="connsiteX12" fmla="*/ 586 w 74681"/>
                <a:gd name="connsiteY12" fmla="*/ 63113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586" y="63113"/>
                  </a:moveTo>
                  <a:cubicBezTo>
                    <a:pt x="586" y="72075"/>
                    <a:pt x="2079" y="81037"/>
                    <a:pt x="3573" y="89999"/>
                  </a:cubicBezTo>
                  <a:cubicBezTo>
                    <a:pt x="5067" y="98960"/>
                    <a:pt x="9548" y="107922"/>
                    <a:pt x="15522" y="113897"/>
                  </a:cubicBezTo>
                  <a:cubicBezTo>
                    <a:pt x="24484" y="124352"/>
                    <a:pt x="39420" y="128833"/>
                    <a:pt x="52863" y="125846"/>
                  </a:cubicBezTo>
                  <a:cubicBezTo>
                    <a:pt x="55850" y="125846"/>
                    <a:pt x="58838" y="124352"/>
                    <a:pt x="61825" y="122858"/>
                  </a:cubicBezTo>
                  <a:cubicBezTo>
                    <a:pt x="66306" y="119871"/>
                    <a:pt x="69293" y="112403"/>
                    <a:pt x="70787" y="107922"/>
                  </a:cubicBezTo>
                  <a:cubicBezTo>
                    <a:pt x="78255" y="84024"/>
                    <a:pt x="79749" y="57139"/>
                    <a:pt x="76761" y="31747"/>
                  </a:cubicBezTo>
                  <a:cubicBezTo>
                    <a:pt x="76761" y="27266"/>
                    <a:pt x="76761" y="24278"/>
                    <a:pt x="75268" y="19798"/>
                  </a:cubicBezTo>
                  <a:cubicBezTo>
                    <a:pt x="72280" y="9342"/>
                    <a:pt x="60331" y="1874"/>
                    <a:pt x="49876" y="381"/>
                  </a:cubicBezTo>
                  <a:cubicBezTo>
                    <a:pt x="39420" y="-1113"/>
                    <a:pt x="27471" y="1874"/>
                    <a:pt x="17016" y="7849"/>
                  </a:cubicBezTo>
                  <a:cubicBezTo>
                    <a:pt x="14029" y="9342"/>
                    <a:pt x="11041" y="10836"/>
                    <a:pt x="9548" y="12330"/>
                  </a:cubicBezTo>
                  <a:cubicBezTo>
                    <a:pt x="8054" y="13823"/>
                    <a:pt x="6560" y="16810"/>
                    <a:pt x="3573" y="19798"/>
                  </a:cubicBezTo>
                  <a:cubicBezTo>
                    <a:pt x="586" y="21291"/>
                    <a:pt x="-908" y="49670"/>
                    <a:pt x="586" y="63113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1" name="任意多边形: 形状 10130"/>
            <p:cNvSpPr/>
            <p:nvPr/>
          </p:nvSpPr>
          <p:spPr>
            <a:xfrm>
              <a:off x="6455066" y="5374155"/>
              <a:ext cx="44809" cy="74682"/>
            </a:xfrm>
            <a:custGeom>
              <a:avLst/>
              <a:gdLst>
                <a:gd name="connsiteX0" fmla="*/ 50783 w 44809"/>
                <a:gd name="connsiteY0" fmla="*/ 79162 h 74681"/>
                <a:gd name="connsiteX1" fmla="*/ 14936 w 44809"/>
                <a:gd name="connsiteY1" fmla="*/ 67214 h 74681"/>
                <a:gd name="connsiteX2" fmla="*/ 7468 w 44809"/>
                <a:gd name="connsiteY2" fmla="*/ 56758 h 74681"/>
                <a:gd name="connsiteX3" fmla="*/ 2987 w 44809"/>
                <a:gd name="connsiteY3" fmla="*/ 43315 h 74681"/>
                <a:gd name="connsiteX4" fmla="*/ 0 w 44809"/>
                <a:gd name="connsiteY4" fmla="*/ 16430 h 74681"/>
                <a:gd name="connsiteX5" fmla="*/ 0 w 44809"/>
                <a:gd name="connsiteY5" fmla="*/ 0 h 74681"/>
                <a:gd name="connsiteX6" fmla="*/ 0 w 44809"/>
                <a:gd name="connsiteY6" fmla="*/ 5974 h 74681"/>
                <a:gd name="connsiteX7" fmla="*/ 2987 w 44809"/>
                <a:gd name="connsiteY7" fmla="*/ 32860 h 74681"/>
                <a:gd name="connsiteX8" fmla="*/ 13443 w 44809"/>
                <a:gd name="connsiteY8" fmla="*/ 55265 h 74681"/>
                <a:gd name="connsiteX9" fmla="*/ 14936 w 44809"/>
                <a:gd name="connsiteY9" fmla="*/ 56758 h 74681"/>
                <a:gd name="connsiteX10" fmla="*/ 50783 w 44809"/>
                <a:gd name="connsiteY10" fmla="*/ 68707 h 74681"/>
                <a:gd name="connsiteX11" fmla="*/ 50783 w 44809"/>
                <a:gd name="connsiteY11" fmla="*/ 68707 h 74681"/>
                <a:gd name="connsiteX12" fmla="*/ 50783 w 44809"/>
                <a:gd name="connsiteY12" fmla="*/ 79162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09" h="74681">
                  <a:moveTo>
                    <a:pt x="50783" y="79162"/>
                  </a:moveTo>
                  <a:cubicBezTo>
                    <a:pt x="37341" y="82150"/>
                    <a:pt x="23898" y="77669"/>
                    <a:pt x="14936" y="67214"/>
                  </a:cubicBezTo>
                  <a:cubicBezTo>
                    <a:pt x="11949" y="64226"/>
                    <a:pt x="10455" y="61239"/>
                    <a:pt x="7468" y="56758"/>
                  </a:cubicBezTo>
                  <a:cubicBezTo>
                    <a:pt x="4481" y="52277"/>
                    <a:pt x="2987" y="47796"/>
                    <a:pt x="2987" y="43315"/>
                  </a:cubicBezTo>
                  <a:cubicBezTo>
                    <a:pt x="1493" y="34353"/>
                    <a:pt x="0" y="25392"/>
                    <a:pt x="0" y="16430"/>
                  </a:cubicBezTo>
                  <a:cubicBezTo>
                    <a:pt x="0" y="11949"/>
                    <a:pt x="0" y="5974"/>
                    <a:pt x="0" y="0"/>
                  </a:cubicBezTo>
                  <a:cubicBezTo>
                    <a:pt x="0" y="2987"/>
                    <a:pt x="0" y="4481"/>
                    <a:pt x="0" y="5974"/>
                  </a:cubicBezTo>
                  <a:cubicBezTo>
                    <a:pt x="0" y="14936"/>
                    <a:pt x="1493" y="23898"/>
                    <a:pt x="2987" y="32860"/>
                  </a:cubicBezTo>
                  <a:cubicBezTo>
                    <a:pt x="4481" y="40328"/>
                    <a:pt x="7468" y="49290"/>
                    <a:pt x="13443" y="55265"/>
                  </a:cubicBezTo>
                  <a:cubicBezTo>
                    <a:pt x="13443" y="55265"/>
                    <a:pt x="14936" y="56758"/>
                    <a:pt x="14936" y="56758"/>
                  </a:cubicBezTo>
                  <a:cubicBezTo>
                    <a:pt x="23898" y="67214"/>
                    <a:pt x="38834" y="71694"/>
                    <a:pt x="50783" y="68707"/>
                  </a:cubicBezTo>
                  <a:cubicBezTo>
                    <a:pt x="50783" y="68707"/>
                    <a:pt x="50783" y="68707"/>
                    <a:pt x="50783" y="68707"/>
                  </a:cubicBezTo>
                  <a:cubicBezTo>
                    <a:pt x="53771" y="73188"/>
                    <a:pt x="52277" y="76175"/>
                    <a:pt x="50783" y="79162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2" name="任意多边形: 形状 10131"/>
            <p:cNvSpPr/>
            <p:nvPr/>
          </p:nvSpPr>
          <p:spPr>
            <a:xfrm>
              <a:off x="6423113" y="5297980"/>
              <a:ext cx="104554" cy="119491"/>
            </a:xfrm>
            <a:custGeom>
              <a:avLst/>
              <a:gdLst>
                <a:gd name="connsiteX0" fmla="*/ 36434 w 104554"/>
                <a:gd name="connsiteY0" fmla="*/ 79163 h 119490"/>
                <a:gd name="connsiteX1" fmla="*/ 27472 w 104554"/>
                <a:gd name="connsiteY1" fmla="*/ 74682 h 119490"/>
                <a:gd name="connsiteX2" fmla="*/ 31953 w 104554"/>
                <a:gd name="connsiteY2" fmla="*/ 119491 h 119490"/>
                <a:gd name="connsiteX3" fmla="*/ 30460 w 104554"/>
                <a:gd name="connsiteY3" fmla="*/ 125465 h 119490"/>
                <a:gd name="connsiteX4" fmla="*/ 25979 w 104554"/>
                <a:gd name="connsiteY4" fmla="*/ 126959 h 119490"/>
                <a:gd name="connsiteX5" fmla="*/ 11042 w 104554"/>
                <a:gd name="connsiteY5" fmla="*/ 117997 h 119490"/>
                <a:gd name="connsiteX6" fmla="*/ 5068 w 104554"/>
                <a:gd name="connsiteY6" fmla="*/ 101567 h 119490"/>
                <a:gd name="connsiteX7" fmla="*/ 2081 w 104554"/>
                <a:gd name="connsiteY7" fmla="*/ 79163 h 119490"/>
                <a:gd name="connsiteX8" fmla="*/ 3574 w 104554"/>
                <a:gd name="connsiteY8" fmla="*/ 32860 h 119490"/>
                <a:gd name="connsiteX9" fmla="*/ 25979 w 104554"/>
                <a:gd name="connsiteY9" fmla="*/ 7468 h 119490"/>
                <a:gd name="connsiteX10" fmla="*/ 61826 w 104554"/>
                <a:gd name="connsiteY10" fmla="*/ 0 h 119490"/>
                <a:gd name="connsiteX11" fmla="*/ 90205 w 104554"/>
                <a:gd name="connsiteY11" fmla="*/ 5974 h 119490"/>
                <a:gd name="connsiteX12" fmla="*/ 109622 w 104554"/>
                <a:gd name="connsiteY12" fmla="*/ 28379 h 119490"/>
                <a:gd name="connsiteX13" fmla="*/ 111116 w 104554"/>
                <a:gd name="connsiteY13" fmla="*/ 40328 h 119490"/>
                <a:gd name="connsiteX14" fmla="*/ 93192 w 104554"/>
                <a:gd name="connsiteY14" fmla="*/ 55265 h 119490"/>
                <a:gd name="connsiteX15" fmla="*/ 52864 w 104554"/>
                <a:gd name="connsiteY15" fmla="*/ 52277 h 119490"/>
                <a:gd name="connsiteX16" fmla="*/ 45396 w 104554"/>
                <a:gd name="connsiteY16" fmla="*/ 49290 h 119490"/>
                <a:gd name="connsiteX17" fmla="*/ 37928 w 104554"/>
                <a:gd name="connsiteY17" fmla="*/ 52277 h 119490"/>
                <a:gd name="connsiteX18" fmla="*/ 36434 w 104554"/>
                <a:gd name="connsiteY18" fmla="*/ 56758 h 119490"/>
                <a:gd name="connsiteX19" fmla="*/ 36434 w 104554"/>
                <a:gd name="connsiteY19" fmla="*/ 79163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4554" h="119490">
                  <a:moveTo>
                    <a:pt x="36434" y="79163"/>
                  </a:moveTo>
                  <a:cubicBezTo>
                    <a:pt x="36434" y="79163"/>
                    <a:pt x="30460" y="76175"/>
                    <a:pt x="27472" y="74682"/>
                  </a:cubicBezTo>
                  <a:cubicBezTo>
                    <a:pt x="31953" y="89618"/>
                    <a:pt x="33447" y="104554"/>
                    <a:pt x="31953" y="119491"/>
                  </a:cubicBezTo>
                  <a:cubicBezTo>
                    <a:pt x="31953" y="120984"/>
                    <a:pt x="31953" y="123972"/>
                    <a:pt x="30460" y="125465"/>
                  </a:cubicBezTo>
                  <a:cubicBezTo>
                    <a:pt x="28966" y="126959"/>
                    <a:pt x="27472" y="126959"/>
                    <a:pt x="25979" y="126959"/>
                  </a:cubicBezTo>
                  <a:cubicBezTo>
                    <a:pt x="20004" y="126959"/>
                    <a:pt x="14030" y="123972"/>
                    <a:pt x="11042" y="117997"/>
                  </a:cubicBezTo>
                  <a:cubicBezTo>
                    <a:pt x="8055" y="113516"/>
                    <a:pt x="6562" y="107542"/>
                    <a:pt x="5068" y="101567"/>
                  </a:cubicBezTo>
                  <a:cubicBezTo>
                    <a:pt x="3574" y="94099"/>
                    <a:pt x="2081" y="86631"/>
                    <a:pt x="2081" y="79163"/>
                  </a:cubicBezTo>
                  <a:cubicBezTo>
                    <a:pt x="587" y="64227"/>
                    <a:pt x="-2400" y="47796"/>
                    <a:pt x="3574" y="32860"/>
                  </a:cubicBezTo>
                  <a:cubicBezTo>
                    <a:pt x="8055" y="22405"/>
                    <a:pt x="15523" y="13443"/>
                    <a:pt x="25979" y="7468"/>
                  </a:cubicBezTo>
                  <a:cubicBezTo>
                    <a:pt x="36434" y="1494"/>
                    <a:pt x="49877" y="0"/>
                    <a:pt x="61826" y="0"/>
                  </a:cubicBezTo>
                  <a:cubicBezTo>
                    <a:pt x="72281" y="0"/>
                    <a:pt x="81243" y="1494"/>
                    <a:pt x="90205" y="5974"/>
                  </a:cubicBezTo>
                  <a:cubicBezTo>
                    <a:pt x="99167" y="10456"/>
                    <a:pt x="106635" y="17924"/>
                    <a:pt x="109622" y="28379"/>
                  </a:cubicBezTo>
                  <a:cubicBezTo>
                    <a:pt x="111116" y="32860"/>
                    <a:pt x="111116" y="37341"/>
                    <a:pt x="111116" y="40328"/>
                  </a:cubicBezTo>
                  <a:cubicBezTo>
                    <a:pt x="108129" y="47796"/>
                    <a:pt x="100660" y="52277"/>
                    <a:pt x="93192" y="55265"/>
                  </a:cubicBezTo>
                  <a:cubicBezTo>
                    <a:pt x="79750" y="58252"/>
                    <a:pt x="64813" y="56758"/>
                    <a:pt x="52864" y="52277"/>
                  </a:cubicBezTo>
                  <a:cubicBezTo>
                    <a:pt x="49877" y="50783"/>
                    <a:pt x="48383" y="49290"/>
                    <a:pt x="45396" y="49290"/>
                  </a:cubicBezTo>
                  <a:cubicBezTo>
                    <a:pt x="42409" y="49290"/>
                    <a:pt x="39421" y="49290"/>
                    <a:pt x="37928" y="52277"/>
                  </a:cubicBezTo>
                  <a:cubicBezTo>
                    <a:pt x="37928" y="53771"/>
                    <a:pt x="36434" y="55265"/>
                    <a:pt x="36434" y="56758"/>
                  </a:cubicBezTo>
                  <a:cubicBezTo>
                    <a:pt x="36434" y="61239"/>
                    <a:pt x="36434" y="79163"/>
                    <a:pt x="36434" y="79163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3" name="任意多边形: 形状 10132"/>
            <p:cNvSpPr/>
            <p:nvPr/>
          </p:nvSpPr>
          <p:spPr>
            <a:xfrm>
              <a:off x="6444611" y="5365193"/>
              <a:ext cx="14936" cy="29873"/>
            </a:xfrm>
            <a:custGeom>
              <a:avLst/>
              <a:gdLst>
                <a:gd name="connsiteX0" fmla="*/ 5974 w 14936"/>
                <a:gd name="connsiteY0" fmla="*/ 0 h 29872"/>
                <a:gd name="connsiteX1" fmla="*/ 13443 w 14936"/>
                <a:gd name="connsiteY1" fmla="*/ 5974 h 29872"/>
                <a:gd name="connsiteX2" fmla="*/ 16430 w 14936"/>
                <a:gd name="connsiteY2" fmla="*/ 17924 h 29872"/>
                <a:gd name="connsiteX3" fmla="*/ 16430 w 14936"/>
                <a:gd name="connsiteY3" fmla="*/ 32860 h 29872"/>
                <a:gd name="connsiteX4" fmla="*/ 13443 w 14936"/>
                <a:gd name="connsiteY4" fmla="*/ 35847 h 29872"/>
                <a:gd name="connsiteX5" fmla="*/ 7468 w 14936"/>
                <a:gd name="connsiteY5" fmla="*/ 34354 h 29872"/>
                <a:gd name="connsiteX6" fmla="*/ 4481 w 14936"/>
                <a:gd name="connsiteY6" fmla="*/ 28379 h 29872"/>
                <a:gd name="connsiteX7" fmla="*/ 0 w 14936"/>
                <a:gd name="connsiteY7" fmla="*/ 10456 h 29872"/>
                <a:gd name="connsiteX8" fmla="*/ 0 w 14936"/>
                <a:gd name="connsiteY8" fmla="*/ 2987 h 29872"/>
                <a:gd name="connsiteX9" fmla="*/ 5974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5974" y="0"/>
                  </a:moveTo>
                  <a:cubicBezTo>
                    <a:pt x="8962" y="0"/>
                    <a:pt x="11949" y="2987"/>
                    <a:pt x="13443" y="5974"/>
                  </a:cubicBezTo>
                  <a:cubicBezTo>
                    <a:pt x="14936" y="8962"/>
                    <a:pt x="16430" y="13443"/>
                    <a:pt x="16430" y="17924"/>
                  </a:cubicBezTo>
                  <a:cubicBezTo>
                    <a:pt x="16430" y="22405"/>
                    <a:pt x="17924" y="28379"/>
                    <a:pt x="16430" y="32860"/>
                  </a:cubicBezTo>
                  <a:cubicBezTo>
                    <a:pt x="16430" y="34354"/>
                    <a:pt x="14936" y="35847"/>
                    <a:pt x="13443" y="35847"/>
                  </a:cubicBezTo>
                  <a:cubicBezTo>
                    <a:pt x="11949" y="37341"/>
                    <a:pt x="8962" y="35847"/>
                    <a:pt x="7468" y="34354"/>
                  </a:cubicBezTo>
                  <a:cubicBezTo>
                    <a:pt x="5974" y="32860"/>
                    <a:pt x="4481" y="31366"/>
                    <a:pt x="4481" y="28379"/>
                  </a:cubicBezTo>
                  <a:cubicBezTo>
                    <a:pt x="2987" y="22405"/>
                    <a:pt x="1493" y="16430"/>
                    <a:pt x="0" y="10456"/>
                  </a:cubicBezTo>
                  <a:cubicBezTo>
                    <a:pt x="0" y="7468"/>
                    <a:pt x="0" y="5974"/>
                    <a:pt x="0" y="2987"/>
                  </a:cubicBezTo>
                  <a:cubicBezTo>
                    <a:pt x="1493" y="2987"/>
                    <a:pt x="2987" y="1494"/>
                    <a:pt x="5974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4" name="任意多边形: 形状 10133"/>
            <p:cNvSpPr/>
            <p:nvPr/>
          </p:nvSpPr>
          <p:spPr>
            <a:xfrm>
              <a:off x="6411751" y="5522025"/>
              <a:ext cx="89618" cy="224045"/>
            </a:xfrm>
            <a:custGeom>
              <a:avLst/>
              <a:gdLst>
                <a:gd name="connsiteX0" fmla="*/ 97086 w 89618"/>
                <a:gd name="connsiteY0" fmla="*/ 210603 h 224045"/>
                <a:gd name="connsiteX1" fmla="*/ 65720 w 89618"/>
                <a:gd name="connsiteY1" fmla="*/ 228526 h 224045"/>
                <a:gd name="connsiteX2" fmla="*/ 23898 w 89618"/>
                <a:gd name="connsiteY2" fmla="*/ 235994 h 224045"/>
                <a:gd name="connsiteX3" fmla="*/ 19417 w 89618"/>
                <a:gd name="connsiteY3" fmla="*/ 216577 h 224045"/>
                <a:gd name="connsiteX4" fmla="*/ 4481 w 89618"/>
                <a:gd name="connsiteY4" fmla="*/ 138908 h 224045"/>
                <a:gd name="connsiteX5" fmla="*/ 0 w 89618"/>
                <a:gd name="connsiteY5" fmla="*/ 104554 h 224045"/>
                <a:gd name="connsiteX6" fmla="*/ 4481 w 89618"/>
                <a:gd name="connsiteY6" fmla="*/ 64227 h 224045"/>
                <a:gd name="connsiteX7" fmla="*/ 13443 w 89618"/>
                <a:gd name="connsiteY7" fmla="*/ 19418 h 224045"/>
                <a:gd name="connsiteX8" fmla="*/ 20911 w 89618"/>
                <a:gd name="connsiteY8" fmla="*/ 0 h 224045"/>
                <a:gd name="connsiteX9" fmla="*/ 25392 w 89618"/>
                <a:gd name="connsiteY9" fmla="*/ 92606 h 224045"/>
                <a:gd name="connsiteX10" fmla="*/ 26885 w 89618"/>
                <a:gd name="connsiteY10" fmla="*/ 112023 h 224045"/>
                <a:gd name="connsiteX11" fmla="*/ 31366 w 89618"/>
                <a:gd name="connsiteY11" fmla="*/ 134427 h 224045"/>
                <a:gd name="connsiteX12" fmla="*/ 97086 w 89618"/>
                <a:gd name="connsiteY12" fmla="*/ 210603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618" h="224045">
                  <a:moveTo>
                    <a:pt x="97086" y="210603"/>
                  </a:moveTo>
                  <a:lnTo>
                    <a:pt x="65720" y="228526"/>
                  </a:lnTo>
                  <a:cubicBezTo>
                    <a:pt x="52277" y="235994"/>
                    <a:pt x="37341" y="237488"/>
                    <a:pt x="23898" y="235994"/>
                  </a:cubicBezTo>
                  <a:cubicBezTo>
                    <a:pt x="22405" y="230020"/>
                    <a:pt x="20911" y="224045"/>
                    <a:pt x="19417" y="216577"/>
                  </a:cubicBezTo>
                  <a:cubicBezTo>
                    <a:pt x="14936" y="191185"/>
                    <a:pt x="8962" y="165793"/>
                    <a:pt x="4481" y="138908"/>
                  </a:cubicBezTo>
                  <a:cubicBezTo>
                    <a:pt x="1494" y="128453"/>
                    <a:pt x="0" y="116504"/>
                    <a:pt x="0" y="104554"/>
                  </a:cubicBezTo>
                  <a:cubicBezTo>
                    <a:pt x="0" y="91112"/>
                    <a:pt x="2987" y="77669"/>
                    <a:pt x="4481" y="64227"/>
                  </a:cubicBezTo>
                  <a:cubicBezTo>
                    <a:pt x="7468" y="49290"/>
                    <a:pt x="10456" y="34354"/>
                    <a:pt x="13443" y="19418"/>
                  </a:cubicBezTo>
                  <a:cubicBezTo>
                    <a:pt x="14936" y="13443"/>
                    <a:pt x="16430" y="5974"/>
                    <a:pt x="20911" y="0"/>
                  </a:cubicBezTo>
                  <a:cubicBezTo>
                    <a:pt x="22405" y="31366"/>
                    <a:pt x="23898" y="61239"/>
                    <a:pt x="25392" y="92606"/>
                  </a:cubicBezTo>
                  <a:cubicBezTo>
                    <a:pt x="25392" y="98580"/>
                    <a:pt x="25392" y="106048"/>
                    <a:pt x="26885" y="112023"/>
                  </a:cubicBezTo>
                  <a:cubicBezTo>
                    <a:pt x="28379" y="119491"/>
                    <a:pt x="29873" y="126959"/>
                    <a:pt x="31366" y="134427"/>
                  </a:cubicBezTo>
                  <a:cubicBezTo>
                    <a:pt x="38835" y="162806"/>
                    <a:pt x="47796" y="212096"/>
                    <a:pt x="97086" y="210603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5" name="任意多边形: 形状 10134"/>
            <p:cNvSpPr/>
            <p:nvPr/>
          </p:nvSpPr>
          <p:spPr>
            <a:xfrm>
              <a:off x="6360854" y="5492039"/>
              <a:ext cx="59745" cy="179236"/>
            </a:xfrm>
            <a:custGeom>
              <a:avLst/>
              <a:gdLst>
                <a:gd name="connsiteX0" fmla="*/ 61353 w 59745"/>
                <a:gd name="connsiteY0" fmla="*/ 150971 h 179236"/>
                <a:gd name="connsiteX1" fmla="*/ 28493 w 59745"/>
                <a:gd name="connsiteY1" fmla="*/ 179350 h 179236"/>
                <a:gd name="connsiteX2" fmla="*/ 28493 w 59745"/>
                <a:gd name="connsiteY2" fmla="*/ 179350 h 179236"/>
                <a:gd name="connsiteX3" fmla="*/ 114 w 59745"/>
                <a:gd name="connsiteY3" fmla="*/ 146490 h 179236"/>
                <a:gd name="connsiteX4" fmla="*/ 10569 w 59745"/>
                <a:gd name="connsiteY4" fmla="*/ 28493 h 179236"/>
                <a:gd name="connsiteX5" fmla="*/ 43429 w 59745"/>
                <a:gd name="connsiteY5" fmla="*/ 114 h 179236"/>
                <a:gd name="connsiteX6" fmla="*/ 43429 w 59745"/>
                <a:gd name="connsiteY6" fmla="*/ 114 h 179236"/>
                <a:gd name="connsiteX7" fmla="*/ 71808 w 59745"/>
                <a:gd name="connsiteY7" fmla="*/ 32974 h 179236"/>
                <a:gd name="connsiteX8" fmla="*/ 61353 w 59745"/>
                <a:gd name="connsiteY8" fmla="*/ 150971 h 17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79236">
                  <a:moveTo>
                    <a:pt x="61353" y="150971"/>
                  </a:moveTo>
                  <a:cubicBezTo>
                    <a:pt x="59859" y="167401"/>
                    <a:pt x="44923" y="180843"/>
                    <a:pt x="28493" y="179350"/>
                  </a:cubicBezTo>
                  <a:lnTo>
                    <a:pt x="28493" y="179350"/>
                  </a:lnTo>
                  <a:cubicBezTo>
                    <a:pt x="12063" y="177856"/>
                    <a:pt x="-1380" y="162920"/>
                    <a:pt x="114" y="146490"/>
                  </a:cubicBezTo>
                  <a:lnTo>
                    <a:pt x="10569" y="28493"/>
                  </a:lnTo>
                  <a:cubicBezTo>
                    <a:pt x="12063" y="12063"/>
                    <a:pt x="26999" y="-1380"/>
                    <a:pt x="43429" y="114"/>
                  </a:cubicBezTo>
                  <a:lnTo>
                    <a:pt x="43429" y="114"/>
                  </a:lnTo>
                  <a:cubicBezTo>
                    <a:pt x="59859" y="1607"/>
                    <a:pt x="73302" y="16544"/>
                    <a:pt x="71808" y="32974"/>
                  </a:cubicBezTo>
                  <a:lnTo>
                    <a:pt x="61353" y="150971"/>
                  </a:ln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6" name="任意多边形: 形状 10135"/>
            <p:cNvSpPr/>
            <p:nvPr/>
          </p:nvSpPr>
          <p:spPr>
            <a:xfrm>
              <a:off x="6549165" y="5486178"/>
              <a:ext cx="14936" cy="44809"/>
            </a:xfrm>
            <a:custGeom>
              <a:avLst/>
              <a:gdLst>
                <a:gd name="connsiteX0" fmla="*/ 11949 w 0"/>
                <a:gd name="connsiteY0" fmla="*/ 53771 h 44809"/>
                <a:gd name="connsiteX1" fmla="*/ 2987 w 0"/>
                <a:gd name="connsiteY1" fmla="*/ 44809 h 44809"/>
                <a:gd name="connsiteX2" fmla="*/ 2987 w 0"/>
                <a:gd name="connsiteY2" fmla="*/ 44809 h 44809"/>
                <a:gd name="connsiteX3" fmla="*/ 1493 w 0"/>
                <a:gd name="connsiteY3" fmla="*/ 19417 h 44809"/>
                <a:gd name="connsiteX4" fmla="*/ 0 w 0"/>
                <a:gd name="connsiteY4" fmla="*/ 0 h 44809"/>
                <a:gd name="connsiteX5" fmla="*/ 13443 w 0"/>
                <a:gd name="connsiteY5" fmla="*/ 52277 h 44809"/>
                <a:gd name="connsiteX6" fmla="*/ 11949 w 0"/>
                <a:gd name="connsiteY6" fmla="*/ 5377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44809">
                  <a:moveTo>
                    <a:pt x="11949" y="53771"/>
                  </a:moveTo>
                  <a:lnTo>
                    <a:pt x="2987" y="44809"/>
                  </a:lnTo>
                  <a:lnTo>
                    <a:pt x="2987" y="44809"/>
                  </a:lnTo>
                  <a:lnTo>
                    <a:pt x="1493" y="19417"/>
                  </a:lnTo>
                  <a:cubicBezTo>
                    <a:pt x="1493" y="11949"/>
                    <a:pt x="0" y="5974"/>
                    <a:pt x="0" y="0"/>
                  </a:cubicBezTo>
                  <a:cubicBezTo>
                    <a:pt x="7468" y="16430"/>
                    <a:pt x="10455" y="34353"/>
                    <a:pt x="13443" y="52277"/>
                  </a:cubicBezTo>
                  <a:cubicBezTo>
                    <a:pt x="11949" y="50783"/>
                    <a:pt x="11949" y="52277"/>
                    <a:pt x="11949" y="53771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7" name="任意多边形: 形状 10136"/>
            <p:cNvSpPr/>
            <p:nvPr/>
          </p:nvSpPr>
          <p:spPr>
            <a:xfrm>
              <a:off x="6388973" y="6133668"/>
              <a:ext cx="74682" cy="44809"/>
            </a:xfrm>
            <a:custGeom>
              <a:avLst/>
              <a:gdLst>
                <a:gd name="connsiteX0" fmla="*/ 69081 w 74681"/>
                <a:gd name="connsiteY0" fmla="*/ 6721 h 44809"/>
                <a:gd name="connsiteX1" fmla="*/ 69081 w 74681"/>
                <a:gd name="connsiteY1" fmla="*/ 39581 h 44809"/>
                <a:gd name="connsiteX2" fmla="*/ 12322 w 74681"/>
                <a:gd name="connsiteY2" fmla="*/ 39581 h 44809"/>
                <a:gd name="connsiteX3" fmla="*/ 12322 w 74681"/>
                <a:gd name="connsiteY3" fmla="*/ 6721 h 44809"/>
                <a:gd name="connsiteX4" fmla="*/ 69081 w 74681"/>
                <a:gd name="connsiteY4" fmla="*/ 672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69081" y="6721"/>
                  </a:moveTo>
                  <a:cubicBezTo>
                    <a:pt x="85511" y="15683"/>
                    <a:pt x="85511" y="30619"/>
                    <a:pt x="69081" y="39581"/>
                  </a:cubicBezTo>
                  <a:cubicBezTo>
                    <a:pt x="52650" y="48543"/>
                    <a:pt x="27259" y="48543"/>
                    <a:pt x="12322" y="39581"/>
                  </a:cubicBezTo>
                  <a:cubicBezTo>
                    <a:pt x="-4107" y="30619"/>
                    <a:pt x="-4107" y="15683"/>
                    <a:pt x="12322" y="6721"/>
                  </a:cubicBezTo>
                  <a:cubicBezTo>
                    <a:pt x="27259" y="-2240"/>
                    <a:pt x="54144" y="-2240"/>
                    <a:pt x="69081" y="672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8" name="任意多边形: 形状 10137"/>
            <p:cNvSpPr/>
            <p:nvPr/>
          </p:nvSpPr>
          <p:spPr>
            <a:xfrm>
              <a:off x="6389346" y="5923018"/>
              <a:ext cx="104554" cy="238981"/>
            </a:xfrm>
            <a:custGeom>
              <a:avLst/>
              <a:gdLst>
                <a:gd name="connsiteX0" fmla="*/ 0 w 104554"/>
                <a:gd name="connsiteY0" fmla="*/ 233801 h 238981"/>
                <a:gd name="connsiteX1" fmla="*/ 22405 w 104554"/>
                <a:gd name="connsiteY1" fmla="*/ 30667 h 238981"/>
                <a:gd name="connsiteX2" fmla="*/ 41822 w 104554"/>
                <a:gd name="connsiteY2" fmla="*/ 9756 h 238981"/>
                <a:gd name="connsiteX3" fmla="*/ 76175 w 104554"/>
                <a:gd name="connsiteY3" fmla="*/ 794 h 238981"/>
                <a:gd name="connsiteX4" fmla="*/ 104554 w 104554"/>
                <a:gd name="connsiteY4" fmla="*/ 30667 h 238981"/>
                <a:gd name="connsiteX5" fmla="*/ 82150 w 104554"/>
                <a:gd name="connsiteY5" fmla="*/ 233801 h 238981"/>
                <a:gd name="connsiteX6" fmla="*/ 70201 w 104554"/>
                <a:gd name="connsiteY6" fmla="*/ 244257 h 238981"/>
                <a:gd name="connsiteX7" fmla="*/ 0 w 104554"/>
                <a:gd name="connsiteY7" fmla="*/ 233801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554" h="238981">
                  <a:moveTo>
                    <a:pt x="0" y="233801"/>
                  </a:moveTo>
                  <a:cubicBezTo>
                    <a:pt x="1494" y="174056"/>
                    <a:pt x="17924" y="38135"/>
                    <a:pt x="22405" y="30667"/>
                  </a:cubicBezTo>
                  <a:cubicBezTo>
                    <a:pt x="26885" y="23199"/>
                    <a:pt x="34354" y="14238"/>
                    <a:pt x="41822" y="9756"/>
                  </a:cubicBezTo>
                  <a:cubicBezTo>
                    <a:pt x="52277" y="3782"/>
                    <a:pt x="64226" y="-2193"/>
                    <a:pt x="76175" y="794"/>
                  </a:cubicBezTo>
                  <a:cubicBezTo>
                    <a:pt x="91112" y="3782"/>
                    <a:pt x="101567" y="15731"/>
                    <a:pt x="104554" y="30667"/>
                  </a:cubicBezTo>
                  <a:cubicBezTo>
                    <a:pt x="106048" y="45603"/>
                    <a:pt x="85137" y="224840"/>
                    <a:pt x="82150" y="233801"/>
                  </a:cubicBezTo>
                  <a:cubicBezTo>
                    <a:pt x="79163" y="242763"/>
                    <a:pt x="79163" y="241270"/>
                    <a:pt x="70201" y="244257"/>
                  </a:cubicBezTo>
                  <a:lnTo>
                    <a:pt x="0" y="233801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9" name="任意多边形: 形状 10138"/>
            <p:cNvSpPr/>
            <p:nvPr/>
          </p:nvSpPr>
          <p:spPr>
            <a:xfrm>
              <a:off x="6399802" y="5763994"/>
              <a:ext cx="44809" cy="89618"/>
            </a:xfrm>
            <a:custGeom>
              <a:avLst/>
              <a:gdLst>
                <a:gd name="connsiteX0" fmla="*/ 1494 w 44809"/>
                <a:gd name="connsiteY0" fmla="*/ 46303 h 89618"/>
                <a:gd name="connsiteX1" fmla="*/ 4481 w 44809"/>
                <a:gd name="connsiteY1" fmla="*/ 58252 h 89618"/>
                <a:gd name="connsiteX2" fmla="*/ 10455 w 44809"/>
                <a:gd name="connsiteY2" fmla="*/ 65720 h 89618"/>
                <a:gd name="connsiteX3" fmla="*/ 26885 w 44809"/>
                <a:gd name="connsiteY3" fmla="*/ 82150 h 89618"/>
                <a:gd name="connsiteX4" fmla="*/ 31366 w 44809"/>
                <a:gd name="connsiteY4" fmla="*/ 86631 h 89618"/>
                <a:gd name="connsiteX5" fmla="*/ 46303 w 44809"/>
                <a:gd name="connsiteY5" fmla="*/ 91112 h 89618"/>
                <a:gd name="connsiteX6" fmla="*/ 50784 w 44809"/>
                <a:gd name="connsiteY6" fmla="*/ 89618 h 89618"/>
                <a:gd name="connsiteX7" fmla="*/ 52277 w 44809"/>
                <a:gd name="connsiteY7" fmla="*/ 88124 h 89618"/>
                <a:gd name="connsiteX8" fmla="*/ 47796 w 44809"/>
                <a:gd name="connsiteY8" fmla="*/ 77669 h 89618"/>
                <a:gd name="connsiteX9" fmla="*/ 41822 w 44809"/>
                <a:gd name="connsiteY9" fmla="*/ 56758 h 89618"/>
                <a:gd name="connsiteX10" fmla="*/ 40328 w 44809"/>
                <a:gd name="connsiteY10" fmla="*/ 35847 h 89618"/>
                <a:gd name="connsiteX11" fmla="*/ 43315 w 44809"/>
                <a:gd name="connsiteY11" fmla="*/ 50783 h 89618"/>
                <a:gd name="connsiteX12" fmla="*/ 56758 w 44809"/>
                <a:gd name="connsiteY12" fmla="*/ 58252 h 89618"/>
                <a:gd name="connsiteX13" fmla="*/ 58252 w 44809"/>
                <a:gd name="connsiteY13" fmla="*/ 58252 h 89618"/>
                <a:gd name="connsiteX14" fmla="*/ 58252 w 44809"/>
                <a:gd name="connsiteY14" fmla="*/ 56758 h 89618"/>
                <a:gd name="connsiteX15" fmla="*/ 58252 w 44809"/>
                <a:gd name="connsiteY15" fmla="*/ 47796 h 89618"/>
                <a:gd name="connsiteX16" fmla="*/ 55264 w 44809"/>
                <a:gd name="connsiteY16" fmla="*/ 41822 h 89618"/>
                <a:gd name="connsiteX17" fmla="*/ 53771 w 44809"/>
                <a:gd name="connsiteY17" fmla="*/ 34353 h 89618"/>
                <a:gd name="connsiteX18" fmla="*/ 37341 w 44809"/>
                <a:gd name="connsiteY18" fmla="*/ 4481 h 89618"/>
                <a:gd name="connsiteX19" fmla="*/ 31366 w 44809"/>
                <a:gd name="connsiteY19" fmla="*/ 1494 h 89618"/>
                <a:gd name="connsiteX20" fmla="*/ 16430 w 44809"/>
                <a:gd name="connsiteY20" fmla="*/ 0 h 89618"/>
                <a:gd name="connsiteX21" fmla="*/ 13443 w 44809"/>
                <a:gd name="connsiteY21" fmla="*/ 1494 h 89618"/>
                <a:gd name="connsiteX22" fmla="*/ 11949 w 44809"/>
                <a:gd name="connsiteY22" fmla="*/ 2987 h 89618"/>
                <a:gd name="connsiteX23" fmla="*/ 2987 w 44809"/>
                <a:gd name="connsiteY23" fmla="*/ 23898 h 89618"/>
                <a:gd name="connsiteX24" fmla="*/ 1494 w 44809"/>
                <a:gd name="connsiteY24" fmla="*/ 46303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4809" h="89618">
                  <a:moveTo>
                    <a:pt x="1494" y="46303"/>
                  </a:moveTo>
                  <a:cubicBezTo>
                    <a:pt x="1494" y="50783"/>
                    <a:pt x="2987" y="55264"/>
                    <a:pt x="4481" y="58252"/>
                  </a:cubicBezTo>
                  <a:cubicBezTo>
                    <a:pt x="5975" y="61239"/>
                    <a:pt x="7468" y="62732"/>
                    <a:pt x="10455" y="65720"/>
                  </a:cubicBezTo>
                  <a:cubicBezTo>
                    <a:pt x="16430" y="71694"/>
                    <a:pt x="20911" y="76175"/>
                    <a:pt x="26885" y="82150"/>
                  </a:cubicBezTo>
                  <a:cubicBezTo>
                    <a:pt x="28379" y="83644"/>
                    <a:pt x="29873" y="85137"/>
                    <a:pt x="31366" y="86631"/>
                  </a:cubicBezTo>
                  <a:cubicBezTo>
                    <a:pt x="35847" y="89618"/>
                    <a:pt x="40328" y="91112"/>
                    <a:pt x="46303" y="91112"/>
                  </a:cubicBezTo>
                  <a:cubicBezTo>
                    <a:pt x="47796" y="91112"/>
                    <a:pt x="49290" y="91112"/>
                    <a:pt x="50784" y="89618"/>
                  </a:cubicBezTo>
                  <a:cubicBezTo>
                    <a:pt x="50784" y="89618"/>
                    <a:pt x="52277" y="88124"/>
                    <a:pt x="52277" y="88124"/>
                  </a:cubicBezTo>
                  <a:cubicBezTo>
                    <a:pt x="52277" y="83644"/>
                    <a:pt x="50784" y="80656"/>
                    <a:pt x="47796" y="77669"/>
                  </a:cubicBezTo>
                  <a:cubicBezTo>
                    <a:pt x="44809" y="71694"/>
                    <a:pt x="41822" y="64226"/>
                    <a:pt x="41822" y="56758"/>
                  </a:cubicBezTo>
                  <a:cubicBezTo>
                    <a:pt x="40328" y="49290"/>
                    <a:pt x="40328" y="41822"/>
                    <a:pt x="40328" y="35847"/>
                  </a:cubicBezTo>
                  <a:cubicBezTo>
                    <a:pt x="40328" y="41822"/>
                    <a:pt x="41822" y="46303"/>
                    <a:pt x="43315" y="50783"/>
                  </a:cubicBezTo>
                  <a:cubicBezTo>
                    <a:pt x="46303" y="55264"/>
                    <a:pt x="50784" y="59745"/>
                    <a:pt x="56758" y="58252"/>
                  </a:cubicBezTo>
                  <a:cubicBezTo>
                    <a:pt x="56758" y="58252"/>
                    <a:pt x="58252" y="58252"/>
                    <a:pt x="58252" y="58252"/>
                  </a:cubicBezTo>
                  <a:cubicBezTo>
                    <a:pt x="58252" y="58252"/>
                    <a:pt x="58252" y="58252"/>
                    <a:pt x="58252" y="56758"/>
                  </a:cubicBezTo>
                  <a:cubicBezTo>
                    <a:pt x="59745" y="53771"/>
                    <a:pt x="59745" y="50783"/>
                    <a:pt x="58252" y="47796"/>
                  </a:cubicBezTo>
                  <a:cubicBezTo>
                    <a:pt x="56758" y="46303"/>
                    <a:pt x="55264" y="44809"/>
                    <a:pt x="55264" y="41822"/>
                  </a:cubicBezTo>
                  <a:cubicBezTo>
                    <a:pt x="53771" y="38835"/>
                    <a:pt x="53771" y="35847"/>
                    <a:pt x="53771" y="34353"/>
                  </a:cubicBezTo>
                  <a:cubicBezTo>
                    <a:pt x="52277" y="22405"/>
                    <a:pt x="46303" y="11949"/>
                    <a:pt x="37341" y="4481"/>
                  </a:cubicBezTo>
                  <a:cubicBezTo>
                    <a:pt x="35847" y="2987"/>
                    <a:pt x="34353" y="1494"/>
                    <a:pt x="31366" y="1494"/>
                  </a:cubicBezTo>
                  <a:cubicBezTo>
                    <a:pt x="26885" y="0"/>
                    <a:pt x="20911" y="0"/>
                    <a:pt x="16430" y="0"/>
                  </a:cubicBezTo>
                  <a:cubicBezTo>
                    <a:pt x="14936" y="0"/>
                    <a:pt x="13443" y="0"/>
                    <a:pt x="13443" y="1494"/>
                  </a:cubicBezTo>
                  <a:cubicBezTo>
                    <a:pt x="11949" y="1494"/>
                    <a:pt x="11949" y="2987"/>
                    <a:pt x="11949" y="2987"/>
                  </a:cubicBezTo>
                  <a:cubicBezTo>
                    <a:pt x="7468" y="8962"/>
                    <a:pt x="4481" y="16430"/>
                    <a:pt x="2987" y="23898"/>
                  </a:cubicBezTo>
                  <a:cubicBezTo>
                    <a:pt x="-1494" y="31366"/>
                    <a:pt x="0" y="38835"/>
                    <a:pt x="1494" y="46303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0" name="任意多边形: 形状 10139"/>
            <p:cNvSpPr/>
            <p:nvPr/>
          </p:nvSpPr>
          <p:spPr>
            <a:xfrm>
              <a:off x="6361952" y="5609641"/>
              <a:ext cx="74682" cy="164300"/>
            </a:xfrm>
            <a:custGeom>
              <a:avLst/>
              <a:gdLst>
                <a:gd name="connsiteX0" fmla="*/ 78178 w 74681"/>
                <a:gd name="connsiteY0" fmla="*/ 137923 h 164299"/>
                <a:gd name="connsiteX1" fmla="*/ 55773 w 74681"/>
                <a:gd name="connsiteY1" fmla="*/ 169290 h 164299"/>
                <a:gd name="connsiteX2" fmla="*/ 27394 w 74681"/>
                <a:gd name="connsiteY2" fmla="*/ 148379 h 164299"/>
                <a:gd name="connsiteX3" fmla="*/ 509 w 74681"/>
                <a:gd name="connsiteY3" fmla="*/ 36356 h 164299"/>
                <a:gd name="connsiteX4" fmla="*/ 24407 w 74681"/>
                <a:gd name="connsiteY4" fmla="*/ 509 h 164299"/>
                <a:gd name="connsiteX5" fmla="*/ 24407 w 74681"/>
                <a:gd name="connsiteY5" fmla="*/ 509 h 164299"/>
                <a:gd name="connsiteX6" fmla="*/ 60254 w 74681"/>
                <a:gd name="connsiteY6" fmla="*/ 24407 h 164299"/>
                <a:gd name="connsiteX7" fmla="*/ 78178 w 74681"/>
                <a:gd name="connsiteY7" fmla="*/ 137923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164299">
                  <a:moveTo>
                    <a:pt x="78178" y="137923"/>
                  </a:moveTo>
                  <a:cubicBezTo>
                    <a:pt x="84152" y="163315"/>
                    <a:pt x="72203" y="164808"/>
                    <a:pt x="55773" y="169290"/>
                  </a:cubicBezTo>
                  <a:cubicBezTo>
                    <a:pt x="37850" y="173770"/>
                    <a:pt x="30381" y="164808"/>
                    <a:pt x="27394" y="148379"/>
                  </a:cubicBezTo>
                  <a:lnTo>
                    <a:pt x="509" y="36356"/>
                  </a:lnTo>
                  <a:cubicBezTo>
                    <a:pt x="-2479" y="19926"/>
                    <a:pt x="7977" y="3496"/>
                    <a:pt x="24407" y="509"/>
                  </a:cubicBezTo>
                  <a:lnTo>
                    <a:pt x="24407" y="509"/>
                  </a:lnTo>
                  <a:cubicBezTo>
                    <a:pt x="40837" y="-2478"/>
                    <a:pt x="57267" y="7977"/>
                    <a:pt x="60254" y="24407"/>
                  </a:cubicBezTo>
                  <a:lnTo>
                    <a:pt x="78178" y="137923"/>
                  </a:ln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1" name="任意多边形: 形状 10140"/>
            <p:cNvSpPr/>
            <p:nvPr/>
          </p:nvSpPr>
          <p:spPr>
            <a:xfrm>
              <a:off x="6532735" y="5339802"/>
              <a:ext cx="29873" cy="44809"/>
            </a:xfrm>
            <a:custGeom>
              <a:avLst/>
              <a:gdLst>
                <a:gd name="connsiteX0" fmla="*/ 17924 w 29872"/>
                <a:gd name="connsiteY0" fmla="*/ 11949 h 44809"/>
                <a:gd name="connsiteX1" fmla="*/ 11949 w 29872"/>
                <a:gd name="connsiteY1" fmla="*/ 0 h 44809"/>
                <a:gd name="connsiteX2" fmla="*/ 8962 w 29872"/>
                <a:gd name="connsiteY2" fmla="*/ 0 h 44809"/>
                <a:gd name="connsiteX3" fmla="*/ 5974 w 29872"/>
                <a:gd name="connsiteY3" fmla="*/ 1493 h 44809"/>
                <a:gd name="connsiteX4" fmla="*/ 0 w 29872"/>
                <a:gd name="connsiteY4" fmla="*/ 11949 h 44809"/>
                <a:gd name="connsiteX5" fmla="*/ 7468 w 29872"/>
                <a:gd name="connsiteY5" fmla="*/ 19417 h 44809"/>
                <a:gd name="connsiteX6" fmla="*/ 5974 w 29872"/>
                <a:gd name="connsiteY6" fmla="*/ 26885 h 44809"/>
                <a:gd name="connsiteX7" fmla="*/ 13443 w 29872"/>
                <a:gd name="connsiteY7" fmla="*/ 29873 h 44809"/>
                <a:gd name="connsiteX8" fmla="*/ 14936 w 29872"/>
                <a:gd name="connsiteY8" fmla="*/ 38834 h 44809"/>
                <a:gd name="connsiteX9" fmla="*/ 23898 w 29872"/>
                <a:gd name="connsiteY9" fmla="*/ 38834 h 44809"/>
                <a:gd name="connsiteX10" fmla="*/ 26885 w 29872"/>
                <a:gd name="connsiteY10" fmla="*/ 46302 h 44809"/>
                <a:gd name="connsiteX11" fmla="*/ 34354 w 29872"/>
                <a:gd name="connsiteY11" fmla="*/ 46302 h 44809"/>
                <a:gd name="connsiteX12" fmla="*/ 37341 w 29872"/>
                <a:gd name="connsiteY12" fmla="*/ 40328 h 44809"/>
                <a:gd name="connsiteX13" fmla="*/ 38835 w 29872"/>
                <a:gd name="connsiteY13" fmla="*/ 31366 h 44809"/>
                <a:gd name="connsiteX14" fmla="*/ 32860 w 29872"/>
                <a:gd name="connsiteY14" fmla="*/ 26885 h 44809"/>
                <a:gd name="connsiteX15" fmla="*/ 31366 w 29872"/>
                <a:gd name="connsiteY15" fmla="*/ 20911 h 44809"/>
                <a:gd name="connsiteX16" fmla="*/ 25392 w 29872"/>
                <a:gd name="connsiteY16" fmla="*/ 19417 h 44809"/>
                <a:gd name="connsiteX17" fmla="*/ 22405 w 29872"/>
                <a:gd name="connsiteY17" fmla="*/ 13443 h 44809"/>
                <a:gd name="connsiteX18" fmla="*/ 17924 w 29872"/>
                <a:gd name="connsiteY18" fmla="*/ 11949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9872" h="44809">
                  <a:moveTo>
                    <a:pt x="17924" y="11949"/>
                  </a:moveTo>
                  <a:cubicBezTo>
                    <a:pt x="19417" y="7468"/>
                    <a:pt x="16430" y="2987"/>
                    <a:pt x="11949" y="0"/>
                  </a:cubicBezTo>
                  <a:cubicBezTo>
                    <a:pt x="10455" y="0"/>
                    <a:pt x="10455" y="0"/>
                    <a:pt x="8962" y="0"/>
                  </a:cubicBezTo>
                  <a:cubicBezTo>
                    <a:pt x="7468" y="0"/>
                    <a:pt x="5974" y="1493"/>
                    <a:pt x="5974" y="1493"/>
                  </a:cubicBezTo>
                  <a:cubicBezTo>
                    <a:pt x="2987" y="4481"/>
                    <a:pt x="0" y="7468"/>
                    <a:pt x="0" y="11949"/>
                  </a:cubicBezTo>
                  <a:cubicBezTo>
                    <a:pt x="0" y="16430"/>
                    <a:pt x="4481" y="19417"/>
                    <a:pt x="7468" y="19417"/>
                  </a:cubicBezTo>
                  <a:cubicBezTo>
                    <a:pt x="5974" y="20911"/>
                    <a:pt x="4481" y="25392"/>
                    <a:pt x="5974" y="26885"/>
                  </a:cubicBezTo>
                  <a:cubicBezTo>
                    <a:pt x="7468" y="29873"/>
                    <a:pt x="10455" y="31366"/>
                    <a:pt x="13443" y="29873"/>
                  </a:cubicBezTo>
                  <a:cubicBezTo>
                    <a:pt x="11949" y="32860"/>
                    <a:pt x="11949" y="35847"/>
                    <a:pt x="14936" y="38834"/>
                  </a:cubicBezTo>
                  <a:cubicBezTo>
                    <a:pt x="17924" y="40328"/>
                    <a:pt x="20911" y="40328"/>
                    <a:pt x="23898" y="38834"/>
                  </a:cubicBezTo>
                  <a:cubicBezTo>
                    <a:pt x="22405" y="41822"/>
                    <a:pt x="23898" y="44809"/>
                    <a:pt x="26885" y="46302"/>
                  </a:cubicBezTo>
                  <a:cubicBezTo>
                    <a:pt x="29873" y="47796"/>
                    <a:pt x="32860" y="47796"/>
                    <a:pt x="34354" y="46302"/>
                  </a:cubicBezTo>
                  <a:cubicBezTo>
                    <a:pt x="35847" y="44809"/>
                    <a:pt x="37341" y="43315"/>
                    <a:pt x="37341" y="40328"/>
                  </a:cubicBezTo>
                  <a:cubicBezTo>
                    <a:pt x="38835" y="37341"/>
                    <a:pt x="40328" y="34353"/>
                    <a:pt x="38835" y="31366"/>
                  </a:cubicBezTo>
                  <a:cubicBezTo>
                    <a:pt x="38835" y="28379"/>
                    <a:pt x="35847" y="25392"/>
                    <a:pt x="32860" y="26885"/>
                  </a:cubicBezTo>
                  <a:cubicBezTo>
                    <a:pt x="32860" y="25392"/>
                    <a:pt x="32860" y="22405"/>
                    <a:pt x="31366" y="20911"/>
                  </a:cubicBezTo>
                  <a:cubicBezTo>
                    <a:pt x="29873" y="19417"/>
                    <a:pt x="26885" y="17923"/>
                    <a:pt x="25392" y="19417"/>
                  </a:cubicBezTo>
                  <a:cubicBezTo>
                    <a:pt x="25392" y="16430"/>
                    <a:pt x="25392" y="14936"/>
                    <a:pt x="22405" y="13443"/>
                  </a:cubicBezTo>
                  <a:cubicBezTo>
                    <a:pt x="22405" y="11949"/>
                    <a:pt x="19417" y="10455"/>
                    <a:pt x="17924" y="11949"/>
                  </a:cubicBezTo>
                  <a:close/>
                </a:path>
              </a:pathLst>
            </a:custGeom>
            <a:solidFill>
              <a:srgbClr val="F7C08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2" name="任意多边形: 形状 10141"/>
            <p:cNvSpPr/>
            <p:nvPr/>
          </p:nvSpPr>
          <p:spPr>
            <a:xfrm>
              <a:off x="6553034" y="5447343"/>
              <a:ext cx="14936" cy="74682"/>
            </a:xfrm>
            <a:custGeom>
              <a:avLst/>
              <a:gdLst>
                <a:gd name="connsiteX0" fmla="*/ 27497 w 14936"/>
                <a:gd name="connsiteY0" fmla="*/ 79163 h 74681"/>
                <a:gd name="connsiteX1" fmla="*/ 15548 w 14936"/>
                <a:gd name="connsiteY1" fmla="*/ 58252 h 74681"/>
                <a:gd name="connsiteX2" fmla="*/ 612 w 14936"/>
                <a:gd name="connsiteY2" fmla="*/ 0 h 74681"/>
                <a:gd name="connsiteX3" fmla="*/ 3599 w 14936"/>
                <a:gd name="connsiteY3" fmla="*/ 2987 h 74681"/>
                <a:gd name="connsiteX4" fmla="*/ 27497 w 14936"/>
                <a:gd name="connsiteY4" fmla="*/ 79163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74681">
                  <a:moveTo>
                    <a:pt x="27497" y="79163"/>
                  </a:moveTo>
                  <a:cubicBezTo>
                    <a:pt x="27497" y="79163"/>
                    <a:pt x="18536" y="67214"/>
                    <a:pt x="15548" y="58252"/>
                  </a:cubicBezTo>
                  <a:cubicBezTo>
                    <a:pt x="-882" y="19418"/>
                    <a:pt x="-882" y="1494"/>
                    <a:pt x="612" y="0"/>
                  </a:cubicBezTo>
                  <a:lnTo>
                    <a:pt x="3599" y="2987"/>
                  </a:lnTo>
                  <a:lnTo>
                    <a:pt x="27497" y="79163"/>
                  </a:ln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3" name="任意多边形: 形状 10142"/>
            <p:cNvSpPr/>
            <p:nvPr/>
          </p:nvSpPr>
          <p:spPr>
            <a:xfrm>
              <a:off x="7984548" y="3823763"/>
              <a:ext cx="74682" cy="89618"/>
            </a:xfrm>
            <a:custGeom>
              <a:avLst/>
              <a:gdLst>
                <a:gd name="connsiteX0" fmla="*/ 0 w 74681"/>
                <a:gd name="connsiteY0" fmla="*/ 8962 h 89618"/>
                <a:gd name="connsiteX1" fmla="*/ 17923 w 74681"/>
                <a:gd name="connsiteY1" fmla="*/ 0 h 89618"/>
                <a:gd name="connsiteX2" fmla="*/ 74682 w 74681"/>
                <a:gd name="connsiteY2" fmla="*/ 70201 h 89618"/>
                <a:gd name="connsiteX3" fmla="*/ 68707 w 74681"/>
                <a:gd name="connsiteY3" fmla="*/ 98580 h 89618"/>
                <a:gd name="connsiteX4" fmla="*/ 68707 w 74681"/>
                <a:gd name="connsiteY4" fmla="*/ 98580 h 89618"/>
                <a:gd name="connsiteX5" fmla="*/ 40328 w 74681"/>
                <a:gd name="connsiteY5" fmla="*/ 92605 h 89618"/>
                <a:gd name="connsiteX6" fmla="*/ 0 w 74681"/>
                <a:gd name="connsiteY6" fmla="*/ 8962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681" h="89618">
                  <a:moveTo>
                    <a:pt x="0" y="8962"/>
                  </a:moveTo>
                  <a:lnTo>
                    <a:pt x="17923" y="0"/>
                  </a:lnTo>
                  <a:lnTo>
                    <a:pt x="74682" y="70201"/>
                  </a:lnTo>
                  <a:cubicBezTo>
                    <a:pt x="80656" y="79163"/>
                    <a:pt x="79162" y="91112"/>
                    <a:pt x="68707" y="98580"/>
                  </a:cubicBezTo>
                  <a:lnTo>
                    <a:pt x="68707" y="98580"/>
                  </a:lnTo>
                  <a:cubicBezTo>
                    <a:pt x="59745" y="104555"/>
                    <a:pt x="46302" y="101567"/>
                    <a:pt x="40328" y="92605"/>
                  </a:cubicBezTo>
                  <a:lnTo>
                    <a:pt x="0" y="8962"/>
                  </a:ln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4" name="任意多边形: 形状 10143"/>
            <p:cNvSpPr/>
            <p:nvPr/>
          </p:nvSpPr>
          <p:spPr>
            <a:xfrm>
              <a:off x="7961139" y="3755544"/>
              <a:ext cx="29873" cy="74682"/>
            </a:xfrm>
            <a:custGeom>
              <a:avLst/>
              <a:gdLst>
                <a:gd name="connsiteX0" fmla="*/ 23410 w 29872"/>
                <a:gd name="connsiteY0" fmla="*/ 77180 h 74681"/>
                <a:gd name="connsiteX1" fmla="*/ 41333 w 29872"/>
                <a:gd name="connsiteY1" fmla="*/ 66725 h 74681"/>
                <a:gd name="connsiteX2" fmla="*/ 38346 w 29872"/>
                <a:gd name="connsiteY2" fmla="*/ 38346 h 74681"/>
                <a:gd name="connsiteX3" fmla="*/ 33865 w 29872"/>
                <a:gd name="connsiteY3" fmla="*/ 26397 h 74681"/>
                <a:gd name="connsiteX4" fmla="*/ 26397 w 29872"/>
                <a:gd name="connsiteY4" fmla="*/ 11460 h 74681"/>
                <a:gd name="connsiteX5" fmla="*/ 23410 w 29872"/>
                <a:gd name="connsiteY5" fmla="*/ 6980 h 74681"/>
                <a:gd name="connsiteX6" fmla="*/ 20422 w 29872"/>
                <a:gd name="connsiteY6" fmla="*/ 3992 h 74681"/>
                <a:gd name="connsiteX7" fmla="*/ 1005 w 29872"/>
                <a:gd name="connsiteY7" fmla="*/ 1005 h 74681"/>
                <a:gd name="connsiteX8" fmla="*/ 3992 w 29872"/>
                <a:gd name="connsiteY8" fmla="*/ 18928 h 74681"/>
                <a:gd name="connsiteX9" fmla="*/ 8473 w 29872"/>
                <a:gd name="connsiteY9" fmla="*/ 35358 h 74681"/>
                <a:gd name="connsiteX10" fmla="*/ 11460 w 29872"/>
                <a:gd name="connsiteY10" fmla="*/ 56269 h 74681"/>
                <a:gd name="connsiteX11" fmla="*/ 15941 w 29872"/>
                <a:gd name="connsiteY11" fmla="*/ 66725 h 74681"/>
                <a:gd name="connsiteX12" fmla="*/ 23410 w 29872"/>
                <a:gd name="connsiteY12" fmla="*/ 7718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72" h="74681">
                  <a:moveTo>
                    <a:pt x="23410" y="77180"/>
                  </a:moveTo>
                  <a:cubicBezTo>
                    <a:pt x="29384" y="83155"/>
                    <a:pt x="44320" y="78674"/>
                    <a:pt x="41333" y="66725"/>
                  </a:cubicBezTo>
                  <a:cubicBezTo>
                    <a:pt x="38346" y="57763"/>
                    <a:pt x="39839" y="47308"/>
                    <a:pt x="38346" y="38346"/>
                  </a:cubicBezTo>
                  <a:cubicBezTo>
                    <a:pt x="36852" y="33865"/>
                    <a:pt x="35358" y="30878"/>
                    <a:pt x="33865" y="26397"/>
                  </a:cubicBezTo>
                  <a:cubicBezTo>
                    <a:pt x="30878" y="21916"/>
                    <a:pt x="29384" y="15941"/>
                    <a:pt x="26397" y="11460"/>
                  </a:cubicBezTo>
                  <a:cubicBezTo>
                    <a:pt x="24903" y="9967"/>
                    <a:pt x="24903" y="8473"/>
                    <a:pt x="23410" y="6980"/>
                  </a:cubicBezTo>
                  <a:cubicBezTo>
                    <a:pt x="21916" y="5486"/>
                    <a:pt x="20422" y="5486"/>
                    <a:pt x="20422" y="3992"/>
                  </a:cubicBezTo>
                  <a:cubicBezTo>
                    <a:pt x="17435" y="2499"/>
                    <a:pt x="3992" y="-1982"/>
                    <a:pt x="1005" y="1005"/>
                  </a:cubicBezTo>
                  <a:cubicBezTo>
                    <a:pt x="-1982" y="1005"/>
                    <a:pt x="2498" y="12954"/>
                    <a:pt x="3992" y="18928"/>
                  </a:cubicBezTo>
                  <a:cubicBezTo>
                    <a:pt x="5486" y="24903"/>
                    <a:pt x="5486" y="29384"/>
                    <a:pt x="8473" y="35358"/>
                  </a:cubicBezTo>
                  <a:cubicBezTo>
                    <a:pt x="11460" y="41333"/>
                    <a:pt x="9966" y="48801"/>
                    <a:pt x="11460" y="56269"/>
                  </a:cubicBezTo>
                  <a:cubicBezTo>
                    <a:pt x="12954" y="59257"/>
                    <a:pt x="14448" y="63737"/>
                    <a:pt x="15941" y="66725"/>
                  </a:cubicBezTo>
                  <a:cubicBezTo>
                    <a:pt x="17435" y="69712"/>
                    <a:pt x="18928" y="74193"/>
                    <a:pt x="23410" y="7718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5" name="任意多边形: 形状 10144"/>
            <p:cNvSpPr/>
            <p:nvPr/>
          </p:nvSpPr>
          <p:spPr>
            <a:xfrm>
              <a:off x="7947207" y="3786422"/>
              <a:ext cx="29873" cy="44809"/>
            </a:xfrm>
            <a:custGeom>
              <a:avLst/>
              <a:gdLst>
                <a:gd name="connsiteX0" fmla="*/ 8961 w 29872"/>
                <a:gd name="connsiteY0" fmla="*/ 17924 h 44809"/>
                <a:gd name="connsiteX1" fmla="*/ 0 w 29872"/>
                <a:gd name="connsiteY1" fmla="*/ 2987 h 44809"/>
                <a:gd name="connsiteX2" fmla="*/ 5974 w 29872"/>
                <a:gd name="connsiteY2" fmla="*/ 0 h 44809"/>
                <a:gd name="connsiteX3" fmla="*/ 11949 w 29872"/>
                <a:gd name="connsiteY3" fmla="*/ 4481 h 44809"/>
                <a:gd name="connsiteX4" fmla="*/ 16430 w 29872"/>
                <a:gd name="connsiteY4" fmla="*/ 10455 h 44809"/>
                <a:gd name="connsiteX5" fmla="*/ 29873 w 29872"/>
                <a:gd name="connsiteY5" fmla="*/ 19417 h 44809"/>
                <a:gd name="connsiteX6" fmla="*/ 38834 w 29872"/>
                <a:gd name="connsiteY6" fmla="*/ 31366 h 44809"/>
                <a:gd name="connsiteX7" fmla="*/ 43315 w 29872"/>
                <a:gd name="connsiteY7" fmla="*/ 40328 h 44809"/>
                <a:gd name="connsiteX8" fmla="*/ 38834 w 29872"/>
                <a:gd name="connsiteY8" fmla="*/ 46303 h 44809"/>
                <a:gd name="connsiteX9" fmla="*/ 20911 w 29872"/>
                <a:gd name="connsiteY9" fmla="*/ 29873 h 44809"/>
                <a:gd name="connsiteX10" fmla="*/ 14936 w 29872"/>
                <a:gd name="connsiteY10" fmla="*/ 23898 h 44809"/>
                <a:gd name="connsiteX11" fmla="*/ 8961 w 29872"/>
                <a:gd name="connsiteY11" fmla="*/ 17924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872" h="44809">
                  <a:moveTo>
                    <a:pt x="8961" y="17924"/>
                  </a:moveTo>
                  <a:cubicBezTo>
                    <a:pt x="5974" y="11949"/>
                    <a:pt x="2987" y="7468"/>
                    <a:pt x="0" y="2987"/>
                  </a:cubicBezTo>
                  <a:cubicBezTo>
                    <a:pt x="1493" y="0"/>
                    <a:pt x="4481" y="0"/>
                    <a:pt x="5974" y="0"/>
                  </a:cubicBezTo>
                  <a:cubicBezTo>
                    <a:pt x="8961" y="1494"/>
                    <a:pt x="10455" y="2987"/>
                    <a:pt x="11949" y="4481"/>
                  </a:cubicBezTo>
                  <a:cubicBezTo>
                    <a:pt x="13443" y="5975"/>
                    <a:pt x="13443" y="8962"/>
                    <a:pt x="16430" y="10455"/>
                  </a:cubicBezTo>
                  <a:cubicBezTo>
                    <a:pt x="19417" y="14936"/>
                    <a:pt x="25392" y="16430"/>
                    <a:pt x="29873" y="19417"/>
                  </a:cubicBezTo>
                  <a:cubicBezTo>
                    <a:pt x="34353" y="22405"/>
                    <a:pt x="37341" y="26885"/>
                    <a:pt x="38834" y="31366"/>
                  </a:cubicBezTo>
                  <a:cubicBezTo>
                    <a:pt x="40328" y="34354"/>
                    <a:pt x="41822" y="37341"/>
                    <a:pt x="43315" y="40328"/>
                  </a:cubicBezTo>
                  <a:cubicBezTo>
                    <a:pt x="44809" y="43316"/>
                    <a:pt x="40328" y="43316"/>
                    <a:pt x="38834" y="46303"/>
                  </a:cubicBezTo>
                  <a:cubicBezTo>
                    <a:pt x="31366" y="40328"/>
                    <a:pt x="28379" y="37341"/>
                    <a:pt x="20911" y="29873"/>
                  </a:cubicBezTo>
                  <a:cubicBezTo>
                    <a:pt x="19417" y="28379"/>
                    <a:pt x="16430" y="26885"/>
                    <a:pt x="14936" y="23898"/>
                  </a:cubicBezTo>
                  <a:cubicBezTo>
                    <a:pt x="11949" y="22405"/>
                    <a:pt x="10455" y="19417"/>
                    <a:pt x="8961" y="17924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6" name="任意多边形: 形状 10145"/>
            <p:cNvSpPr/>
            <p:nvPr/>
          </p:nvSpPr>
          <p:spPr>
            <a:xfrm>
              <a:off x="7936752" y="3764530"/>
              <a:ext cx="59745" cy="59745"/>
            </a:xfrm>
            <a:custGeom>
              <a:avLst/>
              <a:gdLst>
                <a:gd name="connsiteX0" fmla="*/ 62733 w 59745"/>
                <a:gd name="connsiteY0" fmla="*/ 47284 h 59745"/>
                <a:gd name="connsiteX1" fmla="*/ 25392 w 59745"/>
                <a:gd name="connsiteY1" fmla="*/ 2475 h 59745"/>
                <a:gd name="connsiteX2" fmla="*/ 17924 w 59745"/>
                <a:gd name="connsiteY2" fmla="*/ 981 h 59745"/>
                <a:gd name="connsiteX3" fmla="*/ 1494 w 59745"/>
                <a:gd name="connsiteY3" fmla="*/ 14424 h 59745"/>
                <a:gd name="connsiteX4" fmla="*/ 0 w 59745"/>
                <a:gd name="connsiteY4" fmla="*/ 17411 h 59745"/>
                <a:gd name="connsiteX5" fmla="*/ 0 w 59745"/>
                <a:gd name="connsiteY5" fmla="*/ 17411 h 59745"/>
                <a:gd name="connsiteX6" fmla="*/ 0 w 59745"/>
                <a:gd name="connsiteY6" fmla="*/ 17411 h 59745"/>
                <a:gd name="connsiteX7" fmla="*/ 0 w 59745"/>
                <a:gd name="connsiteY7" fmla="*/ 17411 h 59745"/>
                <a:gd name="connsiteX8" fmla="*/ 1494 w 59745"/>
                <a:gd name="connsiteY8" fmla="*/ 20398 h 59745"/>
                <a:gd name="connsiteX9" fmla="*/ 38835 w 59745"/>
                <a:gd name="connsiteY9" fmla="*/ 65207 h 59745"/>
                <a:gd name="connsiteX10" fmla="*/ 46303 w 59745"/>
                <a:gd name="connsiteY10" fmla="*/ 66701 h 59745"/>
                <a:gd name="connsiteX11" fmla="*/ 64226 w 59745"/>
                <a:gd name="connsiteY11" fmla="*/ 53258 h 59745"/>
                <a:gd name="connsiteX12" fmla="*/ 65720 w 59745"/>
                <a:gd name="connsiteY12" fmla="*/ 50271 h 59745"/>
                <a:gd name="connsiteX13" fmla="*/ 65720 w 59745"/>
                <a:gd name="connsiteY13" fmla="*/ 50271 h 59745"/>
                <a:gd name="connsiteX14" fmla="*/ 65720 w 59745"/>
                <a:gd name="connsiteY14" fmla="*/ 50271 h 59745"/>
                <a:gd name="connsiteX15" fmla="*/ 65720 w 59745"/>
                <a:gd name="connsiteY15" fmla="*/ 50271 h 59745"/>
                <a:gd name="connsiteX16" fmla="*/ 62733 w 59745"/>
                <a:gd name="connsiteY16" fmla="*/ 47284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745" h="59745">
                  <a:moveTo>
                    <a:pt x="62733" y="47284"/>
                  </a:moveTo>
                  <a:lnTo>
                    <a:pt x="25392" y="2475"/>
                  </a:lnTo>
                  <a:cubicBezTo>
                    <a:pt x="23898" y="-513"/>
                    <a:pt x="19417" y="-513"/>
                    <a:pt x="17924" y="981"/>
                  </a:cubicBezTo>
                  <a:lnTo>
                    <a:pt x="1494" y="14424"/>
                  </a:lnTo>
                  <a:cubicBezTo>
                    <a:pt x="0" y="14424"/>
                    <a:pt x="0" y="15918"/>
                    <a:pt x="0" y="17411"/>
                  </a:cubicBezTo>
                  <a:cubicBezTo>
                    <a:pt x="0" y="17411"/>
                    <a:pt x="0" y="17411"/>
                    <a:pt x="0" y="17411"/>
                  </a:cubicBezTo>
                  <a:lnTo>
                    <a:pt x="0" y="17411"/>
                  </a:lnTo>
                  <a:lnTo>
                    <a:pt x="0" y="17411"/>
                  </a:lnTo>
                  <a:cubicBezTo>
                    <a:pt x="0" y="18905"/>
                    <a:pt x="0" y="20398"/>
                    <a:pt x="1494" y="20398"/>
                  </a:cubicBezTo>
                  <a:lnTo>
                    <a:pt x="38835" y="65207"/>
                  </a:lnTo>
                  <a:cubicBezTo>
                    <a:pt x="40328" y="68195"/>
                    <a:pt x="44809" y="68195"/>
                    <a:pt x="46303" y="66701"/>
                  </a:cubicBezTo>
                  <a:lnTo>
                    <a:pt x="64226" y="53258"/>
                  </a:lnTo>
                  <a:cubicBezTo>
                    <a:pt x="65720" y="53258"/>
                    <a:pt x="65720" y="51765"/>
                    <a:pt x="65720" y="50271"/>
                  </a:cubicBezTo>
                  <a:lnTo>
                    <a:pt x="65720" y="50271"/>
                  </a:lnTo>
                  <a:lnTo>
                    <a:pt x="65720" y="50271"/>
                  </a:lnTo>
                  <a:lnTo>
                    <a:pt x="65720" y="50271"/>
                  </a:lnTo>
                  <a:cubicBezTo>
                    <a:pt x="64226" y="48777"/>
                    <a:pt x="64226" y="47284"/>
                    <a:pt x="62733" y="47284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7" name="任意多边形: 形状 10146"/>
            <p:cNvSpPr/>
            <p:nvPr/>
          </p:nvSpPr>
          <p:spPr>
            <a:xfrm>
              <a:off x="7935258" y="3783435"/>
              <a:ext cx="14936" cy="14936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8" name="任意多边形: 形状 10147"/>
            <p:cNvSpPr/>
            <p:nvPr/>
          </p:nvSpPr>
          <p:spPr>
            <a:xfrm>
              <a:off x="7935258" y="3766024"/>
              <a:ext cx="59745" cy="59745"/>
            </a:xfrm>
            <a:custGeom>
              <a:avLst/>
              <a:gdLst>
                <a:gd name="connsiteX0" fmla="*/ 37341 w 59745"/>
                <a:gd name="connsiteY0" fmla="*/ 66701 h 59745"/>
                <a:gd name="connsiteX1" fmla="*/ 44809 w 59745"/>
                <a:gd name="connsiteY1" fmla="*/ 68195 h 59745"/>
                <a:gd name="connsiteX2" fmla="*/ 62733 w 59745"/>
                <a:gd name="connsiteY2" fmla="*/ 54752 h 59745"/>
                <a:gd name="connsiteX3" fmla="*/ 64227 w 59745"/>
                <a:gd name="connsiteY3" fmla="*/ 51765 h 59745"/>
                <a:gd name="connsiteX4" fmla="*/ 64227 w 59745"/>
                <a:gd name="connsiteY4" fmla="*/ 51765 h 59745"/>
                <a:gd name="connsiteX5" fmla="*/ 64227 w 59745"/>
                <a:gd name="connsiteY5" fmla="*/ 51765 h 59745"/>
                <a:gd name="connsiteX6" fmla="*/ 62733 w 59745"/>
                <a:gd name="connsiteY6" fmla="*/ 47284 h 59745"/>
                <a:gd name="connsiteX7" fmla="*/ 25392 w 59745"/>
                <a:gd name="connsiteY7" fmla="*/ 2475 h 59745"/>
                <a:gd name="connsiteX8" fmla="*/ 17924 w 59745"/>
                <a:gd name="connsiteY8" fmla="*/ 981 h 59745"/>
                <a:gd name="connsiteX9" fmla="*/ 1494 w 59745"/>
                <a:gd name="connsiteY9" fmla="*/ 14424 h 59745"/>
                <a:gd name="connsiteX10" fmla="*/ 0 w 59745"/>
                <a:gd name="connsiteY10" fmla="*/ 17411 h 59745"/>
                <a:gd name="connsiteX11" fmla="*/ 0 w 59745"/>
                <a:gd name="connsiteY11" fmla="*/ 17411 h 59745"/>
                <a:gd name="connsiteX12" fmla="*/ 0 w 59745"/>
                <a:gd name="connsiteY12" fmla="*/ 17411 h 59745"/>
                <a:gd name="connsiteX13" fmla="*/ 1494 w 59745"/>
                <a:gd name="connsiteY13" fmla="*/ 20398 h 59745"/>
                <a:gd name="connsiteX14" fmla="*/ 37341 w 59745"/>
                <a:gd name="connsiteY14" fmla="*/ 66701 h 59745"/>
                <a:gd name="connsiteX15" fmla="*/ 11949 w 59745"/>
                <a:gd name="connsiteY15" fmla="*/ 8449 h 59745"/>
                <a:gd name="connsiteX16" fmla="*/ 11949 w 59745"/>
                <a:gd name="connsiteY16" fmla="*/ 9943 h 59745"/>
                <a:gd name="connsiteX17" fmla="*/ 10456 w 59745"/>
                <a:gd name="connsiteY17" fmla="*/ 9943 h 59745"/>
                <a:gd name="connsiteX18" fmla="*/ 10456 w 59745"/>
                <a:gd name="connsiteY18" fmla="*/ 8449 h 59745"/>
                <a:gd name="connsiteX19" fmla="*/ 11949 w 59745"/>
                <a:gd name="connsiteY19" fmla="*/ 8449 h 59745"/>
                <a:gd name="connsiteX20" fmla="*/ 37341 w 59745"/>
                <a:gd name="connsiteY20" fmla="*/ 60726 h 59745"/>
                <a:gd name="connsiteX21" fmla="*/ 4481 w 59745"/>
                <a:gd name="connsiteY21" fmla="*/ 20398 h 59745"/>
                <a:gd name="connsiteX22" fmla="*/ 4481 w 59745"/>
                <a:gd name="connsiteY22" fmla="*/ 17411 h 59745"/>
                <a:gd name="connsiteX23" fmla="*/ 20911 w 59745"/>
                <a:gd name="connsiteY23" fmla="*/ 3968 h 59745"/>
                <a:gd name="connsiteX24" fmla="*/ 23898 w 59745"/>
                <a:gd name="connsiteY24" fmla="*/ 3968 h 59745"/>
                <a:gd name="connsiteX25" fmla="*/ 56758 w 59745"/>
                <a:gd name="connsiteY25" fmla="*/ 44297 h 59745"/>
                <a:gd name="connsiteX26" fmla="*/ 56758 w 59745"/>
                <a:gd name="connsiteY26" fmla="*/ 47284 h 59745"/>
                <a:gd name="connsiteX27" fmla="*/ 38835 w 59745"/>
                <a:gd name="connsiteY27" fmla="*/ 60726 h 59745"/>
                <a:gd name="connsiteX28" fmla="*/ 37341 w 59745"/>
                <a:gd name="connsiteY28" fmla="*/ 60726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9745" h="59745">
                  <a:moveTo>
                    <a:pt x="37341" y="66701"/>
                  </a:moveTo>
                  <a:cubicBezTo>
                    <a:pt x="38835" y="69688"/>
                    <a:pt x="43315" y="69688"/>
                    <a:pt x="44809" y="68195"/>
                  </a:cubicBezTo>
                  <a:lnTo>
                    <a:pt x="62733" y="54752"/>
                  </a:lnTo>
                  <a:cubicBezTo>
                    <a:pt x="64227" y="54752"/>
                    <a:pt x="64227" y="53258"/>
                    <a:pt x="64227" y="51765"/>
                  </a:cubicBezTo>
                  <a:lnTo>
                    <a:pt x="64227" y="51765"/>
                  </a:lnTo>
                  <a:cubicBezTo>
                    <a:pt x="64227" y="51765"/>
                    <a:pt x="64227" y="51765"/>
                    <a:pt x="64227" y="51765"/>
                  </a:cubicBezTo>
                  <a:cubicBezTo>
                    <a:pt x="64227" y="50271"/>
                    <a:pt x="64227" y="48777"/>
                    <a:pt x="62733" y="47284"/>
                  </a:cubicBezTo>
                  <a:lnTo>
                    <a:pt x="25392" y="2475"/>
                  </a:lnTo>
                  <a:cubicBezTo>
                    <a:pt x="23898" y="-513"/>
                    <a:pt x="19418" y="-513"/>
                    <a:pt x="17924" y="981"/>
                  </a:cubicBezTo>
                  <a:lnTo>
                    <a:pt x="1494" y="14424"/>
                  </a:lnTo>
                  <a:cubicBezTo>
                    <a:pt x="0" y="14424"/>
                    <a:pt x="0" y="15917"/>
                    <a:pt x="0" y="17411"/>
                  </a:cubicBezTo>
                  <a:cubicBezTo>
                    <a:pt x="0" y="17411"/>
                    <a:pt x="0" y="17411"/>
                    <a:pt x="0" y="17411"/>
                  </a:cubicBezTo>
                  <a:cubicBezTo>
                    <a:pt x="0" y="17411"/>
                    <a:pt x="0" y="17411"/>
                    <a:pt x="0" y="17411"/>
                  </a:cubicBezTo>
                  <a:cubicBezTo>
                    <a:pt x="0" y="18905"/>
                    <a:pt x="0" y="20398"/>
                    <a:pt x="1494" y="20398"/>
                  </a:cubicBezTo>
                  <a:lnTo>
                    <a:pt x="37341" y="66701"/>
                  </a:lnTo>
                  <a:close/>
                  <a:moveTo>
                    <a:pt x="11949" y="8449"/>
                  </a:moveTo>
                  <a:cubicBezTo>
                    <a:pt x="11949" y="8449"/>
                    <a:pt x="11949" y="9943"/>
                    <a:pt x="11949" y="9943"/>
                  </a:cubicBezTo>
                  <a:cubicBezTo>
                    <a:pt x="11949" y="9943"/>
                    <a:pt x="10456" y="9943"/>
                    <a:pt x="10456" y="9943"/>
                  </a:cubicBezTo>
                  <a:cubicBezTo>
                    <a:pt x="10456" y="9943"/>
                    <a:pt x="10456" y="8449"/>
                    <a:pt x="10456" y="8449"/>
                  </a:cubicBezTo>
                  <a:cubicBezTo>
                    <a:pt x="10456" y="8449"/>
                    <a:pt x="11949" y="8449"/>
                    <a:pt x="11949" y="8449"/>
                  </a:cubicBezTo>
                  <a:close/>
                  <a:moveTo>
                    <a:pt x="37341" y="60726"/>
                  </a:moveTo>
                  <a:lnTo>
                    <a:pt x="4481" y="20398"/>
                  </a:lnTo>
                  <a:cubicBezTo>
                    <a:pt x="4481" y="18905"/>
                    <a:pt x="2987" y="18905"/>
                    <a:pt x="4481" y="17411"/>
                  </a:cubicBezTo>
                  <a:lnTo>
                    <a:pt x="20911" y="3968"/>
                  </a:lnTo>
                  <a:cubicBezTo>
                    <a:pt x="20911" y="3968"/>
                    <a:pt x="22405" y="3968"/>
                    <a:pt x="23898" y="3968"/>
                  </a:cubicBezTo>
                  <a:lnTo>
                    <a:pt x="56758" y="44297"/>
                  </a:lnTo>
                  <a:cubicBezTo>
                    <a:pt x="58252" y="45790"/>
                    <a:pt x="58252" y="45790"/>
                    <a:pt x="56758" y="47284"/>
                  </a:cubicBezTo>
                  <a:lnTo>
                    <a:pt x="38835" y="60726"/>
                  </a:lnTo>
                  <a:cubicBezTo>
                    <a:pt x="38835" y="62220"/>
                    <a:pt x="37341" y="60726"/>
                    <a:pt x="37341" y="60726"/>
                  </a:cubicBezTo>
                  <a:close/>
                </a:path>
              </a:pathLst>
            </a:custGeom>
            <a:solidFill>
              <a:srgbClr val="706F6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9" name="任意多边形: 形状 10148"/>
            <p:cNvSpPr/>
            <p:nvPr/>
          </p:nvSpPr>
          <p:spPr>
            <a:xfrm>
              <a:off x="7945713" y="3774473"/>
              <a:ext cx="14936" cy="14936"/>
            </a:xfrm>
            <a:custGeom>
              <a:avLst/>
              <a:gdLst>
                <a:gd name="connsiteX0" fmla="*/ 1494 w 0"/>
                <a:gd name="connsiteY0" fmla="*/ 1494 h 0"/>
                <a:gd name="connsiteX1" fmla="*/ 0 w 0"/>
                <a:gd name="connsiteY1" fmla="*/ 1494 h 0"/>
                <a:gd name="connsiteX2" fmla="*/ 0 w 0"/>
                <a:gd name="connsiteY2" fmla="*/ 0 h 0"/>
                <a:gd name="connsiteX3" fmla="*/ 1494 w 0"/>
                <a:gd name="connsiteY3" fmla="*/ 0 h 0"/>
                <a:gd name="connsiteX4" fmla="*/ 1494 w 0"/>
                <a:gd name="connsiteY4" fmla="*/ 14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494" y="1494"/>
                  </a:moveTo>
                  <a:cubicBezTo>
                    <a:pt x="1494" y="1494"/>
                    <a:pt x="0" y="1494"/>
                    <a:pt x="0" y="1494"/>
                  </a:cubicBezTo>
                  <a:cubicBezTo>
                    <a:pt x="0" y="1494"/>
                    <a:pt x="0" y="0"/>
                    <a:pt x="0" y="0"/>
                  </a:cubicBezTo>
                  <a:cubicBezTo>
                    <a:pt x="0" y="0"/>
                    <a:pt x="1494" y="0"/>
                    <a:pt x="1494" y="0"/>
                  </a:cubicBezTo>
                  <a:cubicBezTo>
                    <a:pt x="1494" y="1494"/>
                    <a:pt x="1494" y="1494"/>
                    <a:pt x="1494" y="1494"/>
                  </a:cubicBezTo>
                  <a:close/>
                </a:path>
              </a:pathLst>
            </a:custGeom>
            <a:solidFill>
              <a:srgbClr val="EE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0" name="任意多边形: 形状 10149"/>
            <p:cNvSpPr/>
            <p:nvPr/>
          </p:nvSpPr>
          <p:spPr>
            <a:xfrm>
              <a:off x="7939739" y="3768872"/>
              <a:ext cx="44809" cy="44809"/>
            </a:xfrm>
            <a:custGeom>
              <a:avLst/>
              <a:gdLst>
                <a:gd name="connsiteX0" fmla="*/ 52277 w 44809"/>
                <a:gd name="connsiteY0" fmla="*/ 41448 h 44809"/>
                <a:gd name="connsiteX1" fmla="*/ 19417 w 44809"/>
                <a:gd name="connsiteY1" fmla="*/ 1120 h 44809"/>
                <a:gd name="connsiteX2" fmla="*/ 16430 w 44809"/>
                <a:gd name="connsiteY2" fmla="*/ 1120 h 44809"/>
                <a:gd name="connsiteX3" fmla="*/ 0 w 44809"/>
                <a:gd name="connsiteY3" fmla="*/ 14563 h 44809"/>
                <a:gd name="connsiteX4" fmla="*/ 0 w 44809"/>
                <a:gd name="connsiteY4" fmla="*/ 17550 h 44809"/>
                <a:gd name="connsiteX5" fmla="*/ 32860 w 44809"/>
                <a:gd name="connsiteY5" fmla="*/ 57878 h 44809"/>
                <a:gd name="connsiteX6" fmla="*/ 35847 w 44809"/>
                <a:gd name="connsiteY6" fmla="*/ 59372 h 44809"/>
                <a:gd name="connsiteX7" fmla="*/ 53770 w 44809"/>
                <a:gd name="connsiteY7" fmla="*/ 45929 h 44809"/>
                <a:gd name="connsiteX8" fmla="*/ 52277 w 44809"/>
                <a:gd name="connsiteY8" fmla="*/ 41448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09" h="44809">
                  <a:moveTo>
                    <a:pt x="52277" y="41448"/>
                  </a:moveTo>
                  <a:lnTo>
                    <a:pt x="19417" y="1120"/>
                  </a:lnTo>
                  <a:cubicBezTo>
                    <a:pt x="17923" y="-373"/>
                    <a:pt x="17923" y="-373"/>
                    <a:pt x="16430" y="1120"/>
                  </a:cubicBezTo>
                  <a:lnTo>
                    <a:pt x="0" y="14563"/>
                  </a:lnTo>
                  <a:cubicBezTo>
                    <a:pt x="0" y="14563"/>
                    <a:pt x="0" y="16057"/>
                    <a:pt x="0" y="17550"/>
                  </a:cubicBezTo>
                  <a:lnTo>
                    <a:pt x="32860" y="57878"/>
                  </a:lnTo>
                  <a:cubicBezTo>
                    <a:pt x="34353" y="59372"/>
                    <a:pt x="34353" y="59372"/>
                    <a:pt x="35847" y="59372"/>
                  </a:cubicBezTo>
                  <a:lnTo>
                    <a:pt x="53770" y="45929"/>
                  </a:lnTo>
                  <a:cubicBezTo>
                    <a:pt x="53770" y="44436"/>
                    <a:pt x="53770" y="42942"/>
                    <a:pt x="52277" y="41448"/>
                  </a:cubicBezTo>
                  <a:close/>
                </a:path>
              </a:pathLst>
            </a:custGeom>
            <a:solidFill>
              <a:srgbClr val="00C2B9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1" name="任意多边形: 形状 10150"/>
            <p:cNvSpPr/>
            <p:nvPr/>
          </p:nvSpPr>
          <p:spPr>
            <a:xfrm>
              <a:off x="7982390" y="3820776"/>
              <a:ext cx="14936" cy="14936"/>
            </a:xfrm>
            <a:custGeom>
              <a:avLst/>
              <a:gdLst>
                <a:gd name="connsiteX0" fmla="*/ 664 w 0"/>
                <a:gd name="connsiteY0" fmla="*/ 2987 h 0"/>
                <a:gd name="connsiteX1" fmla="*/ 5145 w 0"/>
                <a:gd name="connsiteY1" fmla="*/ 0 h 0"/>
                <a:gd name="connsiteX2" fmla="*/ 8132 w 0"/>
                <a:gd name="connsiteY2" fmla="*/ 0 h 0"/>
                <a:gd name="connsiteX3" fmla="*/ 8132 w 0"/>
                <a:gd name="connsiteY3" fmla="*/ 0 h 0"/>
                <a:gd name="connsiteX4" fmla="*/ 8132 w 0"/>
                <a:gd name="connsiteY4" fmla="*/ 1494 h 0"/>
                <a:gd name="connsiteX5" fmla="*/ 3651 w 0"/>
                <a:gd name="connsiteY5" fmla="*/ 4481 h 0"/>
                <a:gd name="connsiteX6" fmla="*/ 664 w 0"/>
                <a:gd name="connsiteY6" fmla="*/ 4481 h 0"/>
                <a:gd name="connsiteX7" fmla="*/ 664 w 0"/>
                <a:gd name="connsiteY7" fmla="*/ 4481 h 0"/>
                <a:gd name="connsiteX8" fmla="*/ 664 w 0"/>
                <a:gd name="connsiteY8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>
                  <a:moveTo>
                    <a:pt x="664" y="2987"/>
                  </a:moveTo>
                  <a:lnTo>
                    <a:pt x="5145" y="0"/>
                  </a:lnTo>
                  <a:cubicBezTo>
                    <a:pt x="5145" y="0"/>
                    <a:pt x="6638" y="0"/>
                    <a:pt x="8132" y="0"/>
                  </a:cubicBezTo>
                  <a:lnTo>
                    <a:pt x="8132" y="0"/>
                  </a:lnTo>
                  <a:cubicBezTo>
                    <a:pt x="8132" y="1494"/>
                    <a:pt x="8132" y="1494"/>
                    <a:pt x="8132" y="1494"/>
                  </a:cubicBezTo>
                  <a:lnTo>
                    <a:pt x="3651" y="4481"/>
                  </a:lnTo>
                  <a:cubicBezTo>
                    <a:pt x="3651" y="4481"/>
                    <a:pt x="2158" y="4481"/>
                    <a:pt x="664" y="4481"/>
                  </a:cubicBezTo>
                  <a:lnTo>
                    <a:pt x="664" y="4481"/>
                  </a:lnTo>
                  <a:cubicBezTo>
                    <a:pt x="664" y="4481"/>
                    <a:pt x="-830" y="2987"/>
                    <a:pt x="664" y="2987"/>
                  </a:cubicBezTo>
                  <a:close/>
                </a:path>
              </a:pathLst>
            </a:custGeom>
            <a:solidFill>
              <a:srgbClr val="EE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2" name="任意多边形: 形状 10151"/>
            <p:cNvSpPr/>
            <p:nvPr/>
          </p:nvSpPr>
          <p:spPr>
            <a:xfrm>
              <a:off x="7923309" y="4022416"/>
              <a:ext cx="74682" cy="283791"/>
            </a:xfrm>
            <a:custGeom>
              <a:avLst/>
              <a:gdLst>
                <a:gd name="connsiteX0" fmla="*/ 79162 w 74681"/>
                <a:gd name="connsiteY0" fmla="*/ 247943 h 283790"/>
                <a:gd name="connsiteX1" fmla="*/ 77669 w 74681"/>
                <a:gd name="connsiteY1" fmla="*/ 261386 h 283790"/>
                <a:gd name="connsiteX2" fmla="*/ 77669 w 74681"/>
                <a:gd name="connsiteY2" fmla="*/ 262880 h 283790"/>
                <a:gd name="connsiteX3" fmla="*/ 77669 w 74681"/>
                <a:gd name="connsiteY3" fmla="*/ 262880 h 283790"/>
                <a:gd name="connsiteX4" fmla="*/ 77669 w 74681"/>
                <a:gd name="connsiteY4" fmla="*/ 262880 h 283790"/>
                <a:gd name="connsiteX5" fmla="*/ 53771 w 74681"/>
                <a:gd name="connsiteY5" fmla="*/ 283791 h 283790"/>
                <a:gd name="connsiteX6" fmla="*/ 53771 w 74681"/>
                <a:gd name="connsiteY6" fmla="*/ 283791 h 283790"/>
                <a:gd name="connsiteX7" fmla="*/ 0 w 74681"/>
                <a:gd name="connsiteY7" fmla="*/ 59745 h 283790"/>
                <a:gd name="connsiteX8" fmla="*/ 4481 w 74681"/>
                <a:gd name="connsiteY8" fmla="*/ 43315 h 283790"/>
                <a:gd name="connsiteX9" fmla="*/ 2987 w 74681"/>
                <a:gd name="connsiteY9" fmla="*/ 40328 h 283790"/>
                <a:gd name="connsiteX10" fmla="*/ 10455 w 74681"/>
                <a:gd name="connsiteY10" fmla="*/ 22405 h 283790"/>
                <a:gd name="connsiteX11" fmla="*/ 53771 w 74681"/>
                <a:gd name="connsiteY11" fmla="*/ 0 h 283790"/>
                <a:gd name="connsiteX12" fmla="*/ 53771 w 74681"/>
                <a:gd name="connsiteY12" fmla="*/ 0 h 283790"/>
                <a:gd name="connsiteX13" fmla="*/ 61239 w 74681"/>
                <a:gd name="connsiteY13" fmla="*/ 16430 h 283790"/>
                <a:gd name="connsiteX14" fmla="*/ 79162 w 74681"/>
                <a:gd name="connsiteY14" fmla="*/ 247943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4681" h="283790">
                  <a:moveTo>
                    <a:pt x="79162" y="247943"/>
                  </a:moveTo>
                  <a:lnTo>
                    <a:pt x="77669" y="261386"/>
                  </a:lnTo>
                  <a:cubicBezTo>
                    <a:pt x="77669" y="261386"/>
                    <a:pt x="77669" y="261386"/>
                    <a:pt x="77669" y="262880"/>
                  </a:cubicBezTo>
                  <a:lnTo>
                    <a:pt x="77669" y="262880"/>
                  </a:lnTo>
                  <a:cubicBezTo>
                    <a:pt x="77669" y="262880"/>
                    <a:pt x="77669" y="262880"/>
                    <a:pt x="77669" y="262880"/>
                  </a:cubicBezTo>
                  <a:cubicBezTo>
                    <a:pt x="76175" y="274829"/>
                    <a:pt x="65720" y="283791"/>
                    <a:pt x="53771" y="283791"/>
                  </a:cubicBezTo>
                  <a:lnTo>
                    <a:pt x="53771" y="283791"/>
                  </a:lnTo>
                  <a:cubicBezTo>
                    <a:pt x="7468" y="288271"/>
                    <a:pt x="0" y="59745"/>
                    <a:pt x="0" y="59745"/>
                  </a:cubicBezTo>
                  <a:lnTo>
                    <a:pt x="4481" y="43315"/>
                  </a:lnTo>
                  <a:cubicBezTo>
                    <a:pt x="4481" y="41822"/>
                    <a:pt x="2987" y="41822"/>
                    <a:pt x="2987" y="40328"/>
                  </a:cubicBezTo>
                  <a:cubicBezTo>
                    <a:pt x="1494" y="34353"/>
                    <a:pt x="4481" y="28379"/>
                    <a:pt x="10455" y="22405"/>
                  </a:cubicBezTo>
                  <a:cubicBezTo>
                    <a:pt x="25392" y="8962"/>
                    <a:pt x="53771" y="0"/>
                    <a:pt x="53771" y="0"/>
                  </a:cubicBezTo>
                  <a:lnTo>
                    <a:pt x="53771" y="0"/>
                  </a:lnTo>
                  <a:cubicBezTo>
                    <a:pt x="56758" y="4481"/>
                    <a:pt x="58252" y="10456"/>
                    <a:pt x="61239" y="16430"/>
                  </a:cubicBezTo>
                  <a:cubicBezTo>
                    <a:pt x="82150" y="76175"/>
                    <a:pt x="80656" y="161312"/>
                    <a:pt x="79162" y="247943"/>
                  </a:cubicBezTo>
                  <a:close/>
                </a:path>
              </a:pathLst>
            </a:custGeom>
            <a:solidFill>
              <a:srgbClr val="CBBBA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3" name="任意多边形: 形状 10152"/>
            <p:cNvSpPr/>
            <p:nvPr/>
          </p:nvSpPr>
          <p:spPr>
            <a:xfrm>
              <a:off x="7966624" y="4518303"/>
              <a:ext cx="14936" cy="14936"/>
            </a:xfrm>
            <a:custGeom>
              <a:avLst/>
              <a:gdLst>
                <a:gd name="connsiteX0" fmla="*/ 11949 w 0"/>
                <a:gd name="connsiteY0" fmla="*/ 0 h 14936"/>
                <a:gd name="connsiteX1" fmla="*/ 0 w 0"/>
                <a:gd name="connsiteY1" fmla="*/ 1493 h 14936"/>
                <a:gd name="connsiteX2" fmla="*/ 1494 w 0"/>
                <a:gd name="connsiteY2" fmla="*/ 14936 h 14936"/>
                <a:gd name="connsiteX3" fmla="*/ 11949 w 0"/>
                <a:gd name="connsiteY3" fmla="*/ 8961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936">
                  <a:moveTo>
                    <a:pt x="11949" y="0"/>
                  </a:moveTo>
                  <a:lnTo>
                    <a:pt x="0" y="1493"/>
                  </a:lnTo>
                  <a:lnTo>
                    <a:pt x="1494" y="14936"/>
                  </a:lnTo>
                  <a:lnTo>
                    <a:pt x="11949" y="8961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4" name="任意多边形: 形状 10153"/>
            <p:cNvSpPr/>
            <p:nvPr/>
          </p:nvSpPr>
          <p:spPr>
            <a:xfrm>
              <a:off x="7956108" y="4469888"/>
              <a:ext cx="44809" cy="59745"/>
            </a:xfrm>
            <a:custGeom>
              <a:avLst/>
              <a:gdLst>
                <a:gd name="connsiteX0" fmla="*/ 23959 w 44809"/>
                <a:gd name="connsiteY0" fmla="*/ 54390 h 59745"/>
                <a:gd name="connsiteX1" fmla="*/ 34414 w 44809"/>
                <a:gd name="connsiteY1" fmla="*/ 61858 h 59745"/>
                <a:gd name="connsiteX2" fmla="*/ 46363 w 44809"/>
                <a:gd name="connsiteY2" fmla="*/ 64845 h 59745"/>
                <a:gd name="connsiteX3" fmla="*/ 50844 w 44809"/>
                <a:gd name="connsiteY3" fmla="*/ 61858 h 59745"/>
                <a:gd name="connsiteX4" fmla="*/ 50844 w 44809"/>
                <a:gd name="connsiteY4" fmla="*/ 55883 h 59745"/>
                <a:gd name="connsiteX5" fmla="*/ 44869 w 44809"/>
                <a:gd name="connsiteY5" fmla="*/ 43934 h 59745"/>
                <a:gd name="connsiteX6" fmla="*/ 29933 w 44809"/>
                <a:gd name="connsiteY6" fmla="*/ 6593 h 59745"/>
                <a:gd name="connsiteX7" fmla="*/ 28440 w 44809"/>
                <a:gd name="connsiteY7" fmla="*/ 3606 h 59745"/>
                <a:gd name="connsiteX8" fmla="*/ 25452 w 44809"/>
                <a:gd name="connsiteY8" fmla="*/ 2112 h 59745"/>
                <a:gd name="connsiteX9" fmla="*/ 7528 w 44809"/>
                <a:gd name="connsiteY9" fmla="*/ 619 h 59745"/>
                <a:gd name="connsiteX10" fmla="*/ 6035 w 44809"/>
                <a:gd name="connsiteY10" fmla="*/ 2112 h 59745"/>
                <a:gd name="connsiteX11" fmla="*/ 4541 w 44809"/>
                <a:gd name="connsiteY11" fmla="*/ 3606 h 59745"/>
                <a:gd name="connsiteX12" fmla="*/ 1554 w 44809"/>
                <a:gd name="connsiteY12" fmla="*/ 11074 h 59745"/>
                <a:gd name="connsiteX13" fmla="*/ 4541 w 44809"/>
                <a:gd name="connsiteY13" fmla="*/ 37960 h 59745"/>
                <a:gd name="connsiteX14" fmla="*/ 12010 w 44809"/>
                <a:gd name="connsiteY14" fmla="*/ 45428 h 59745"/>
                <a:gd name="connsiteX15" fmla="*/ 23959 w 44809"/>
                <a:gd name="connsiteY15" fmla="*/ 54390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59745">
                  <a:moveTo>
                    <a:pt x="23959" y="54390"/>
                  </a:moveTo>
                  <a:cubicBezTo>
                    <a:pt x="26946" y="57377"/>
                    <a:pt x="29933" y="60364"/>
                    <a:pt x="34414" y="61858"/>
                  </a:cubicBezTo>
                  <a:cubicBezTo>
                    <a:pt x="37401" y="63352"/>
                    <a:pt x="41882" y="64845"/>
                    <a:pt x="46363" y="64845"/>
                  </a:cubicBezTo>
                  <a:cubicBezTo>
                    <a:pt x="47857" y="64845"/>
                    <a:pt x="50844" y="63352"/>
                    <a:pt x="50844" y="61858"/>
                  </a:cubicBezTo>
                  <a:cubicBezTo>
                    <a:pt x="52338" y="60364"/>
                    <a:pt x="52338" y="57377"/>
                    <a:pt x="50844" y="55883"/>
                  </a:cubicBezTo>
                  <a:cubicBezTo>
                    <a:pt x="49351" y="51402"/>
                    <a:pt x="47857" y="46921"/>
                    <a:pt x="44869" y="43934"/>
                  </a:cubicBezTo>
                  <a:cubicBezTo>
                    <a:pt x="38895" y="31985"/>
                    <a:pt x="32920" y="20036"/>
                    <a:pt x="29933" y="6593"/>
                  </a:cubicBezTo>
                  <a:cubicBezTo>
                    <a:pt x="29933" y="5099"/>
                    <a:pt x="29933" y="5099"/>
                    <a:pt x="28440" y="3606"/>
                  </a:cubicBezTo>
                  <a:cubicBezTo>
                    <a:pt x="28440" y="3606"/>
                    <a:pt x="26946" y="2112"/>
                    <a:pt x="25452" y="2112"/>
                  </a:cubicBezTo>
                  <a:cubicBezTo>
                    <a:pt x="19478" y="619"/>
                    <a:pt x="13503" y="-875"/>
                    <a:pt x="7528" y="619"/>
                  </a:cubicBezTo>
                  <a:cubicBezTo>
                    <a:pt x="7528" y="619"/>
                    <a:pt x="6035" y="619"/>
                    <a:pt x="6035" y="2112"/>
                  </a:cubicBezTo>
                  <a:cubicBezTo>
                    <a:pt x="6035" y="2112"/>
                    <a:pt x="6035" y="3606"/>
                    <a:pt x="4541" y="3606"/>
                  </a:cubicBezTo>
                  <a:cubicBezTo>
                    <a:pt x="4541" y="6593"/>
                    <a:pt x="3048" y="8087"/>
                    <a:pt x="1554" y="11074"/>
                  </a:cubicBezTo>
                  <a:cubicBezTo>
                    <a:pt x="-1433" y="20036"/>
                    <a:pt x="60" y="30491"/>
                    <a:pt x="4541" y="37960"/>
                  </a:cubicBezTo>
                  <a:cubicBezTo>
                    <a:pt x="6035" y="40947"/>
                    <a:pt x="9022" y="43934"/>
                    <a:pt x="12010" y="45428"/>
                  </a:cubicBezTo>
                  <a:cubicBezTo>
                    <a:pt x="17984" y="48415"/>
                    <a:pt x="20972" y="51402"/>
                    <a:pt x="23959" y="5439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5" name="任意多边形: 形状 10154"/>
            <p:cNvSpPr/>
            <p:nvPr/>
          </p:nvSpPr>
          <p:spPr>
            <a:xfrm>
              <a:off x="7952246" y="4472000"/>
              <a:ext cx="74682" cy="74682"/>
            </a:xfrm>
            <a:custGeom>
              <a:avLst/>
              <a:gdLst>
                <a:gd name="connsiteX0" fmla="*/ 5416 w 74681"/>
                <a:gd name="connsiteY0" fmla="*/ 53771 h 74681"/>
                <a:gd name="connsiteX1" fmla="*/ 15872 w 74681"/>
                <a:gd name="connsiteY1" fmla="*/ 61239 h 74681"/>
                <a:gd name="connsiteX2" fmla="*/ 14378 w 74681"/>
                <a:gd name="connsiteY2" fmla="*/ 46303 h 74681"/>
                <a:gd name="connsiteX3" fmla="*/ 29315 w 74681"/>
                <a:gd name="connsiteY3" fmla="*/ 68707 h 74681"/>
                <a:gd name="connsiteX4" fmla="*/ 65162 w 74681"/>
                <a:gd name="connsiteY4" fmla="*/ 85137 h 74681"/>
                <a:gd name="connsiteX5" fmla="*/ 75617 w 74681"/>
                <a:gd name="connsiteY5" fmla="*/ 83644 h 74681"/>
                <a:gd name="connsiteX6" fmla="*/ 77111 w 74681"/>
                <a:gd name="connsiteY6" fmla="*/ 82150 h 74681"/>
                <a:gd name="connsiteX7" fmla="*/ 77111 w 74681"/>
                <a:gd name="connsiteY7" fmla="*/ 79162 h 74681"/>
                <a:gd name="connsiteX8" fmla="*/ 47239 w 74681"/>
                <a:gd name="connsiteY8" fmla="*/ 31366 h 74681"/>
                <a:gd name="connsiteX9" fmla="*/ 51719 w 74681"/>
                <a:gd name="connsiteY9" fmla="*/ 46303 h 74681"/>
                <a:gd name="connsiteX10" fmla="*/ 50226 w 74681"/>
                <a:gd name="connsiteY10" fmla="*/ 52277 h 74681"/>
                <a:gd name="connsiteX11" fmla="*/ 45745 w 74681"/>
                <a:gd name="connsiteY11" fmla="*/ 52277 h 74681"/>
                <a:gd name="connsiteX12" fmla="*/ 33795 w 74681"/>
                <a:gd name="connsiteY12" fmla="*/ 44809 h 74681"/>
                <a:gd name="connsiteX13" fmla="*/ 24834 w 74681"/>
                <a:gd name="connsiteY13" fmla="*/ 37341 h 74681"/>
                <a:gd name="connsiteX14" fmla="*/ 17366 w 74681"/>
                <a:gd name="connsiteY14" fmla="*/ 31366 h 74681"/>
                <a:gd name="connsiteX15" fmla="*/ 9898 w 74681"/>
                <a:gd name="connsiteY15" fmla="*/ 0 h 74681"/>
                <a:gd name="connsiteX16" fmla="*/ 936 w 74681"/>
                <a:gd name="connsiteY16" fmla="*/ 26885 h 74681"/>
                <a:gd name="connsiteX17" fmla="*/ 3923 w 74681"/>
                <a:gd name="connsiteY17" fmla="*/ 37341 h 74681"/>
                <a:gd name="connsiteX18" fmla="*/ 5416 w 74681"/>
                <a:gd name="connsiteY18" fmla="*/ 5377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4681" h="74681">
                  <a:moveTo>
                    <a:pt x="5416" y="53771"/>
                  </a:moveTo>
                  <a:cubicBezTo>
                    <a:pt x="9898" y="56758"/>
                    <a:pt x="12885" y="58252"/>
                    <a:pt x="15872" y="61239"/>
                  </a:cubicBezTo>
                  <a:cubicBezTo>
                    <a:pt x="15872" y="56758"/>
                    <a:pt x="15872" y="52277"/>
                    <a:pt x="14378" y="46303"/>
                  </a:cubicBezTo>
                  <a:cubicBezTo>
                    <a:pt x="21847" y="52277"/>
                    <a:pt x="23340" y="61239"/>
                    <a:pt x="29315" y="68707"/>
                  </a:cubicBezTo>
                  <a:cubicBezTo>
                    <a:pt x="36783" y="79162"/>
                    <a:pt x="51719" y="85137"/>
                    <a:pt x="65162" y="85137"/>
                  </a:cubicBezTo>
                  <a:cubicBezTo>
                    <a:pt x="68149" y="85137"/>
                    <a:pt x="72630" y="85137"/>
                    <a:pt x="75617" y="83644"/>
                  </a:cubicBezTo>
                  <a:cubicBezTo>
                    <a:pt x="75617" y="83644"/>
                    <a:pt x="77111" y="82150"/>
                    <a:pt x="77111" y="82150"/>
                  </a:cubicBezTo>
                  <a:cubicBezTo>
                    <a:pt x="77111" y="80656"/>
                    <a:pt x="77111" y="80656"/>
                    <a:pt x="77111" y="79162"/>
                  </a:cubicBezTo>
                  <a:cubicBezTo>
                    <a:pt x="68149" y="62732"/>
                    <a:pt x="57694" y="46303"/>
                    <a:pt x="47239" y="31366"/>
                  </a:cubicBezTo>
                  <a:cubicBezTo>
                    <a:pt x="50226" y="35847"/>
                    <a:pt x="51719" y="41822"/>
                    <a:pt x="51719" y="46303"/>
                  </a:cubicBezTo>
                  <a:cubicBezTo>
                    <a:pt x="51719" y="47796"/>
                    <a:pt x="51719" y="50783"/>
                    <a:pt x="50226" y="52277"/>
                  </a:cubicBezTo>
                  <a:cubicBezTo>
                    <a:pt x="48732" y="53771"/>
                    <a:pt x="47239" y="53771"/>
                    <a:pt x="45745" y="52277"/>
                  </a:cubicBezTo>
                  <a:cubicBezTo>
                    <a:pt x="41264" y="50783"/>
                    <a:pt x="38277" y="47796"/>
                    <a:pt x="33795" y="44809"/>
                  </a:cubicBezTo>
                  <a:cubicBezTo>
                    <a:pt x="30808" y="41822"/>
                    <a:pt x="27821" y="40328"/>
                    <a:pt x="24834" y="37341"/>
                  </a:cubicBezTo>
                  <a:cubicBezTo>
                    <a:pt x="21847" y="35847"/>
                    <a:pt x="20353" y="32860"/>
                    <a:pt x="17366" y="31366"/>
                  </a:cubicBezTo>
                  <a:cubicBezTo>
                    <a:pt x="9898" y="22405"/>
                    <a:pt x="8404" y="10455"/>
                    <a:pt x="9898" y="0"/>
                  </a:cubicBezTo>
                  <a:cubicBezTo>
                    <a:pt x="2429" y="5974"/>
                    <a:pt x="-2052" y="17923"/>
                    <a:pt x="936" y="26885"/>
                  </a:cubicBezTo>
                  <a:cubicBezTo>
                    <a:pt x="2429" y="29873"/>
                    <a:pt x="2429" y="34353"/>
                    <a:pt x="3923" y="37341"/>
                  </a:cubicBezTo>
                  <a:cubicBezTo>
                    <a:pt x="5416" y="44809"/>
                    <a:pt x="5416" y="49290"/>
                    <a:pt x="5416" y="5377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6" name="任意多边形: 形状 10155"/>
            <p:cNvSpPr/>
            <p:nvPr/>
          </p:nvSpPr>
          <p:spPr>
            <a:xfrm>
              <a:off x="7943473" y="4262891"/>
              <a:ext cx="44809" cy="209109"/>
            </a:xfrm>
            <a:custGeom>
              <a:avLst/>
              <a:gdLst>
                <a:gd name="connsiteX0" fmla="*/ 54518 w 44809"/>
                <a:gd name="connsiteY0" fmla="*/ 213590 h 209108"/>
                <a:gd name="connsiteX1" fmla="*/ 9709 w 44809"/>
                <a:gd name="connsiteY1" fmla="*/ 209109 h 209108"/>
                <a:gd name="connsiteX2" fmla="*/ 8215 w 44809"/>
                <a:gd name="connsiteY2" fmla="*/ 23898 h 209108"/>
                <a:gd name="connsiteX3" fmla="*/ 32113 w 44809"/>
                <a:gd name="connsiteY3" fmla="*/ 0 h 209108"/>
                <a:gd name="connsiteX4" fmla="*/ 32113 w 44809"/>
                <a:gd name="connsiteY4" fmla="*/ 0 h 209108"/>
                <a:gd name="connsiteX5" fmla="*/ 56011 w 44809"/>
                <a:gd name="connsiteY5" fmla="*/ 23898 h 209108"/>
                <a:gd name="connsiteX6" fmla="*/ 54518 w 44809"/>
                <a:gd name="connsiteY6" fmla="*/ 213590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09" h="209108">
                  <a:moveTo>
                    <a:pt x="54518" y="213590"/>
                  </a:moveTo>
                  <a:cubicBezTo>
                    <a:pt x="48543" y="230020"/>
                    <a:pt x="11202" y="222551"/>
                    <a:pt x="9709" y="209109"/>
                  </a:cubicBezTo>
                  <a:cubicBezTo>
                    <a:pt x="-3734" y="137414"/>
                    <a:pt x="-2241" y="73188"/>
                    <a:pt x="8215" y="23898"/>
                  </a:cubicBezTo>
                  <a:cubicBezTo>
                    <a:pt x="8215" y="10455"/>
                    <a:pt x="18671" y="0"/>
                    <a:pt x="32113" y="0"/>
                  </a:cubicBezTo>
                  <a:lnTo>
                    <a:pt x="32113" y="0"/>
                  </a:lnTo>
                  <a:cubicBezTo>
                    <a:pt x="45556" y="0"/>
                    <a:pt x="56011" y="10455"/>
                    <a:pt x="56011" y="23898"/>
                  </a:cubicBezTo>
                  <a:lnTo>
                    <a:pt x="54518" y="213590"/>
                  </a:lnTo>
                  <a:close/>
                </a:path>
              </a:pathLst>
            </a:custGeom>
            <a:solidFill>
              <a:srgbClr val="CBBBA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7" name="任意多边形: 形状 10156"/>
            <p:cNvSpPr/>
            <p:nvPr/>
          </p:nvSpPr>
          <p:spPr>
            <a:xfrm>
              <a:off x="7858168" y="4037353"/>
              <a:ext cx="89618" cy="283791"/>
            </a:xfrm>
            <a:custGeom>
              <a:avLst/>
              <a:gdLst>
                <a:gd name="connsiteX0" fmla="*/ 92026 w 89618"/>
                <a:gd name="connsiteY0" fmla="*/ 10456 h 283790"/>
                <a:gd name="connsiteX1" fmla="*/ 92026 w 89618"/>
                <a:gd name="connsiteY1" fmla="*/ 17924 h 283790"/>
                <a:gd name="connsiteX2" fmla="*/ 90532 w 89618"/>
                <a:gd name="connsiteY2" fmla="*/ 32860 h 283790"/>
                <a:gd name="connsiteX3" fmla="*/ 77090 w 89618"/>
                <a:gd name="connsiteY3" fmla="*/ 149363 h 283790"/>
                <a:gd name="connsiteX4" fmla="*/ 54685 w 89618"/>
                <a:gd name="connsiteY4" fmla="*/ 270348 h 283790"/>
                <a:gd name="connsiteX5" fmla="*/ 27800 w 89618"/>
                <a:gd name="connsiteY5" fmla="*/ 289765 h 283790"/>
                <a:gd name="connsiteX6" fmla="*/ 27800 w 89618"/>
                <a:gd name="connsiteY6" fmla="*/ 289765 h 283790"/>
                <a:gd name="connsiteX7" fmla="*/ 3902 w 89618"/>
                <a:gd name="connsiteY7" fmla="*/ 268854 h 283790"/>
                <a:gd name="connsiteX8" fmla="*/ 3902 w 89618"/>
                <a:gd name="connsiteY8" fmla="*/ 268854 h 283790"/>
                <a:gd name="connsiteX9" fmla="*/ 3902 w 89618"/>
                <a:gd name="connsiteY9" fmla="*/ 267360 h 283790"/>
                <a:gd name="connsiteX10" fmla="*/ 9876 w 89618"/>
                <a:gd name="connsiteY10" fmla="*/ 41822 h 283790"/>
                <a:gd name="connsiteX11" fmla="*/ 17344 w 89618"/>
                <a:gd name="connsiteY11" fmla="*/ 16430 h 283790"/>
                <a:gd name="connsiteX12" fmla="*/ 21825 w 89618"/>
                <a:gd name="connsiteY12" fmla="*/ 0 h 283790"/>
                <a:gd name="connsiteX13" fmla="*/ 72609 w 89618"/>
                <a:gd name="connsiteY13" fmla="*/ 8962 h 283790"/>
                <a:gd name="connsiteX14" fmla="*/ 92026 w 89618"/>
                <a:gd name="connsiteY14" fmla="*/ 10456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9618" h="283790">
                  <a:moveTo>
                    <a:pt x="92026" y="10456"/>
                  </a:moveTo>
                  <a:lnTo>
                    <a:pt x="92026" y="17924"/>
                  </a:lnTo>
                  <a:lnTo>
                    <a:pt x="90532" y="32860"/>
                  </a:lnTo>
                  <a:lnTo>
                    <a:pt x="77090" y="149363"/>
                  </a:lnTo>
                  <a:cubicBezTo>
                    <a:pt x="77090" y="149363"/>
                    <a:pt x="72609" y="213590"/>
                    <a:pt x="54685" y="270348"/>
                  </a:cubicBezTo>
                  <a:cubicBezTo>
                    <a:pt x="48711" y="286778"/>
                    <a:pt x="50204" y="289765"/>
                    <a:pt x="27800" y="289765"/>
                  </a:cubicBezTo>
                  <a:lnTo>
                    <a:pt x="27800" y="289765"/>
                  </a:lnTo>
                  <a:cubicBezTo>
                    <a:pt x="15851" y="289765"/>
                    <a:pt x="5395" y="280803"/>
                    <a:pt x="3902" y="268854"/>
                  </a:cubicBezTo>
                  <a:cubicBezTo>
                    <a:pt x="3902" y="268854"/>
                    <a:pt x="3902" y="268854"/>
                    <a:pt x="3902" y="268854"/>
                  </a:cubicBezTo>
                  <a:cubicBezTo>
                    <a:pt x="3902" y="268854"/>
                    <a:pt x="3902" y="267360"/>
                    <a:pt x="3902" y="267360"/>
                  </a:cubicBezTo>
                  <a:cubicBezTo>
                    <a:pt x="3902" y="267360"/>
                    <a:pt x="-8047" y="86631"/>
                    <a:pt x="9876" y="41822"/>
                  </a:cubicBezTo>
                  <a:lnTo>
                    <a:pt x="17344" y="16430"/>
                  </a:lnTo>
                  <a:lnTo>
                    <a:pt x="21825" y="0"/>
                  </a:lnTo>
                  <a:lnTo>
                    <a:pt x="72609" y="8962"/>
                  </a:lnTo>
                  <a:lnTo>
                    <a:pt x="92026" y="10456"/>
                  </a:lnTo>
                  <a:close/>
                </a:path>
              </a:pathLst>
            </a:custGeom>
            <a:solidFill>
              <a:srgbClr val="CBBBA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8" name="任意多边形: 形状 10157"/>
            <p:cNvSpPr/>
            <p:nvPr/>
          </p:nvSpPr>
          <p:spPr>
            <a:xfrm>
              <a:off x="7882981" y="4537720"/>
              <a:ext cx="14936" cy="14936"/>
            </a:xfrm>
            <a:custGeom>
              <a:avLst/>
              <a:gdLst>
                <a:gd name="connsiteX0" fmla="*/ 0 w 0"/>
                <a:gd name="connsiteY0" fmla="*/ 0 h 14936"/>
                <a:gd name="connsiteX1" fmla="*/ 11949 w 0"/>
                <a:gd name="connsiteY1" fmla="*/ 0 h 14936"/>
                <a:gd name="connsiteX2" fmla="*/ 11949 w 0"/>
                <a:gd name="connsiteY2" fmla="*/ 14936 h 14936"/>
                <a:gd name="connsiteX3" fmla="*/ 0 w 0"/>
                <a:gd name="connsiteY3" fmla="*/ 7468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936">
                  <a:moveTo>
                    <a:pt x="0" y="0"/>
                  </a:moveTo>
                  <a:lnTo>
                    <a:pt x="11949" y="0"/>
                  </a:lnTo>
                  <a:lnTo>
                    <a:pt x="11949" y="14936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9" name="任意多边形: 形状 10158"/>
            <p:cNvSpPr/>
            <p:nvPr/>
          </p:nvSpPr>
          <p:spPr>
            <a:xfrm>
              <a:off x="7854975" y="4487812"/>
              <a:ext cx="44809" cy="59745"/>
            </a:xfrm>
            <a:custGeom>
              <a:avLst/>
              <a:gdLst>
                <a:gd name="connsiteX0" fmla="*/ 28006 w 44809"/>
                <a:gd name="connsiteY0" fmla="*/ 54389 h 59745"/>
                <a:gd name="connsiteX1" fmla="*/ 17550 w 44809"/>
                <a:gd name="connsiteY1" fmla="*/ 61857 h 59745"/>
                <a:gd name="connsiteX2" fmla="*/ 5601 w 44809"/>
                <a:gd name="connsiteY2" fmla="*/ 64845 h 59745"/>
                <a:gd name="connsiteX3" fmla="*/ 1120 w 44809"/>
                <a:gd name="connsiteY3" fmla="*/ 61857 h 59745"/>
                <a:gd name="connsiteX4" fmla="*/ 1120 w 44809"/>
                <a:gd name="connsiteY4" fmla="*/ 55883 h 59745"/>
                <a:gd name="connsiteX5" fmla="*/ 7095 w 44809"/>
                <a:gd name="connsiteY5" fmla="*/ 43934 h 59745"/>
                <a:gd name="connsiteX6" fmla="*/ 22031 w 44809"/>
                <a:gd name="connsiteY6" fmla="*/ 6593 h 59745"/>
                <a:gd name="connsiteX7" fmla="*/ 23525 w 44809"/>
                <a:gd name="connsiteY7" fmla="*/ 3606 h 59745"/>
                <a:gd name="connsiteX8" fmla="*/ 26512 w 44809"/>
                <a:gd name="connsiteY8" fmla="*/ 2112 h 59745"/>
                <a:gd name="connsiteX9" fmla="*/ 44436 w 44809"/>
                <a:gd name="connsiteY9" fmla="*/ 619 h 59745"/>
                <a:gd name="connsiteX10" fmla="*/ 45929 w 44809"/>
                <a:gd name="connsiteY10" fmla="*/ 2112 h 59745"/>
                <a:gd name="connsiteX11" fmla="*/ 47423 w 44809"/>
                <a:gd name="connsiteY11" fmla="*/ 3606 h 59745"/>
                <a:gd name="connsiteX12" fmla="*/ 50410 w 44809"/>
                <a:gd name="connsiteY12" fmla="*/ 11074 h 59745"/>
                <a:gd name="connsiteX13" fmla="*/ 47423 w 44809"/>
                <a:gd name="connsiteY13" fmla="*/ 37960 h 59745"/>
                <a:gd name="connsiteX14" fmla="*/ 39955 w 44809"/>
                <a:gd name="connsiteY14" fmla="*/ 45428 h 59745"/>
                <a:gd name="connsiteX15" fmla="*/ 28006 w 44809"/>
                <a:gd name="connsiteY15" fmla="*/ 54389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59745">
                  <a:moveTo>
                    <a:pt x="28006" y="54389"/>
                  </a:moveTo>
                  <a:cubicBezTo>
                    <a:pt x="25019" y="57377"/>
                    <a:pt x="22031" y="60364"/>
                    <a:pt x="17550" y="61857"/>
                  </a:cubicBezTo>
                  <a:cubicBezTo>
                    <a:pt x="14563" y="63351"/>
                    <a:pt x="10082" y="64845"/>
                    <a:pt x="5601" y="64845"/>
                  </a:cubicBezTo>
                  <a:cubicBezTo>
                    <a:pt x="4107" y="64845"/>
                    <a:pt x="1120" y="63351"/>
                    <a:pt x="1120" y="61857"/>
                  </a:cubicBezTo>
                  <a:cubicBezTo>
                    <a:pt x="-373" y="60364"/>
                    <a:pt x="-373" y="57377"/>
                    <a:pt x="1120" y="55883"/>
                  </a:cubicBezTo>
                  <a:cubicBezTo>
                    <a:pt x="2614" y="51402"/>
                    <a:pt x="4107" y="46921"/>
                    <a:pt x="7095" y="43934"/>
                  </a:cubicBezTo>
                  <a:cubicBezTo>
                    <a:pt x="13069" y="31985"/>
                    <a:pt x="19044" y="20036"/>
                    <a:pt x="22031" y="6593"/>
                  </a:cubicBezTo>
                  <a:cubicBezTo>
                    <a:pt x="22031" y="5099"/>
                    <a:pt x="22031" y="5099"/>
                    <a:pt x="23525" y="3606"/>
                  </a:cubicBezTo>
                  <a:cubicBezTo>
                    <a:pt x="23525" y="3606"/>
                    <a:pt x="25019" y="2112"/>
                    <a:pt x="26512" y="2112"/>
                  </a:cubicBezTo>
                  <a:cubicBezTo>
                    <a:pt x="32487" y="619"/>
                    <a:pt x="38461" y="-875"/>
                    <a:pt x="44436" y="619"/>
                  </a:cubicBezTo>
                  <a:cubicBezTo>
                    <a:pt x="44436" y="619"/>
                    <a:pt x="45929" y="619"/>
                    <a:pt x="45929" y="2112"/>
                  </a:cubicBezTo>
                  <a:cubicBezTo>
                    <a:pt x="45929" y="2112"/>
                    <a:pt x="45929" y="3606"/>
                    <a:pt x="47423" y="3606"/>
                  </a:cubicBezTo>
                  <a:cubicBezTo>
                    <a:pt x="47423" y="6593"/>
                    <a:pt x="48916" y="8087"/>
                    <a:pt x="50410" y="11074"/>
                  </a:cubicBezTo>
                  <a:cubicBezTo>
                    <a:pt x="53397" y="20036"/>
                    <a:pt x="51904" y="30491"/>
                    <a:pt x="47423" y="37960"/>
                  </a:cubicBezTo>
                  <a:cubicBezTo>
                    <a:pt x="45929" y="40947"/>
                    <a:pt x="42942" y="43934"/>
                    <a:pt x="39955" y="45428"/>
                  </a:cubicBezTo>
                  <a:cubicBezTo>
                    <a:pt x="33980" y="48415"/>
                    <a:pt x="30993" y="51402"/>
                    <a:pt x="28006" y="5438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0" name="任意多边形: 形状 10159"/>
            <p:cNvSpPr/>
            <p:nvPr/>
          </p:nvSpPr>
          <p:spPr>
            <a:xfrm>
              <a:off x="7833691" y="4489924"/>
              <a:ext cx="74682" cy="74682"/>
            </a:xfrm>
            <a:custGeom>
              <a:avLst/>
              <a:gdLst>
                <a:gd name="connsiteX0" fmla="*/ 71694 w 74681"/>
                <a:gd name="connsiteY0" fmla="*/ 53771 h 74681"/>
                <a:gd name="connsiteX1" fmla="*/ 61239 w 74681"/>
                <a:gd name="connsiteY1" fmla="*/ 61239 h 74681"/>
                <a:gd name="connsiteX2" fmla="*/ 62732 w 74681"/>
                <a:gd name="connsiteY2" fmla="*/ 46303 h 74681"/>
                <a:gd name="connsiteX3" fmla="*/ 47796 w 74681"/>
                <a:gd name="connsiteY3" fmla="*/ 68707 h 74681"/>
                <a:gd name="connsiteX4" fmla="*/ 11949 w 74681"/>
                <a:gd name="connsiteY4" fmla="*/ 85137 h 74681"/>
                <a:gd name="connsiteX5" fmla="*/ 1494 w 74681"/>
                <a:gd name="connsiteY5" fmla="*/ 83644 h 74681"/>
                <a:gd name="connsiteX6" fmla="*/ 0 w 74681"/>
                <a:gd name="connsiteY6" fmla="*/ 82150 h 74681"/>
                <a:gd name="connsiteX7" fmla="*/ 0 w 74681"/>
                <a:gd name="connsiteY7" fmla="*/ 79163 h 74681"/>
                <a:gd name="connsiteX8" fmla="*/ 29873 w 74681"/>
                <a:gd name="connsiteY8" fmla="*/ 31366 h 74681"/>
                <a:gd name="connsiteX9" fmla="*/ 25392 w 74681"/>
                <a:gd name="connsiteY9" fmla="*/ 46303 h 74681"/>
                <a:gd name="connsiteX10" fmla="*/ 26885 w 74681"/>
                <a:gd name="connsiteY10" fmla="*/ 52277 h 74681"/>
                <a:gd name="connsiteX11" fmla="*/ 31366 w 74681"/>
                <a:gd name="connsiteY11" fmla="*/ 52277 h 74681"/>
                <a:gd name="connsiteX12" fmla="*/ 43315 w 74681"/>
                <a:gd name="connsiteY12" fmla="*/ 44809 h 74681"/>
                <a:gd name="connsiteX13" fmla="*/ 52277 w 74681"/>
                <a:gd name="connsiteY13" fmla="*/ 37341 h 74681"/>
                <a:gd name="connsiteX14" fmla="*/ 59745 w 74681"/>
                <a:gd name="connsiteY14" fmla="*/ 31366 h 74681"/>
                <a:gd name="connsiteX15" fmla="*/ 67214 w 74681"/>
                <a:gd name="connsiteY15" fmla="*/ 0 h 74681"/>
                <a:gd name="connsiteX16" fmla="*/ 76175 w 74681"/>
                <a:gd name="connsiteY16" fmla="*/ 26886 h 74681"/>
                <a:gd name="connsiteX17" fmla="*/ 73188 w 74681"/>
                <a:gd name="connsiteY17" fmla="*/ 37341 h 74681"/>
                <a:gd name="connsiteX18" fmla="*/ 71694 w 74681"/>
                <a:gd name="connsiteY18" fmla="*/ 5377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4681" h="74681">
                  <a:moveTo>
                    <a:pt x="71694" y="53771"/>
                  </a:moveTo>
                  <a:cubicBezTo>
                    <a:pt x="67214" y="56758"/>
                    <a:pt x="64226" y="58252"/>
                    <a:pt x="61239" y="61239"/>
                  </a:cubicBezTo>
                  <a:cubicBezTo>
                    <a:pt x="61239" y="56758"/>
                    <a:pt x="61239" y="52277"/>
                    <a:pt x="62732" y="46303"/>
                  </a:cubicBezTo>
                  <a:cubicBezTo>
                    <a:pt x="55264" y="52277"/>
                    <a:pt x="53771" y="61239"/>
                    <a:pt x="47796" y="68707"/>
                  </a:cubicBezTo>
                  <a:cubicBezTo>
                    <a:pt x="40328" y="79163"/>
                    <a:pt x="25392" y="85137"/>
                    <a:pt x="11949" y="85137"/>
                  </a:cubicBezTo>
                  <a:cubicBezTo>
                    <a:pt x="8962" y="85137"/>
                    <a:pt x="4481" y="85137"/>
                    <a:pt x="1494" y="83644"/>
                  </a:cubicBezTo>
                  <a:cubicBezTo>
                    <a:pt x="1494" y="83644"/>
                    <a:pt x="0" y="82150"/>
                    <a:pt x="0" y="82150"/>
                  </a:cubicBezTo>
                  <a:cubicBezTo>
                    <a:pt x="0" y="80657"/>
                    <a:pt x="0" y="80657"/>
                    <a:pt x="0" y="79163"/>
                  </a:cubicBezTo>
                  <a:cubicBezTo>
                    <a:pt x="8962" y="62733"/>
                    <a:pt x="19417" y="46303"/>
                    <a:pt x="29873" y="31366"/>
                  </a:cubicBezTo>
                  <a:cubicBezTo>
                    <a:pt x="26885" y="35848"/>
                    <a:pt x="25392" y="41822"/>
                    <a:pt x="25392" y="46303"/>
                  </a:cubicBezTo>
                  <a:cubicBezTo>
                    <a:pt x="25392" y="47796"/>
                    <a:pt x="25392" y="50784"/>
                    <a:pt x="26885" y="52277"/>
                  </a:cubicBezTo>
                  <a:cubicBezTo>
                    <a:pt x="28379" y="53771"/>
                    <a:pt x="29873" y="53771"/>
                    <a:pt x="31366" y="52277"/>
                  </a:cubicBezTo>
                  <a:cubicBezTo>
                    <a:pt x="35847" y="50784"/>
                    <a:pt x="38835" y="47796"/>
                    <a:pt x="43315" y="44809"/>
                  </a:cubicBezTo>
                  <a:cubicBezTo>
                    <a:pt x="46303" y="41822"/>
                    <a:pt x="49290" y="40328"/>
                    <a:pt x="52277" y="37341"/>
                  </a:cubicBezTo>
                  <a:cubicBezTo>
                    <a:pt x="55264" y="35848"/>
                    <a:pt x="56758" y="32860"/>
                    <a:pt x="59745" y="31366"/>
                  </a:cubicBezTo>
                  <a:cubicBezTo>
                    <a:pt x="67214" y="22405"/>
                    <a:pt x="68707" y="10456"/>
                    <a:pt x="67214" y="0"/>
                  </a:cubicBezTo>
                  <a:cubicBezTo>
                    <a:pt x="74682" y="5975"/>
                    <a:pt x="79162" y="17924"/>
                    <a:pt x="76175" y="26886"/>
                  </a:cubicBezTo>
                  <a:cubicBezTo>
                    <a:pt x="74682" y="29873"/>
                    <a:pt x="74682" y="34354"/>
                    <a:pt x="73188" y="37341"/>
                  </a:cubicBezTo>
                  <a:cubicBezTo>
                    <a:pt x="71694" y="44809"/>
                    <a:pt x="71694" y="49290"/>
                    <a:pt x="71694" y="5377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1" name="任意多边形: 形状 10160"/>
            <p:cNvSpPr/>
            <p:nvPr/>
          </p:nvSpPr>
          <p:spPr>
            <a:xfrm>
              <a:off x="7863564" y="4280815"/>
              <a:ext cx="59745" cy="209109"/>
            </a:xfrm>
            <a:custGeom>
              <a:avLst/>
              <a:gdLst>
                <a:gd name="connsiteX0" fmla="*/ 5974 w 59745"/>
                <a:gd name="connsiteY0" fmla="*/ 215084 h 209108"/>
                <a:gd name="connsiteX1" fmla="*/ 53771 w 59745"/>
                <a:gd name="connsiteY1" fmla="*/ 206122 h 209108"/>
                <a:gd name="connsiteX2" fmla="*/ 47796 w 59745"/>
                <a:gd name="connsiteY2" fmla="*/ 23898 h 209108"/>
                <a:gd name="connsiteX3" fmla="*/ 23898 w 59745"/>
                <a:gd name="connsiteY3" fmla="*/ 0 h 209108"/>
                <a:gd name="connsiteX4" fmla="*/ 23898 w 59745"/>
                <a:gd name="connsiteY4" fmla="*/ 0 h 209108"/>
                <a:gd name="connsiteX5" fmla="*/ 0 w 59745"/>
                <a:gd name="connsiteY5" fmla="*/ 23898 h 209108"/>
                <a:gd name="connsiteX6" fmla="*/ 5974 w 59745"/>
                <a:gd name="connsiteY6" fmla="*/ 215084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745" h="209108">
                  <a:moveTo>
                    <a:pt x="5974" y="215084"/>
                  </a:moveTo>
                  <a:cubicBezTo>
                    <a:pt x="10455" y="225539"/>
                    <a:pt x="52277" y="219564"/>
                    <a:pt x="53771" y="206122"/>
                  </a:cubicBezTo>
                  <a:cubicBezTo>
                    <a:pt x="65720" y="132934"/>
                    <a:pt x="62732" y="61239"/>
                    <a:pt x="47796" y="23898"/>
                  </a:cubicBezTo>
                  <a:cubicBezTo>
                    <a:pt x="47796" y="10456"/>
                    <a:pt x="37341" y="0"/>
                    <a:pt x="23898" y="0"/>
                  </a:cubicBezTo>
                  <a:lnTo>
                    <a:pt x="23898" y="0"/>
                  </a:lnTo>
                  <a:cubicBezTo>
                    <a:pt x="10455" y="0"/>
                    <a:pt x="0" y="10456"/>
                    <a:pt x="0" y="23898"/>
                  </a:cubicBezTo>
                  <a:lnTo>
                    <a:pt x="5974" y="215084"/>
                  </a:lnTo>
                  <a:close/>
                </a:path>
              </a:pathLst>
            </a:custGeom>
            <a:solidFill>
              <a:srgbClr val="CBBBA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2" name="任意多边形: 形状 10161"/>
            <p:cNvSpPr/>
            <p:nvPr/>
          </p:nvSpPr>
          <p:spPr>
            <a:xfrm>
              <a:off x="7948103" y="3834801"/>
              <a:ext cx="89618" cy="89618"/>
            </a:xfrm>
            <a:custGeom>
              <a:avLst/>
              <a:gdLst>
                <a:gd name="connsiteX0" fmla="*/ 93203 w 89618"/>
                <a:gd name="connsiteY0" fmla="*/ 50201 h 89618"/>
                <a:gd name="connsiteX1" fmla="*/ 20015 w 89618"/>
                <a:gd name="connsiteY1" fmla="*/ 2405 h 89618"/>
                <a:gd name="connsiteX2" fmla="*/ 3585 w 89618"/>
                <a:gd name="connsiteY2" fmla="*/ 11367 h 89618"/>
                <a:gd name="connsiteX3" fmla="*/ 3585 w 89618"/>
                <a:gd name="connsiteY3" fmla="*/ 11367 h 89618"/>
                <a:gd name="connsiteX4" fmla="*/ 8065 w 89618"/>
                <a:gd name="connsiteY4" fmla="*/ 39746 h 89618"/>
                <a:gd name="connsiteX5" fmla="*/ 100671 w 89618"/>
                <a:gd name="connsiteY5" fmla="*/ 90529 h 89618"/>
                <a:gd name="connsiteX6" fmla="*/ 93203 w 89618"/>
                <a:gd name="connsiteY6" fmla="*/ 50201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618" h="89618">
                  <a:moveTo>
                    <a:pt x="93203" y="50201"/>
                  </a:moveTo>
                  <a:lnTo>
                    <a:pt x="20015" y="2405"/>
                  </a:lnTo>
                  <a:cubicBezTo>
                    <a:pt x="11053" y="-3570"/>
                    <a:pt x="9559" y="2405"/>
                    <a:pt x="3585" y="11367"/>
                  </a:cubicBezTo>
                  <a:lnTo>
                    <a:pt x="3585" y="11367"/>
                  </a:lnTo>
                  <a:cubicBezTo>
                    <a:pt x="-2390" y="20329"/>
                    <a:pt x="-896" y="32278"/>
                    <a:pt x="8065" y="39746"/>
                  </a:cubicBezTo>
                  <a:cubicBezTo>
                    <a:pt x="8065" y="39746"/>
                    <a:pt x="82747" y="100985"/>
                    <a:pt x="100671" y="90529"/>
                  </a:cubicBezTo>
                  <a:cubicBezTo>
                    <a:pt x="108139" y="78580"/>
                    <a:pt x="94696" y="65138"/>
                    <a:pt x="93203" y="50201"/>
                  </a:cubicBez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3" name="任意多边形: 形状 10162"/>
            <p:cNvSpPr/>
            <p:nvPr/>
          </p:nvSpPr>
          <p:spPr>
            <a:xfrm>
              <a:off x="7839665" y="3828244"/>
              <a:ext cx="149363" cy="224045"/>
            </a:xfrm>
            <a:custGeom>
              <a:avLst/>
              <a:gdLst>
                <a:gd name="connsiteX0" fmla="*/ 144883 w 149363"/>
                <a:gd name="connsiteY0" fmla="*/ 129946 h 224045"/>
                <a:gd name="connsiteX1" fmla="*/ 137415 w 149363"/>
                <a:gd name="connsiteY1" fmla="*/ 137415 h 224045"/>
                <a:gd name="connsiteX2" fmla="*/ 134427 w 149363"/>
                <a:gd name="connsiteY2" fmla="*/ 149363 h 224045"/>
                <a:gd name="connsiteX3" fmla="*/ 134427 w 149363"/>
                <a:gd name="connsiteY3" fmla="*/ 179236 h 224045"/>
                <a:gd name="connsiteX4" fmla="*/ 134427 w 149363"/>
                <a:gd name="connsiteY4" fmla="*/ 182224 h 224045"/>
                <a:gd name="connsiteX5" fmla="*/ 131440 w 149363"/>
                <a:gd name="connsiteY5" fmla="*/ 206121 h 224045"/>
                <a:gd name="connsiteX6" fmla="*/ 125465 w 149363"/>
                <a:gd name="connsiteY6" fmla="*/ 213590 h 224045"/>
                <a:gd name="connsiteX7" fmla="*/ 64226 w 149363"/>
                <a:gd name="connsiteY7" fmla="*/ 231513 h 224045"/>
                <a:gd name="connsiteX8" fmla="*/ 43315 w 149363"/>
                <a:gd name="connsiteY8" fmla="*/ 219564 h 224045"/>
                <a:gd name="connsiteX9" fmla="*/ 40328 w 149363"/>
                <a:gd name="connsiteY9" fmla="*/ 207615 h 224045"/>
                <a:gd name="connsiteX10" fmla="*/ 40328 w 149363"/>
                <a:gd name="connsiteY10" fmla="*/ 200147 h 224045"/>
                <a:gd name="connsiteX11" fmla="*/ 40328 w 149363"/>
                <a:gd name="connsiteY11" fmla="*/ 197160 h 224045"/>
                <a:gd name="connsiteX12" fmla="*/ 20911 w 149363"/>
                <a:gd name="connsiteY12" fmla="*/ 143389 h 224045"/>
                <a:gd name="connsiteX13" fmla="*/ 19417 w 149363"/>
                <a:gd name="connsiteY13" fmla="*/ 141895 h 224045"/>
                <a:gd name="connsiteX14" fmla="*/ 0 w 149363"/>
                <a:gd name="connsiteY14" fmla="*/ 92606 h 224045"/>
                <a:gd name="connsiteX15" fmla="*/ 71694 w 149363"/>
                <a:gd name="connsiteY15" fmla="*/ 8962 h 224045"/>
                <a:gd name="connsiteX16" fmla="*/ 101567 w 149363"/>
                <a:gd name="connsiteY16" fmla="*/ 0 h 224045"/>
                <a:gd name="connsiteX17" fmla="*/ 128453 w 149363"/>
                <a:gd name="connsiteY17" fmla="*/ 13443 h 224045"/>
                <a:gd name="connsiteX18" fmla="*/ 134427 w 149363"/>
                <a:gd name="connsiteY18" fmla="*/ 50783 h 224045"/>
                <a:gd name="connsiteX19" fmla="*/ 150857 w 149363"/>
                <a:gd name="connsiteY19" fmla="*/ 83644 h 224045"/>
                <a:gd name="connsiteX20" fmla="*/ 144883 w 149363"/>
                <a:gd name="connsiteY20" fmla="*/ 129946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9363" h="224045">
                  <a:moveTo>
                    <a:pt x="144883" y="129946"/>
                  </a:moveTo>
                  <a:cubicBezTo>
                    <a:pt x="141895" y="132933"/>
                    <a:pt x="140402" y="134427"/>
                    <a:pt x="137415" y="137415"/>
                  </a:cubicBezTo>
                  <a:cubicBezTo>
                    <a:pt x="135921" y="140402"/>
                    <a:pt x="134427" y="144883"/>
                    <a:pt x="134427" y="149363"/>
                  </a:cubicBezTo>
                  <a:cubicBezTo>
                    <a:pt x="134427" y="159819"/>
                    <a:pt x="134427" y="170274"/>
                    <a:pt x="134427" y="179236"/>
                  </a:cubicBezTo>
                  <a:cubicBezTo>
                    <a:pt x="134427" y="180730"/>
                    <a:pt x="134427" y="180730"/>
                    <a:pt x="134427" y="182224"/>
                  </a:cubicBezTo>
                  <a:cubicBezTo>
                    <a:pt x="134427" y="189692"/>
                    <a:pt x="134427" y="198653"/>
                    <a:pt x="131440" y="206121"/>
                  </a:cubicBezTo>
                  <a:cubicBezTo>
                    <a:pt x="129946" y="209109"/>
                    <a:pt x="128453" y="212096"/>
                    <a:pt x="125465" y="213590"/>
                  </a:cubicBezTo>
                  <a:cubicBezTo>
                    <a:pt x="110529" y="228526"/>
                    <a:pt x="86631" y="235994"/>
                    <a:pt x="64226" y="231513"/>
                  </a:cubicBezTo>
                  <a:cubicBezTo>
                    <a:pt x="56758" y="230020"/>
                    <a:pt x="47796" y="225539"/>
                    <a:pt x="43315" y="219564"/>
                  </a:cubicBezTo>
                  <a:cubicBezTo>
                    <a:pt x="41822" y="216577"/>
                    <a:pt x="40328" y="212096"/>
                    <a:pt x="40328" y="207615"/>
                  </a:cubicBezTo>
                  <a:cubicBezTo>
                    <a:pt x="40328" y="204628"/>
                    <a:pt x="40328" y="203134"/>
                    <a:pt x="40328" y="200147"/>
                  </a:cubicBezTo>
                  <a:cubicBezTo>
                    <a:pt x="40328" y="198653"/>
                    <a:pt x="40328" y="198653"/>
                    <a:pt x="40328" y="197160"/>
                  </a:cubicBezTo>
                  <a:cubicBezTo>
                    <a:pt x="38835" y="177742"/>
                    <a:pt x="31366" y="159819"/>
                    <a:pt x="20911" y="143389"/>
                  </a:cubicBezTo>
                  <a:cubicBezTo>
                    <a:pt x="20911" y="143389"/>
                    <a:pt x="20911" y="141895"/>
                    <a:pt x="19417" y="141895"/>
                  </a:cubicBezTo>
                  <a:cubicBezTo>
                    <a:pt x="11949" y="131440"/>
                    <a:pt x="0" y="106048"/>
                    <a:pt x="0" y="92606"/>
                  </a:cubicBezTo>
                  <a:cubicBezTo>
                    <a:pt x="0" y="59745"/>
                    <a:pt x="64226" y="13443"/>
                    <a:pt x="71694" y="8962"/>
                  </a:cubicBezTo>
                  <a:cubicBezTo>
                    <a:pt x="82150" y="4481"/>
                    <a:pt x="91112" y="0"/>
                    <a:pt x="101567" y="0"/>
                  </a:cubicBezTo>
                  <a:cubicBezTo>
                    <a:pt x="112023" y="0"/>
                    <a:pt x="123971" y="2987"/>
                    <a:pt x="128453" y="13443"/>
                  </a:cubicBezTo>
                  <a:cubicBezTo>
                    <a:pt x="135921" y="23898"/>
                    <a:pt x="131440" y="38835"/>
                    <a:pt x="134427" y="50783"/>
                  </a:cubicBezTo>
                  <a:cubicBezTo>
                    <a:pt x="137415" y="62733"/>
                    <a:pt x="146376" y="71694"/>
                    <a:pt x="150857" y="83644"/>
                  </a:cubicBezTo>
                  <a:cubicBezTo>
                    <a:pt x="159819" y="100074"/>
                    <a:pt x="156832" y="117997"/>
                    <a:pt x="144883" y="129946"/>
                  </a:cubicBez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4" name="任意多边形: 形状 10163"/>
            <p:cNvSpPr/>
            <p:nvPr/>
          </p:nvSpPr>
          <p:spPr>
            <a:xfrm>
              <a:off x="7894647" y="3950722"/>
              <a:ext cx="59745" cy="29873"/>
            </a:xfrm>
            <a:custGeom>
              <a:avLst/>
              <a:gdLst>
                <a:gd name="connsiteX0" fmla="*/ 43598 w 59745"/>
                <a:gd name="connsiteY0" fmla="*/ 32860 h 29872"/>
                <a:gd name="connsiteX1" fmla="*/ 12232 w 59745"/>
                <a:gd name="connsiteY1" fmla="*/ 28379 h 29872"/>
                <a:gd name="connsiteX2" fmla="*/ 283 w 59745"/>
                <a:gd name="connsiteY2" fmla="*/ 0 h 29872"/>
                <a:gd name="connsiteX3" fmla="*/ 25675 w 59745"/>
                <a:gd name="connsiteY3" fmla="*/ 25392 h 29872"/>
                <a:gd name="connsiteX4" fmla="*/ 60028 w 59745"/>
                <a:gd name="connsiteY4" fmla="*/ 20911 h 29872"/>
                <a:gd name="connsiteX5" fmla="*/ 43598 w 59745"/>
                <a:gd name="connsiteY5" fmla="*/ 3286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745" h="29872">
                  <a:moveTo>
                    <a:pt x="43598" y="32860"/>
                  </a:moveTo>
                  <a:cubicBezTo>
                    <a:pt x="33143" y="37341"/>
                    <a:pt x="21194" y="34353"/>
                    <a:pt x="12232" y="28379"/>
                  </a:cubicBezTo>
                  <a:cubicBezTo>
                    <a:pt x="3270" y="20911"/>
                    <a:pt x="-1211" y="10455"/>
                    <a:pt x="283" y="0"/>
                  </a:cubicBezTo>
                  <a:cubicBezTo>
                    <a:pt x="4764" y="11949"/>
                    <a:pt x="13726" y="20911"/>
                    <a:pt x="25675" y="25392"/>
                  </a:cubicBezTo>
                  <a:cubicBezTo>
                    <a:pt x="37624" y="29873"/>
                    <a:pt x="51067" y="28379"/>
                    <a:pt x="60028" y="20911"/>
                  </a:cubicBezTo>
                  <a:cubicBezTo>
                    <a:pt x="55547" y="25392"/>
                    <a:pt x="51067" y="29873"/>
                    <a:pt x="43598" y="32860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5" name="任意多边形: 形状 10164"/>
            <p:cNvSpPr/>
            <p:nvPr/>
          </p:nvSpPr>
          <p:spPr>
            <a:xfrm>
              <a:off x="7860576" y="3916368"/>
              <a:ext cx="14936" cy="119491"/>
            </a:xfrm>
            <a:custGeom>
              <a:avLst/>
              <a:gdLst>
                <a:gd name="connsiteX0" fmla="*/ 20911 w 14936"/>
                <a:gd name="connsiteY0" fmla="*/ 91112 h 119490"/>
                <a:gd name="connsiteX1" fmla="*/ 19418 w 14936"/>
                <a:gd name="connsiteY1" fmla="*/ 119491 h 119490"/>
                <a:gd name="connsiteX2" fmla="*/ 19418 w 14936"/>
                <a:gd name="connsiteY2" fmla="*/ 112023 h 119490"/>
                <a:gd name="connsiteX3" fmla="*/ 0 w 14936"/>
                <a:gd name="connsiteY3" fmla="*/ 55265 h 119490"/>
                <a:gd name="connsiteX4" fmla="*/ 1494 w 14936"/>
                <a:gd name="connsiteY4" fmla="*/ 47796 h 119490"/>
                <a:gd name="connsiteX5" fmla="*/ 17924 w 14936"/>
                <a:gd name="connsiteY5" fmla="*/ 0 h 119490"/>
                <a:gd name="connsiteX6" fmla="*/ 20911 w 14936"/>
                <a:gd name="connsiteY6" fmla="*/ 91112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36" h="119490">
                  <a:moveTo>
                    <a:pt x="20911" y="91112"/>
                  </a:moveTo>
                  <a:cubicBezTo>
                    <a:pt x="22405" y="100074"/>
                    <a:pt x="23898" y="110529"/>
                    <a:pt x="19418" y="119491"/>
                  </a:cubicBezTo>
                  <a:cubicBezTo>
                    <a:pt x="19418" y="116504"/>
                    <a:pt x="19418" y="115010"/>
                    <a:pt x="19418" y="112023"/>
                  </a:cubicBezTo>
                  <a:cubicBezTo>
                    <a:pt x="17924" y="92606"/>
                    <a:pt x="11949" y="71695"/>
                    <a:pt x="0" y="55265"/>
                  </a:cubicBezTo>
                  <a:cubicBezTo>
                    <a:pt x="0" y="52277"/>
                    <a:pt x="1494" y="50783"/>
                    <a:pt x="1494" y="47796"/>
                  </a:cubicBezTo>
                  <a:cubicBezTo>
                    <a:pt x="4481" y="31366"/>
                    <a:pt x="8962" y="13443"/>
                    <a:pt x="17924" y="0"/>
                  </a:cubicBezTo>
                  <a:cubicBezTo>
                    <a:pt x="28379" y="29873"/>
                    <a:pt x="17924" y="61239"/>
                    <a:pt x="20911" y="91112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6" name="任意多边形: 形状 10165"/>
            <p:cNvSpPr/>
            <p:nvPr/>
          </p:nvSpPr>
          <p:spPr>
            <a:xfrm>
              <a:off x="7829019" y="4001505"/>
              <a:ext cx="29873" cy="29873"/>
            </a:xfrm>
            <a:custGeom>
              <a:avLst/>
              <a:gdLst>
                <a:gd name="connsiteX0" fmla="*/ 1684 w 29872"/>
                <a:gd name="connsiteY0" fmla="*/ 0 h 29872"/>
                <a:gd name="connsiteX1" fmla="*/ 190 w 29872"/>
                <a:gd name="connsiteY1" fmla="*/ 7468 h 29872"/>
                <a:gd name="connsiteX2" fmla="*/ 16620 w 29872"/>
                <a:gd name="connsiteY2" fmla="*/ 29873 h 29872"/>
                <a:gd name="connsiteX3" fmla="*/ 16620 w 29872"/>
                <a:gd name="connsiteY3" fmla="*/ 29873 h 29872"/>
                <a:gd name="connsiteX4" fmla="*/ 39025 w 29872"/>
                <a:gd name="connsiteY4" fmla="*/ 13443 h 29872"/>
                <a:gd name="connsiteX5" fmla="*/ 39025 w 29872"/>
                <a:gd name="connsiteY5" fmla="*/ 7468 h 29872"/>
                <a:gd name="connsiteX6" fmla="*/ 1684 w 29872"/>
                <a:gd name="connsiteY6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72" h="29872">
                  <a:moveTo>
                    <a:pt x="1684" y="0"/>
                  </a:moveTo>
                  <a:lnTo>
                    <a:pt x="190" y="7468"/>
                  </a:lnTo>
                  <a:cubicBezTo>
                    <a:pt x="-1303" y="17923"/>
                    <a:pt x="6165" y="28379"/>
                    <a:pt x="16620" y="29873"/>
                  </a:cubicBezTo>
                  <a:lnTo>
                    <a:pt x="16620" y="29873"/>
                  </a:lnTo>
                  <a:cubicBezTo>
                    <a:pt x="27076" y="31366"/>
                    <a:pt x="37531" y="23898"/>
                    <a:pt x="39025" y="13443"/>
                  </a:cubicBezTo>
                  <a:lnTo>
                    <a:pt x="39025" y="7468"/>
                  </a:lnTo>
                  <a:cubicBezTo>
                    <a:pt x="28570" y="8962"/>
                    <a:pt x="13633" y="8962"/>
                    <a:pt x="1684" y="0"/>
                  </a:cubicBez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7" name="任意多边形: 形状 10166"/>
            <p:cNvSpPr/>
            <p:nvPr/>
          </p:nvSpPr>
          <p:spPr>
            <a:xfrm>
              <a:off x="7779920" y="3992243"/>
              <a:ext cx="89618" cy="74682"/>
            </a:xfrm>
            <a:custGeom>
              <a:avLst/>
              <a:gdLst>
                <a:gd name="connsiteX0" fmla="*/ 14936 w 89618"/>
                <a:gd name="connsiteY0" fmla="*/ 88425 h 74681"/>
                <a:gd name="connsiteX1" fmla="*/ 0 w 89618"/>
                <a:gd name="connsiteY1" fmla="*/ 73489 h 74681"/>
                <a:gd name="connsiteX2" fmla="*/ 56758 w 89618"/>
                <a:gd name="connsiteY2" fmla="*/ 4782 h 74681"/>
                <a:gd name="connsiteX3" fmla="*/ 85137 w 89618"/>
                <a:gd name="connsiteY3" fmla="*/ 7769 h 74681"/>
                <a:gd name="connsiteX4" fmla="*/ 85137 w 89618"/>
                <a:gd name="connsiteY4" fmla="*/ 7769 h 74681"/>
                <a:gd name="connsiteX5" fmla="*/ 82150 w 89618"/>
                <a:gd name="connsiteY5" fmla="*/ 36148 h 74681"/>
                <a:gd name="connsiteX6" fmla="*/ 14936 w 89618"/>
                <a:gd name="connsiteY6" fmla="*/ 88425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618" h="74681">
                  <a:moveTo>
                    <a:pt x="14936" y="88425"/>
                  </a:moveTo>
                  <a:lnTo>
                    <a:pt x="0" y="73489"/>
                  </a:lnTo>
                  <a:lnTo>
                    <a:pt x="56758" y="4782"/>
                  </a:lnTo>
                  <a:cubicBezTo>
                    <a:pt x="65720" y="-2687"/>
                    <a:pt x="77669" y="-1193"/>
                    <a:pt x="85137" y="7769"/>
                  </a:cubicBezTo>
                  <a:lnTo>
                    <a:pt x="85137" y="7769"/>
                  </a:lnTo>
                  <a:cubicBezTo>
                    <a:pt x="92606" y="16731"/>
                    <a:pt x="91112" y="28680"/>
                    <a:pt x="82150" y="36148"/>
                  </a:cubicBezTo>
                  <a:lnTo>
                    <a:pt x="14936" y="88425"/>
                  </a:ln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8" name="任意多边形: 形状 10167"/>
            <p:cNvSpPr/>
            <p:nvPr/>
          </p:nvSpPr>
          <p:spPr>
            <a:xfrm>
              <a:off x="7744752" y="4062911"/>
              <a:ext cx="44809" cy="59745"/>
            </a:xfrm>
            <a:custGeom>
              <a:avLst/>
              <a:gdLst>
                <a:gd name="connsiteX0" fmla="*/ 39648 w 44809"/>
                <a:gd name="connsiteY0" fmla="*/ 1327 h 59745"/>
                <a:gd name="connsiteX1" fmla="*/ 54585 w 44809"/>
                <a:gd name="connsiteY1" fmla="*/ 14770 h 59745"/>
                <a:gd name="connsiteX2" fmla="*/ 45623 w 44809"/>
                <a:gd name="connsiteY2" fmla="*/ 41655 h 59745"/>
                <a:gd name="connsiteX3" fmla="*/ 38155 w 44809"/>
                <a:gd name="connsiteY3" fmla="*/ 52110 h 59745"/>
                <a:gd name="connsiteX4" fmla="*/ 27699 w 44809"/>
                <a:gd name="connsiteY4" fmla="*/ 65553 h 59745"/>
                <a:gd name="connsiteX5" fmla="*/ 24712 w 44809"/>
                <a:gd name="connsiteY5" fmla="*/ 70034 h 59745"/>
                <a:gd name="connsiteX6" fmla="*/ 20231 w 44809"/>
                <a:gd name="connsiteY6" fmla="*/ 71528 h 59745"/>
                <a:gd name="connsiteX7" fmla="*/ 814 w 44809"/>
                <a:gd name="connsiteY7" fmla="*/ 71528 h 59745"/>
                <a:gd name="connsiteX8" fmla="*/ 6789 w 44809"/>
                <a:gd name="connsiteY8" fmla="*/ 55097 h 59745"/>
                <a:gd name="connsiteX9" fmla="*/ 14257 w 44809"/>
                <a:gd name="connsiteY9" fmla="*/ 40161 h 59745"/>
                <a:gd name="connsiteX10" fmla="*/ 20231 w 44809"/>
                <a:gd name="connsiteY10" fmla="*/ 20744 h 59745"/>
                <a:gd name="connsiteX11" fmla="*/ 26206 w 44809"/>
                <a:gd name="connsiteY11" fmla="*/ 11782 h 59745"/>
                <a:gd name="connsiteX12" fmla="*/ 39648 w 44809"/>
                <a:gd name="connsiteY12" fmla="*/ 1327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09" h="59745">
                  <a:moveTo>
                    <a:pt x="39648" y="1327"/>
                  </a:moveTo>
                  <a:cubicBezTo>
                    <a:pt x="47117" y="-3154"/>
                    <a:pt x="60560" y="4314"/>
                    <a:pt x="54585" y="14770"/>
                  </a:cubicBezTo>
                  <a:cubicBezTo>
                    <a:pt x="50104" y="22238"/>
                    <a:pt x="50104" y="32693"/>
                    <a:pt x="45623" y="41655"/>
                  </a:cubicBezTo>
                  <a:cubicBezTo>
                    <a:pt x="44130" y="46136"/>
                    <a:pt x="41142" y="49123"/>
                    <a:pt x="38155" y="52110"/>
                  </a:cubicBezTo>
                  <a:cubicBezTo>
                    <a:pt x="35168" y="56591"/>
                    <a:pt x="30687" y="61072"/>
                    <a:pt x="27699" y="65553"/>
                  </a:cubicBezTo>
                  <a:cubicBezTo>
                    <a:pt x="26206" y="67047"/>
                    <a:pt x="26206" y="68540"/>
                    <a:pt x="24712" y="70034"/>
                  </a:cubicBezTo>
                  <a:cubicBezTo>
                    <a:pt x="23219" y="71528"/>
                    <a:pt x="21725" y="71528"/>
                    <a:pt x="20231" y="71528"/>
                  </a:cubicBezTo>
                  <a:cubicBezTo>
                    <a:pt x="17244" y="73021"/>
                    <a:pt x="3801" y="74515"/>
                    <a:pt x="814" y="71528"/>
                  </a:cubicBezTo>
                  <a:cubicBezTo>
                    <a:pt x="-2173" y="70034"/>
                    <a:pt x="3801" y="59579"/>
                    <a:pt x="6789" y="55097"/>
                  </a:cubicBezTo>
                  <a:cubicBezTo>
                    <a:pt x="9776" y="49123"/>
                    <a:pt x="11269" y="46136"/>
                    <a:pt x="14257" y="40161"/>
                  </a:cubicBezTo>
                  <a:cubicBezTo>
                    <a:pt x="17244" y="34187"/>
                    <a:pt x="17244" y="26718"/>
                    <a:pt x="20231" y="20744"/>
                  </a:cubicBezTo>
                  <a:cubicBezTo>
                    <a:pt x="21725" y="17757"/>
                    <a:pt x="24712" y="14770"/>
                    <a:pt x="26206" y="11782"/>
                  </a:cubicBezTo>
                  <a:cubicBezTo>
                    <a:pt x="32180" y="7301"/>
                    <a:pt x="35168" y="4314"/>
                    <a:pt x="39648" y="132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9" name="任意多边形: 形状 10168"/>
            <p:cNvSpPr/>
            <p:nvPr/>
          </p:nvSpPr>
          <p:spPr>
            <a:xfrm>
              <a:off x="7739592" y="4062744"/>
              <a:ext cx="44809" cy="29873"/>
            </a:xfrm>
            <a:custGeom>
              <a:avLst/>
              <a:gdLst>
                <a:gd name="connsiteX0" fmla="*/ 11949 w 44809"/>
                <a:gd name="connsiteY0" fmla="*/ 25392 h 29872"/>
                <a:gd name="connsiteX1" fmla="*/ 0 w 44809"/>
                <a:gd name="connsiteY1" fmla="*/ 38834 h 29872"/>
                <a:gd name="connsiteX2" fmla="*/ 5975 w 44809"/>
                <a:gd name="connsiteY2" fmla="*/ 41822 h 29872"/>
                <a:gd name="connsiteX3" fmla="*/ 11949 w 44809"/>
                <a:gd name="connsiteY3" fmla="*/ 37341 h 29872"/>
                <a:gd name="connsiteX4" fmla="*/ 16430 w 44809"/>
                <a:gd name="connsiteY4" fmla="*/ 31366 h 29872"/>
                <a:gd name="connsiteX5" fmla="*/ 31366 w 44809"/>
                <a:gd name="connsiteY5" fmla="*/ 25392 h 29872"/>
                <a:gd name="connsiteX6" fmla="*/ 43316 w 44809"/>
                <a:gd name="connsiteY6" fmla="*/ 14936 h 29872"/>
                <a:gd name="connsiteX7" fmla="*/ 49290 w 44809"/>
                <a:gd name="connsiteY7" fmla="*/ 7468 h 29872"/>
                <a:gd name="connsiteX8" fmla="*/ 44809 w 44809"/>
                <a:gd name="connsiteY8" fmla="*/ 0 h 29872"/>
                <a:gd name="connsiteX9" fmla="*/ 23898 w 44809"/>
                <a:gd name="connsiteY9" fmla="*/ 11949 h 29872"/>
                <a:gd name="connsiteX10" fmla="*/ 16430 w 44809"/>
                <a:gd name="connsiteY10" fmla="*/ 16430 h 29872"/>
                <a:gd name="connsiteX11" fmla="*/ 11949 w 44809"/>
                <a:gd name="connsiteY11" fmla="*/ 25392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809" h="29872">
                  <a:moveTo>
                    <a:pt x="11949" y="25392"/>
                  </a:moveTo>
                  <a:cubicBezTo>
                    <a:pt x="8962" y="29873"/>
                    <a:pt x="4481" y="34353"/>
                    <a:pt x="0" y="38834"/>
                  </a:cubicBezTo>
                  <a:cubicBezTo>
                    <a:pt x="0" y="41822"/>
                    <a:pt x="2987" y="43315"/>
                    <a:pt x="5975" y="41822"/>
                  </a:cubicBezTo>
                  <a:cubicBezTo>
                    <a:pt x="8962" y="41822"/>
                    <a:pt x="10456" y="40328"/>
                    <a:pt x="11949" y="37341"/>
                  </a:cubicBezTo>
                  <a:cubicBezTo>
                    <a:pt x="13443" y="35847"/>
                    <a:pt x="14936" y="32860"/>
                    <a:pt x="16430" y="31366"/>
                  </a:cubicBezTo>
                  <a:cubicBezTo>
                    <a:pt x="20911" y="28379"/>
                    <a:pt x="26886" y="26885"/>
                    <a:pt x="31366" y="25392"/>
                  </a:cubicBezTo>
                  <a:cubicBezTo>
                    <a:pt x="35848" y="22405"/>
                    <a:pt x="40328" y="19417"/>
                    <a:pt x="43316" y="14936"/>
                  </a:cubicBezTo>
                  <a:cubicBezTo>
                    <a:pt x="44809" y="11949"/>
                    <a:pt x="47796" y="10455"/>
                    <a:pt x="49290" y="7468"/>
                  </a:cubicBezTo>
                  <a:cubicBezTo>
                    <a:pt x="50784" y="4481"/>
                    <a:pt x="46303" y="2987"/>
                    <a:pt x="44809" y="0"/>
                  </a:cubicBezTo>
                  <a:cubicBezTo>
                    <a:pt x="35848" y="4481"/>
                    <a:pt x="32860" y="7468"/>
                    <a:pt x="23898" y="11949"/>
                  </a:cubicBezTo>
                  <a:cubicBezTo>
                    <a:pt x="20911" y="13443"/>
                    <a:pt x="19418" y="14936"/>
                    <a:pt x="16430" y="16430"/>
                  </a:cubicBezTo>
                  <a:cubicBezTo>
                    <a:pt x="14936" y="19417"/>
                    <a:pt x="13443" y="22405"/>
                    <a:pt x="11949" y="25392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0" name="任意多边形: 形状 10169"/>
            <p:cNvSpPr/>
            <p:nvPr/>
          </p:nvSpPr>
          <p:spPr>
            <a:xfrm>
              <a:off x="7875512" y="4022416"/>
              <a:ext cx="104554" cy="44809"/>
            </a:xfrm>
            <a:custGeom>
              <a:avLst/>
              <a:gdLst>
                <a:gd name="connsiteX0" fmla="*/ 106048 w 104554"/>
                <a:gd name="connsiteY0" fmla="*/ 16430 h 44809"/>
                <a:gd name="connsiteX1" fmla="*/ 98580 w 104554"/>
                <a:gd name="connsiteY1" fmla="*/ 29873 h 44809"/>
                <a:gd name="connsiteX2" fmla="*/ 25392 w 104554"/>
                <a:gd name="connsiteY2" fmla="*/ 52277 h 44809"/>
                <a:gd name="connsiteX3" fmla="*/ 14936 w 104554"/>
                <a:gd name="connsiteY3" fmla="*/ 49290 h 44809"/>
                <a:gd name="connsiteX4" fmla="*/ 0 w 104554"/>
                <a:gd name="connsiteY4" fmla="*/ 31366 h 44809"/>
                <a:gd name="connsiteX5" fmla="*/ 4481 w 104554"/>
                <a:gd name="connsiteY5" fmla="*/ 14936 h 44809"/>
                <a:gd name="connsiteX6" fmla="*/ 7468 w 104554"/>
                <a:gd name="connsiteY6" fmla="*/ 26885 h 44809"/>
                <a:gd name="connsiteX7" fmla="*/ 28379 w 104554"/>
                <a:gd name="connsiteY7" fmla="*/ 38835 h 44809"/>
                <a:gd name="connsiteX8" fmla="*/ 47796 w 104554"/>
                <a:gd name="connsiteY8" fmla="*/ 40328 h 44809"/>
                <a:gd name="connsiteX9" fmla="*/ 71695 w 104554"/>
                <a:gd name="connsiteY9" fmla="*/ 32860 h 44809"/>
                <a:gd name="connsiteX10" fmla="*/ 88124 w 104554"/>
                <a:gd name="connsiteY10" fmla="*/ 20911 h 44809"/>
                <a:gd name="connsiteX11" fmla="*/ 94099 w 104554"/>
                <a:gd name="connsiteY11" fmla="*/ 13443 h 44809"/>
                <a:gd name="connsiteX12" fmla="*/ 97086 w 104554"/>
                <a:gd name="connsiteY12" fmla="*/ 0 h 44809"/>
                <a:gd name="connsiteX13" fmla="*/ 106048 w 104554"/>
                <a:gd name="connsiteY13" fmla="*/ 16430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554" h="44809">
                  <a:moveTo>
                    <a:pt x="106048" y="16430"/>
                  </a:moveTo>
                  <a:cubicBezTo>
                    <a:pt x="104554" y="20911"/>
                    <a:pt x="101567" y="25392"/>
                    <a:pt x="98580" y="29873"/>
                  </a:cubicBezTo>
                  <a:cubicBezTo>
                    <a:pt x="91112" y="37341"/>
                    <a:pt x="61239" y="61239"/>
                    <a:pt x="25392" y="52277"/>
                  </a:cubicBezTo>
                  <a:cubicBezTo>
                    <a:pt x="22405" y="50783"/>
                    <a:pt x="17924" y="50783"/>
                    <a:pt x="14936" y="49290"/>
                  </a:cubicBezTo>
                  <a:cubicBezTo>
                    <a:pt x="7468" y="46303"/>
                    <a:pt x="2987" y="38835"/>
                    <a:pt x="0" y="31366"/>
                  </a:cubicBezTo>
                  <a:lnTo>
                    <a:pt x="4481" y="14936"/>
                  </a:lnTo>
                  <a:cubicBezTo>
                    <a:pt x="4481" y="19417"/>
                    <a:pt x="5974" y="23898"/>
                    <a:pt x="7468" y="26885"/>
                  </a:cubicBezTo>
                  <a:cubicBezTo>
                    <a:pt x="11949" y="34353"/>
                    <a:pt x="19418" y="37341"/>
                    <a:pt x="28379" y="38835"/>
                  </a:cubicBezTo>
                  <a:cubicBezTo>
                    <a:pt x="34354" y="40328"/>
                    <a:pt x="41822" y="40328"/>
                    <a:pt x="47796" y="40328"/>
                  </a:cubicBezTo>
                  <a:cubicBezTo>
                    <a:pt x="56758" y="38835"/>
                    <a:pt x="64227" y="37341"/>
                    <a:pt x="71695" y="32860"/>
                  </a:cubicBezTo>
                  <a:cubicBezTo>
                    <a:pt x="77669" y="29873"/>
                    <a:pt x="83644" y="25392"/>
                    <a:pt x="88124" y="20911"/>
                  </a:cubicBezTo>
                  <a:cubicBezTo>
                    <a:pt x="91112" y="17924"/>
                    <a:pt x="92606" y="16430"/>
                    <a:pt x="94099" y="13443"/>
                  </a:cubicBezTo>
                  <a:cubicBezTo>
                    <a:pt x="95593" y="8962"/>
                    <a:pt x="97086" y="4481"/>
                    <a:pt x="97086" y="0"/>
                  </a:cubicBezTo>
                  <a:cubicBezTo>
                    <a:pt x="101567" y="5974"/>
                    <a:pt x="104554" y="10456"/>
                    <a:pt x="106048" y="16430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1" name="任意多边形: 形状 10170"/>
            <p:cNvSpPr/>
            <p:nvPr/>
          </p:nvSpPr>
          <p:spPr>
            <a:xfrm>
              <a:off x="7921815" y="4120996"/>
              <a:ext cx="29873" cy="74682"/>
            </a:xfrm>
            <a:custGeom>
              <a:avLst/>
              <a:gdLst>
                <a:gd name="connsiteX0" fmla="*/ 17924 w 29872"/>
                <a:gd name="connsiteY0" fmla="*/ 47796 h 74681"/>
                <a:gd name="connsiteX1" fmla="*/ 22405 w 29872"/>
                <a:gd name="connsiteY1" fmla="*/ 25392 h 74681"/>
                <a:gd name="connsiteX2" fmla="*/ 38835 w 29872"/>
                <a:gd name="connsiteY2" fmla="*/ 0 h 74681"/>
                <a:gd name="connsiteX3" fmla="*/ 22405 w 29872"/>
                <a:gd name="connsiteY3" fmla="*/ 16430 h 74681"/>
                <a:gd name="connsiteX4" fmla="*/ 0 w 29872"/>
                <a:gd name="connsiteY4" fmla="*/ 17923 h 74681"/>
                <a:gd name="connsiteX5" fmla="*/ 8962 w 29872"/>
                <a:gd name="connsiteY5" fmla="*/ 34353 h 74681"/>
                <a:gd name="connsiteX6" fmla="*/ 13443 w 29872"/>
                <a:gd name="connsiteY6" fmla="*/ 86631 h 74681"/>
                <a:gd name="connsiteX7" fmla="*/ 17924 w 29872"/>
                <a:gd name="connsiteY7" fmla="*/ 47796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72" h="74681">
                  <a:moveTo>
                    <a:pt x="17924" y="47796"/>
                  </a:moveTo>
                  <a:cubicBezTo>
                    <a:pt x="19417" y="40328"/>
                    <a:pt x="19417" y="32860"/>
                    <a:pt x="22405" y="25392"/>
                  </a:cubicBezTo>
                  <a:cubicBezTo>
                    <a:pt x="26885" y="16430"/>
                    <a:pt x="35847" y="8962"/>
                    <a:pt x="38835" y="0"/>
                  </a:cubicBezTo>
                  <a:cubicBezTo>
                    <a:pt x="32860" y="5974"/>
                    <a:pt x="28379" y="11949"/>
                    <a:pt x="22405" y="16430"/>
                  </a:cubicBezTo>
                  <a:cubicBezTo>
                    <a:pt x="16430" y="20911"/>
                    <a:pt x="7468" y="22405"/>
                    <a:pt x="0" y="17923"/>
                  </a:cubicBezTo>
                  <a:cubicBezTo>
                    <a:pt x="5974" y="20911"/>
                    <a:pt x="7468" y="26885"/>
                    <a:pt x="8962" y="34353"/>
                  </a:cubicBezTo>
                  <a:cubicBezTo>
                    <a:pt x="11949" y="50783"/>
                    <a:pt x="10456" y="70201"/>
                    <a:pt x="13443" y="86631"/>
                  </a:cubicBezTo>
                  <a:lnTo>
                    <a:pt x="17924" y="47796"/>
                  </a:ln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2" name="任意多边形: 形状 10171"/>
            <p:cNvSpPr/>
            <p:nvPr/>
          </p:nvSpPr>
          <p:spPr>
            <a:xfrm>
              <a:off x="7935258" y="4059757"/>
              <a:ext cx="14936" cy="14936"/>
            </a:xfrm>
            <a:custGeom>
              <a:avLst/>
              <a:gdLst>
                <a:gd name="connsiteX0" fmla="*/ 10456 w 0"/>
                <a:gd name="connsiteY0" fmla="*/ 8962 h 0"/>
                <a:gd name="connsiteX1" fmla="*/ 0 w 0"/>
                <a:gd name="connsiteY1" fmla="*/ 11949 h 0"/>
                <a:gd name="connsiteX2" fmla="*/ 0 w 0"/>
                <a:gd name="connsiteY2" fmla="*/ 2987 h 0"/>
                <a:gd name="connsiteX3" fmla="*/ 10456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0456" y="8962"/>
                  </a:moveTo>
                  <a:lnTo>
                    <a:pt x="0" y="11949"/>
                  </a:lnTo>
                  <a:lnTo>
                    <a:pt x="0" y="2987"/>
                  </a:lnTo>
                  <a:lnTo>
                    <a:pt x="10456" y="0"/>
                  </a:lnTo>
                  <a:close/>
                </a:path>
              </a:pathLst>
            </a:custGeom>
            <a:solidFill>
              <a:srgbClr val="CBBBA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3" name="任意多边形: 形状 10172"/>
            <p:cNvSpPr/>
            <p:nvPr/>
          </p:nvSpPr>
          <p:spPr>
            <a:xfrm>
              <a:off x="7830703" y="3904229"/>
              <a:ext cx="44809" cy="104554"/>
            </a:xfrm>
            <a:custGeom>
              <a:avLst/>
              <a:gdLst>
                <a:gd name="connsiteX0" fmla="*/ 32860 w 44809"/>
                <a:gd name="connsiteY0" fmla="*/ 190 h 104554"/>
                <a:gd name="connsiteX1" fmla="*/ 32860 w 44809"/>
                <a:gd name="connsiteY1" fmla="*/ 190 h 104554"/>
                <a:gd name="connsiteX2" fmla="*/ 10456 w 44809"/>
                <a:gd name="connsiteY2" fmla="*/ 16620 h 104554"/>
                <a:gd name="connsiteX3" fmla="*/ 0 w 44809"/>
                <a:gd name="connsiteY3" fmla="*/ 97277 h 104554"/>
                <a:gd name="connsiteX4" fmla="*/ 40328 w 44809"/>
                <a:gd name="connsiteY4" fmla="*/ 103251 h 104554"/>
                <a:gd name="connsiteX5" fmla="*/ 50783 w 44809"/>
                <a:gd name="connsiteY5" fmla="*/ 21101 h 104554"/>
                <a:gd name="connsiteX6" fmla="*/ 32860 w 44809"/>
                <a:gd name="connsiteY6" fmla="*/ 190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09" h="104554">
                  <a:moveTo>
                    <a:pt x="32860" y="190"/>
                  </a:moveTo>
                  <a:lnTo>
                    <a:pt x="32860" y="190"/>
                  </a:lnTo>
                  <a:cubicBezTo>
                    <a:pt x="20911" y="-1303"/>
                    <a:pt x="11949" y="6165"/>
                    <a:pt x="10456" y="16620"/>
                  </a:cubicBezTo>
                  <a:lnTo>
                    <a:pt x="0" y="97277"/>
                  </a:lnTo>
                  <a:cubicBezTo>
                    <a:pt x="10456" y="104745"/>
                    <a:pt x="26886" y="106238"/>
                    <a:pt x="40328" y="103251"/>
                  </a:cubicBezTo>
                  <a:lnTo>
                    <a:pt x="50783" y="21101"/>
                  </a:lnTo>
                  <a:cubicBezTo>
                    <a:pt x="52277" y="10646"/>
                    <a:pt x="44809" y="1684"/>
                    <a:pt x="32860" y="190"/>
                  </a:cubicBez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4" name="任意多边形: 形状 10173"/>
            <p:cNvSpPr/>
            <p:nvPr/>
          </p:nvSpPr>
          <p:spPr>
            <a:xfrm>
              <a:off x="7921815" y="3858116"/>
              <a:ext cx="29873" cy="59745"/>
            </a:xfrm>
            <a:custGeom>
              <a:avLst/>
              <a:gdLst>
                <a:gd name="connsiteX0" fmla="*/ 37341 w 29872"/>
                <a:gd name="connsiteY0" fmla="*/ 70201 h 59745"/>
                <a:gd name="connsiteX1" fmla="*/ 19417 w 29872"/>
                <a:gd name="connsiteY1" fmla="*/ 0 h 59745"/>
                <a:gd name="connsiteX2" fmla="*/ 2987 w 29872"/>
                <a:gd name="connsiteY2" fmla="*/ 5974 h 59745"/>
                <a:gd name="connsiteX3" fmla="*/ 0 w 29872"/>
                <a:gd name="connsiteY3" fmla="*/ 7468 h 59745"/>
                <a:gd name="connsiteX4" fmla="*/ 37341 w 29872"/>
                <a:gd name="connsiteY4" fmla="*/ 70201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72" h="59745">
                  <a:moveTo>
                    <a:pt x="37341" y="70201"/>
                  </a:moveTo>
                  <a:cubicBezTo>
                    <a:pt x="34353" y="46303"/>
                    <a:pt x="22405" y="23898"/>
                    <a:pt x="19417" y="0"/>
                  </a:cubicBezTo>
                  <a:cubicBezTo>
                    <a:pt x="13443" y="1494"/>
                    <a:pt x="8962" y="4481"/>
                    <a:pt x="2987" y="5974"/>
                  </a:cubicBezTo>
                  <a:cubicBezTo>
                    <a:pt x="1494" y="5974"/>
                    <a:pt x="0" y="7468"/>
                    <a:pt x="0" y="7468"/>
                  </a:cubicBezTo>
                  <a:cubicBezTo>
                    <a:pt x="11949" y="29873"/>
                    <a:pt x="31366" y="46303"/>
                    <a:pt x="37341" y="70201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5" name="任意多边形: 形状 10174"/>
            <p:cNvSpPr/>
            <p:nvPr/>
          </p:nvSpPr>
          <p:spPr>
            <a:xfrm>
              <a:off x="7890449" y="3840193"/>
              <a:ext cx="44809" cy="29873"/>
            </a:xfrm>
            <a:custGeom>
              <a:avLst/>
              <a:gdLst>
                <a:gd name="connsiteX0" fmla="*/ 55265 w 44809"/>
                <a:gd name="connsiteY0" fmla="*/ 17924 h 29872"/>
                <a:gd name="connsiteX1" fmla="*/ 55265 w 44809"/>
                <a:gd name="connsiteY1" fmla="*/ 20911 h 29872"/>
                <a:gd name="connsiteX2" fmla="*/ 53771 w 44809"/>
                <a:gd name="connsiteY2" fmla="*/ 22405 h 29872"/>
                <a:gd name="connsiteX3" fmla="*/ 46303 w 44809"/>
                <a:gd name="connsiteY3" fmla="*/ 28379 h 29872"/>
                <a:gd name="connsiteX4" fmla="*/ 7468 w 44809"/>
                <a:gd name="connsiteY4" fmla="*/ 28379 h 29872"/>
                <a:gd name="connsiteX5" fmla="*/ 0 w 44809"/>
                <a:gd name="connsiteY5" fmla="*/ 16430 h 29872"/>
                <a:gd name="connsiteX6" fmla="*/ 7468 w 44809"/>
                <a:gd name="connsiteY6" fmla="*/ 4481 h 29872"/>
                <a:gd name="connsiteX7" fmla="*/ 14936 w 44809"/>
                <a:gd name="connsiteY7" fmla="*/ 1493 h 29872"/>
                <a:gd name="connsiteX8" fmla="*/ 19418 w 44809"/>
                <a:gd name="connsiteY8" fmla="*/ 0 h 29872"/>
                <a:gd name="connsiteX9" fmla="*/ 20911 w 44809"/>
                <a:gd name="connsiteY9" fmla="*/ 0 h 29872"/>
                <a:gd name="connsiteX10" fmla="*/ 28379 w 44809"/>
                <a:gd name="connsiteY10" fmla="*/ 0 h 29872"/>
                <a:gd name="connsiteX11" fmla="*/ 47796 w 44809"/>
                <a:gd name="connsiteY11" fmla="*/ 4481 h 29872"/>
                <a:gd name="connsiteX12" fmla="*/ 52277 w 44809"/>
                <a:gd name="connsiteY12" fmla="*/ 7468 h 29872"/>
                <a:gd name="connsiteX13" fmla="*/ 52277 w 44809"/>
                <a:gd name="connsiteY13" fmla="*/ 7468 h 29872"/>
                <a:gd name="connsiteX14" fmla="*/ 53771 w 44809"/>
                <a:gd name="connsiteY14" fmla="*/ 10455 h 29872"/>
                <a:gd name="connsiteX15" fmla="*/ 55265 w 44809"/>
                <a:gd name="connsiteY15" fmla="*/ 17924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29872">
                  <a:moveTo>
                    <a:pt x="55265" y="17924"/>
                  </a:moveTo>
                  <a:cubicBezTo>
                    <a:pt x="55265" y="19417"/>
                    <a:pt x="55265" y="19417"/>
                    <a:pt x="55265" y="20911"/>
                  </a:cubicBezTo>
                  <a:cubicBezTo>
                    <a:pt x="55265" y="20911"/>
                    <a:pt x="55265" y="22405"/>
                    <a:pt x="53771" y="22405"/>
                  </a:cubicBezTo>
                  <a:cubicBezTo>
                    <a:pt x="52277" y="25392"/>
                    <a:pt x="50783" y="26885"/>
                    <a:pt x="46303" y="28379"/>
                  </a:cubicBezTo>
                  <a:cubicBezTo>
                    <a:pt x="35847" y="34354"/>
                    <a:pt x="17924" y="34354"/>
                    <a:pt x="7468" y="28379"/>
                  </a:cubicBezTo>
                  <a:cubicBezTo>
                    <a:pt x="1494" y="25392"/>
                    <a:pt x="0" y="20911"/>
                    <a:pt x="0" y="16430"/>
                  </a:cubicBezTo>
                  <a:cubicBezTo>
                    <a:pt x="0" y="11949"/>
                    <a:pt x="2987" y="8962"/>
                    <a:pt x="7468" y="4481"/>
                  </a:cubicBezTo>
                  <a:cubicBezTo>
                    <a:pt x="10456" y="2987"/>
                    <a:pt x="11949" y="1493"/>
                    <a:pt x="14936" y="1493"/>
                  </a:cubicBezTo>
                  <a:cubicBezTo>
                    <a:pt x="16430" y="1493"/>
                    <a:pt x="17924" y="1493"/>
                    <a:pt x="19418" y="0"/>
                  </a:cubicBezTo>
                  <a:cubicBezTo>
                    <a:pt x="19418" y="0"/>
                    <a:pt x="19418" y="0"/>
                    <a:pt x="20911" y="0"/>
                  </a:cubicBezTo>
                  <a:cubicBezTo>
                    <a:pt x="23898" y="0"/>
                    <a:pt x="25392" y="0"/>
                    <a:pt x="28379" y="0"/>
                  </a:cubicBezTo>
                  <a:cubicBezTo>
                    <a:pt x="35847" y="0"/>
                    <a:pt x="41822" y="1493"/>
                    <a:pt x="47796" y="4481"/>
                  </a:cubicBezTo>
                  <a:cubicBezTo>
                    <a:pt x="49290" y="5974"/>
                    <a:pt x="50783" y="5974"/>
                    <a:pt x="52277" y="7468"/>
                  </a:cubicBezTo>
                  <a:cubicBezTo>
                    <a:pt x="52277" y="7468"/>
                    <a:pt x="52277" y="7468"/>
                    <a:pt x="52277" y="7468"/>
                  </a:cubicBezTo>
                  <a:cubicBezTo>
                    <a:pt x="53771" y="8962"/>
                    <a:pt x="53771" y="8962"/>
                    <a:pt x="53771" y="10455"/>
                  </a:cubicBezTo>
                  <a:cubicBezTo>
                    <a:pt x="55265" y="16430"/>
                    <a:pt x="55265" y="16430"/>
                    <a:pt x="55265" y="17924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6" name="任意多边形: 形状 10175"/>
            <p:cNvSpPr/>
            <p:nvPr/>
          </p:nvSpPr>
          <p:spPr>
            <a:xfrm>
              <a:off x="7929056" y="3740119"/>
              <a:ext cx="29873" cy="104554"/>
            </a:xfrm>
            <a:custGeom>
              <a:avLst/>
              <a:gdLst>
                <a:gd name="connsiteX0" fmla="*/ 21138 w 29872"/>
                <a:gd name="connsiteY0" fmla="*/ 106048 h 104554"/>
                <a:gd name="connsiteX1" fmla="*/ 40555 w 29872"/>
                <a:gd name="connsiteY1" fmla="*/ 26885 h 104554"/>
                <a:gd name="connsiteX2" fmla="*/ 33087 w 29872"/>
                <a:gd name="connsiteY2" fmla="*/ 2987 h 104554"/>
                <a:gd name="connsiteX3" fmla="*/ 31594 w 29872"/>
                <a:gd name="connsiteY3" fmla="*/ 0 h 104554"/>
                <a:gd name="connsiteX4" fmla="*/ 28606 w 29872"/>
                <a:gd name="connsiteY4" fmla="*/ 0 h 104554"/>
                <a:gd name="connsiteX5" fmla="*/ 7695 w 29872"/>
                <a:gd name="connsiteY5" fmla="*/ 13443 h 104554"/>
                <a:gd name="connsiteX6" fmla="*/ 227 w 29872"/>
                <a:gd name="connsiteY6" fmla="*/ 37341 h 104554"/>
                <a:gd name="connsiteX7" fmla="*/ 15163 w 29872"/>
                <a:gd name="connsiteY7" fmla="*/ 104554 h 104554"/>
                <a:gd name="connsiteX8" fmla="*/ 21138 w 29872"/>
                <a:gd name="connsiteY8" fmla="*/ 106048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72" h="104554">
                  <a:moveTo>
                    <a:pt x="21138" y="106048"/>
                  </a:moveTo>
                  <a:cubicBezTo>
                    <a:pt x="36074" y="82150"/>
                    <a:pt x="43542" y="55264"/>
                    <a:pt x="40555" y="26885"/>
                  </a:cubicBezTo>
                  <a:cubicBezTo>
                    <a:pt x="39062" y="17924"/>
                    <a:pt x="36074" y="10455"/>
                    <a:pt x="33087" y="2987"/>
                  </a:cubicBezTo>
                  <a:cubicBezTo>
                    <a:pt x="33087" y="1493"/>
                    <a:pt x="31594" y="1493"/>
                    <a:pt x="31594" y="0"/>
                  </a:cubicBezTo>
                  <a:cubicBezTo>
                    <a:pt x="30100" y="0"/>
                    <a:pt x="30100" y="0"/>
                    <a:pt x="28606" y="0"/>
                  </a:cubicBezTo>
                  <a:cubicBezTo>
                    <a:pt x="19644" y="0"/>
                    <a:pt x="12176" y="5974"/>
                    <a:pt x="7695" y="13443"/>
                  </a:cubicBezTo>
                  <a:cubicBezTo>
                    <a:pt x="3215" y="20911"/>
                    <a:pt x="1721" y="28379"/>
                    <a:pt x="227" y="37341"/>
                  </a:cubicBezTo>
                  <a:cubicBezTo>
                    <a:pt x="-1267" y="61239"/>
                    <a:pt x="4708" y="85137"/>
                    <a:pt x="15163" y="104554"/>
                  </a:cubicBezTo>
                  <a:cubicBezTo>
                    <a:pt x="18151" y="104554"/>
                    <a:pt x="19644" y="106048"/>
                    <a:pt x="21138" y="106048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7" name="任意多边形: 形状 10176"/>
            <p:cNvSpPr/>
            <p:nvPr/>
          </p:nvSpPr>
          <p:spPr>
            <a:xfrm>
              <a:off x="7890449" y="3775967"/>
              <a:ext cx="44809" cy="74682"/>
            </a:xfrm>
            <a:custGeom>
              <a:avLst/>
              <a:gdLst>
                <a:gd name="connsiteX0" fmla="*/ 0 w 44809"/>
                <a:gd name="connsiteY0" fmla="*/ 0 h 74681"/>
                <a:gd name="connsiteX1" fmla="*/ 55265 w 44809"/>
                <a:gd name="connsiteY1" fmla="*/ 0 h 74681"/>
                <a:gd name="connsiteX2" fmla="*/ 55265 w 44809"/>
                <a:gd name="connsiteY2" fmla="*/ 82150 h 74681"/>
                <a:gd name="connsiteX3" fmla="*/ 0 w 44809"/>
                <a:gd name="connsiteY3" fmla="*/ 8215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809" h="74681">
                  <a:moveTo>
                    <a:pt x="0" y="0"/>
                  </a:moveTo>
                  <a:lnTo>
                    <a:pt x="55265" y="0"/>
                  </a:lnTo>
                  <a:lnTo>
                    <a:pt x="55265" y="82150"/>
                  </a:lnTo>
                  <a:lnTo>
                    <a:pt x="0" y="82150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8" name="任意多边形: 形状 10177"/>
            <p:cNvSpPr/>
            <p:nvPr/>
          </p:nvSpPr>
          <p:spPr>
            <a:xfrm>
              <a:off x="7888955" y="3783435"/>
              <a:ext cx="44809" cy="59745"/>
            </a:xfrm>
            <a:custGeom>
              <a:avLst/>
              <a:gdLst>
                <a:gd name="connsiteX0" fmla="*/ 56758 w 44809"/>
                <a:gd name="connsiteY0" fmla="*/ 62733 h 59745"/>
                <a:gd name="connsiteX1" fmla="*/ 56758 w 44809"/>
                <a:gd name="connsiteY1" fmla="*/ 73188 h 59745"/>
                <a:gd name="connsiteX2" fmla="*/ 41822 w 44809"/>
                <a:gd name="connsiteY2" fmla="*/ 73188 h 59745"/>
                <a:gd name="connsiteX3" fmla="*/ 25392 w 44809"/>
                <a:gd name="connsiteY3" fmla="*/ 65720 h 59745"/>
                <a:gd name="connsiteX4" fmla="*/ 20911 w 44809"/>
                <a:gd name="connsiteY4" fmla="*/ 61239 h 59745"/>
                <a:gd name="connsiteX5" fmla="*/ 17924 w 44809"/>
                <a:gd name="connsiteY5" fmla="*/ 56758 h 59745"/>
                <a:gd name="connsiteX6" fmla="*/ 10456 w 44809"/>
                <a:gd name="connsiteY6" fmla="*/ 43315 h 59745"/>
                <a:gd name="connsiteX7" fmla="*/ 2987 w 44809"/>
                <a:gd name="connsiteY7" fmla="*/ 16430 h 59745"/>
                <a:gd name="connsiteX8" fmla="*/ 0 w 44809"/>
                <a:gd name="connsiteY8" fmla="*/ 0 h 59745"/>
                <a:gd name="connsiteX9" fmla="*/ 1494 w 44809"/>
                <a:gd name="connsiteY9" fmla="*/ 5974 h 59745"/>
                <a:gd name="connsiteX10" fmla="*/ 8962 w 44809"/>
                <a:gd name="connsiteY10" fmla="*/ 32860 h 59745"/>
                <a:gd name="connsiteX11" fmla="*/ 22405 w 44809"/>
                <a:gd name="connsiteY11" fmla="*/ 53771 h 59745"/>
                <a:gd name="connsiteX12" fmla="*/ 23898 w 44809"/>
                <a:gd name="connsiteY12" fmla="*/ 55264 h 59745"/>
                <a:gd name="connsiteX13" fmla="*/ 28379 w 44809"/>
                <a:gd name="connsiteY13" fmla="*/ 58252 h 59745"/>
                <a:gd name="connsiteX14" fmla="*/ 52277 w 44809"/>
                <a:gd name="connsiteY14" fmla="*/ 62733 h 59745"/>
                <a:gd name="connsiteX15" fmla="*/ 56758 w 44809"/>
                <a:gd name="connsiteY15" fmla="*/ 62733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59745">
                  <a:moveTo>
                    <a:pt x="56758" y="62733"/>
                  </a:moveTo>
                  <a:cubicBezTo>
                    <a:pt x="56758" y="62733"/>
                    <a:pt x="56758" y="71694"/>
                    <a:pt x="56758" y="73188"/>
                  </a:cubicBezTo>
                  <a:cubicBezTo>
                    <a:pt x="52277" y="74682"/>
                    <a:pt x="47796" y="73188"/>
                    <a:pt x="41822" y="73188"/>
                  </a:cubicBezTo>
                  <a:cubicBezTo>
                    <a:pt x="35848" y="71694"/>
                    <a:pt x="29873" y="68707"/>
                    <a:pt x="25392" y="65720"/>
                  </a:cubicBezTo>
                  <a:cubicBezTo>
                    <a:pt x="23898" y="64226"/>
                    <a:pt x="22405" y="62733"/>
                    <a:pt x="20911" y="61239"/>
                  </a:cubicBezTo>
                  <a:cubicBezTo>
                    <a:pt x="19418" y="59745"/>
                    <a:pt x="17924" y="58252"/>
                    <a:pt x="17924" y="56758"/>
                  </a:cubicBezTo>
                  <a:cubicBezTo>
                    <a:pt x="14936" y="52277"/>
                    <a:pt x="13443" y="47796"/>
                    <a:pt x="10456" y="43315"/>
                  </a:cubicBezTo>
                  <a:cubicBezTo>
                    <a:pt x="7468" y="34354"/>
                    <a:pt x="5975" y="25392"/>
                    <a:pt x="2987" y="16430"/>
                  </a:cubicBezTo>
                  <a:cubicBezTo>
                    <a:pt x="1494" y="11949"/>
                    <a:pt x="1494" y="5974"/>
                    <a:pt x="0" y="0"/>
                  </a:cubicBezTo>
                  <a:cubicBezTo>
                    <a:pt x="0" y="2987"/>
                    <a:pt x="1494" y="4481"/>
                    <a:pt x="1494" y="5974"/>
                  </a:cubicBezTo>
                  <a:cubicBezTo>
                    <a:pt x="2987" y="14936"/>
                    <a:pt x="4481" y="23898"/>
                    <a:pt x="8962" y="32860"/>
                  </a:cubicBezTo>
                  <a:cubicBezTo>
                    <a:pt x="11949" y="40328"/>
                    <a:pt x="16430" y="47796"/>
                    <a:pt x="22405" y="53771"/>
                  </a:cubicBezTo>
                  <a:cubicBezTo>
                    <a:pt x="22405" y="53771"/>
                    <a:pt x="23898" y="55264"/>
                    <a:pt x="23898" y="55264"/>
                  </a:cubicBezTo>
                  <a:cubicBezTo>
                    <a:pt x="25392" y="56758"/>
                    <a:pt x="26886" y="58252"/>
                    <a:pt x="28379" y="58252"/>
                  </a:cubicBezTo>
                  <a:cubicBezTo>
                    <a:pt x="34354" y="61239"/>
                    <a:pt x="44809" y="62733"/>
                    <a:pt x="52277" y="62733"/>
                  </a:cubicBezTo>
                  <a:cubicBezTo>
                    <a:pt x="55265" y="62733"/>
                    <a:pt x="55265" y="62733"/>
                    <a:pt x="56758" y="62733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9" name="任意多边形: 形状 10178"/>
            <p:cNvSpPr/>
            <p:nvPr/>
          </p:nvSpPr>
          <p:spPr>
            <a:xfrm>
              <a:off x="7884174" y="3733916"/>
              <a:ext cx="74682" cy="104554"/>
            </a:xfrm>
            <a:custGeom>
              <a:avLst/>
              <a:gdLst>
                <a:gd name="connsiteX0" fmla="*/ 4781 w 74681"/>
                <a:gd name="connsiteY0" fmla="*/ 64455 h 104554"/>
                <a:gd name="connsiteX1" fmla="*/ 13743 w 74681"/>
                <a:gd name="connsiteY1" fmla="*/ 88353 h 104554"/>
                <a:gd name="connsiteX2" fmla="*/ 64527 w 74681"/>
                <a:gd name="connsiteY2" fmla="*/ 115238 h 104554"/>
                <a:gd name="connsiteX3" fmla="*/ 70502 w 74681"/>
                <a:gd name="connsiteY3" fmla="*/ 24127 h 104554"/>
                <a:gd name="connsiteX4" fmla="*/ 67514 w 74681"/>
                <a:gd name="connsiteY4" fmla="*/ 13672 h 104554"/>
                <a:gd name="connsiteX5" fmla="*/ 43616 w 74681"/>
                <a:gd name="connsiteY5" fmla="*/ 229 h 104554"/>
                <a:gd name="connsiteX6" fmla="*/ 12250 w 74681"/>
                <a:gd name="connsiteY6" fmla="*/ 12178 h 104554"/>
                <a:gd name="connsiteX7" fmla="*/ 4781 w 74681"/>
                <a:gd name="connsiteY7" fmla="*/ 18152 h 104554"/>
                <a:gd name="connsiteX8" fmla="*/ 301 w 74681"/>
                <a:gd name="connsiteY8" fmla="*/ 25620 h 104554"/>
                <a:gd name="connsiteX9" fmla="*/ 4781 w 74681"/>
                <a:gd name="connsiteY9" fmla="*/ 6445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681" h="104554">
                  <a:moveTo>
                    <a:pt x="4781" y="64455"/>
                  </a:moveTo>
                  <a:cubicBezTo>
                    <a:pt x="6275" y="73417"/>
                    <a:pt x="10756" y="79391"/>
                    <a:pt x="13743" y="88353"/>
                  </a:cubicBezTo>
                  <a:cubicBezTo>
                    <a:pt x="25693" y="115238"/>
                    <a:pt x="54072" y="121213"/>
                    <a:pt x="64527" y="115238"/>
                  </a:cubicBezTo>
                  <a:cubicBezTo>
                    <a:pt x="80957" y="106277"/>
                    <a:pt x="74982" y="48025"/>
                    <a:pt x="70502" y="24127"/>
                  </a:cubicBezTo>
                  <a:cubicBezTo>
                    <a:pt x="69008" y="21140"/>
                    <a:pt x="69008" y="16659"/>
                    <a:pt x="67514" y="13672"/>
                  </a:cubicBezTo>
                  <a:cubicBezTo>
                    <a:pt x="63033" y="4710"/>
                    <a:pt x="54072" y="-1265"/>
                    <a:pt x="43616" y="229"/>
                  </a:cubicBezTo>
                  <a:cubicBezTo>
                    <a:pt x="31667" y="229"/>
                    <a:pt x="21211" y="6203"/>
                    <a:pt x="12250" y="12178"/>
                  </a:cubicBezTo>
                  <a:cubicBezTo>
                    <a:pt x="9263" y="13672"/>
                    <a:pt x="7769" y="15165"/>
                    <a:pt x="4781" y="18152"/>
                  </a:cubicBezTo>
                  <a:cubicBezTo>
                    <a:pt x="3288" y="19646"/>
                    <a:pt x="1794" y="22633"/>
                    <a:pt x="301" y="25620"/>
                  </a:cubicBezTo>
                  <a:cubicBezTo>
                    <a:pt x="-1193" y="25620"/>
                    <a:pt x="3288" y="52506"/>
                    <a:pt x="4781" y="64455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0" name="任意多边形: 形状 10179"/>
            <p:cNvSpPr/>
            <p:nvPr/>
          </p:nvSpPr>
          <p:spPr>
            <a:xfrm>
              <a:off x="7854858" y="3715635"/>
              <a:ext cx="104554" cy="134427"/>
            </a:xfrm>
            <a:custGeom>
              <a:avLst/>
              <a:gdLst>
                <a:gd name="connsiteX0" fmla="*/ 83387 w 104554"/>
                <a:gd name="connsiteY0" fmla="*/ 3573 h 134427"/>
                <a:gd name="connsiteX1" fmla="*/ 53515 w 104554"/>
                <a:gd name="connsiteY1" fmla="*/ 586 h 134427"/>
                <a:gd name="connsiteX2" fmla="*/ 19161 w 104554"/>
                <a:gd name="connsiteY2" fmla="*/ 14029 h 134427"/>
                <a:gd name="connsiteX3" fmla="*/ 1237 w 104554"/>
                <a:gd name="connsiteY3" fmla="*/ 42408 h 134427"/>
                <a:gd name="connsiteX4" fmla="*/ 4224 w 104554"/>
                <a:gd name="connsiteY4" fmla="*/ 84230 h 134427"/>
                <a:gd name="connsiteX5" fmla="*/ 8706 w 104554"/>
                <a:gd name="connsiteY5" fmla="*/ 94685 h 134427"/>
                <a:gd name="connsiteX6" fmla="*/ 10199 w 104554"/>
                <a:gd name="connsiteY6" fmla="*/ 96179 h 134427"/>
                <a:gd name="connsiteX7" fmla="*/ 14680 w 104554"/>
                <a:gd name="connsiteY7" fmla="*/ 106634 h 134427"/>
                <a:gd name="connsiteX8" fmla="*/ 26629 w 104554"/>
                <a:gd name="connsiteY8" fmla="*/ 124558 h 134427"/>
                <a:gd name="connsiteX9" fmla="*/ 43059 w 104554"/>
                <a:gd name="connsiteY9" fmla="*/ 133519 h 134427"/>
                <a:gd name="connsiteX10" fmla="*/ 52021 w 104554"/>
                <a:gd name="connsiteY10" fmla="*/ 135013 h 134427"/>
                <a:gd name="connsiteX11" fmla="*/ 38578 w 104554"/>
                <a:gd name="connsiteY11" fmla="*/ 96179 h 134427"/>
                <a:gd name="connsiteX12" fmla="*/ 34097 w 104554"/>
                <a:gd name="connsiteY12" fmla="*/ 72280 h 134427"/>
                <a:gd name="connsiteX13" fmla="*/ 113260 w 104554"/>
                <a:gd name="connsiteY13" fmla="*/ 36433 h 134427"/>
                <a:gd name="connsiteX14" fmla="*/ 83387 w 104554"/>
                <a:gd name="connsiteY14" fmla="*/ 3573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4554" h="134427">
                  <a:moveTo>
                    <a:pt x="83387" y="3573"/>
                  </a:moveTo>
                  <a:cubicBezTo>
                    <a:pt x="74425" y="586"/>
                    <a:pt x="63970" y="-908"/>
                    <a:pt x="53515" y="586"/>
                  </a:cubicBezTo>
                  <a:cubicBezTo>
                    <a:pt x="41565" y="2080"/>
                    <a:pt x="28123" y="6560"/>
                    <a:pt x="19161" y="14029"/>
                  </a:cubicBezTo>
                  <a:cubicBezTo>
                    <a:pt x="10199" y="21497"/>
                    <a:pt x="2731" y="31952"/>
                    <a:pt x="1237" y="42408"/>
                  </a:cubicBezTo>
                  <a:cubicBezTo>
                    <a:pt x="-1750" y="55850"/>
                    <a:pt x="1237" y="72280"/>
                    <a:pt x="4224" y="84230"/>
                  </a:cubicBezTo>
                  <a:cubicBezTo>
                    <a:pt x="5718" y="87217"/>
                    <a:pt x="7212" y="90204"/>
                    <a:pt x="8706" y="94685"/>
                  </a:cubicBezTo>
                  <a:cubicBezTo>
                    <a:pt x="8706" y="94685"/>
                    <a:pt x="10199" y="96179"/>
                    <a:pt x="10199" y="96179"/>
                  </a:cubicBezTo>
                  <a:cubicBezTo>
                    <a:pt x="11693" y="99166"/>
                    <a:pt x="13186" y="102153"/>
                    <a:pt x="14680" y="106634"/>
                  </a:cubicBezTo>
                  <a:cubicBezTo>
                    <a:pt x="17668" y="114102"/>
                    <a:pt x="20655" y="120077"/>
                    <a:pt x="26629" y="124558"/>
                  </a:cubicBezTo>
                  <a:cubicBezTo>
                    <a:pt x="31110" y="129039"/>
                    <a:pt x="37085" y="132026"/>
                    <a:pt x="43059" y="133519"/>
                  </a:cubicBezTo>
                  <a:cubicBezTo>
                    <a:pt x="46046" y="135013"/>
                    <a:pt x="49033" y="135013"/>
                    <a:pt x="52021" y="135013"/>
                  </a:cubicBezTo>
                  <a:cubicBezTo>
                    <a:pt x="43059" y="115596"/>
                    <a:pt x="38578" y="100659"/>
                    <a:pt x="38578" y="96179"/>
                  </a:cubicBezTo>
                  <a:cubicBezTo>
                    <a:pt x="37085" y="93191"/>
                    <a:pt x="35591" y="76761"/>
                    <a:pt x="34097" y="72280"/>
                  </a:cubicBezTo>
                  <a:cubicBezTo>
                    <a:pt x="74425" y="115596"/>
                    <a:pt x="86374" y="28965"/>
                    <a:pt x="113260" y="36433"/>
                  </a:cubicBezTo>
                  <a:cubicBezTo>
                    <a:pt x="110273" y="37927"/>
                    <a:pt x="114754" y="12535"/>
                    <a:pt x="83387" y="3573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1" name="任意多边形: 形状 10180"/>
            <p:cNvSpPr/>
            <p:nvPr/>
          </p:nvSpPr>
          <p:spPr>
            <a:xfrm>
              <a:off x="7879330" y="3789002"/>
              <a:ext cx="14936" cy="14936"/>
            </a:xfrm>
            <a:custGeom>
              <a:avLst/>
              <a:gdLst>
                <a:gd name="connsiteX0" fmla="*/ 3651 w 14936"/>
                <a:gd name="connsiteY0" fmla="*/ 407 h 14936"/>
                <a:gd name="connsiteX1" fmla="*/ 12613 w 14936"/>
                <a:gd name="connsiteY1" fmla="*/ 3394 h 14936"/>
                <a:gd name="connsiteX2" fmla="*/ 17093 w 14936"/>
                <a:gd name="connsiteY2" fmla="*/ 12356 h 14936"/>
                <a:gd name="connsiteX3" fmla="*/ 18587 w 14936"/>
                <a:gd name="connsiteY3" fmla="*/ 24305 h 14936"/>
                <a:gd name="connsiteX4" fmla="*/ 17093 w 14936"/>
                <a:gd name="connsiteY4" fmla="*/ 27292 h 14936"/>
                <a:gd name="connsiteX5" fmla="*/ 11119 w 14936"/>
                <a:gd name="connsiteY5" fmla="*/ 27292 h 14936"/>
                <a:gd name="connsiteX6" fmla="*/ 6638 w 14936"/>
                <a:gd name="connsiteY6" fmla="*/ 22812 h 14936"/>
                <a:gd name="connsiteX7" fmla="*/ 664 w 14936"/>
                <a:gd name="connsiteY7" fmla="*/ 9369 h 14936"/>
                <a:gd name="connsiteX8" fmla="*/ 664 w 14936"/>
                <a:gd name="connsiteY8" fmla="*/ 3394 h 14936"/>
                <a:gd name="connsiteX9" fmla="*/ 3651 w 14936"/>
                <a:gd name="connsiteY9" fmla="*/ 407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14936">
                  <a:moveTo>
                    <a:pt x="3651" y="407"/>
                  </a:moveTo>
                  <a:cubicBezTo>
                    <a:pt x="6638" y="-1086"/>
                    <a:pt x="9625" y="1901"/>
                    <a:pt x="12613" y="3394"/>
                  </a:cubicBezTo>
                  <a:cubicBezTo>
                    <a:pt x="15600" y="6382"/>
                    <a:pt x="15600" y="9369"/>
                    <a:pt x="17093" y="12356"/>
                  </a:cubicBezTo>
                  <a:cubicBezTo>
                    <a:pt x="18587" y="16837"/>
                    <a:pt x="20081" y="19824"/>
                    <a:pt x="18587" y="24305"/>
                  </a:cubicBezTo>
                  <a:cubicBezTo>
                    <a:pt x="18587" y="25799"/>
                    <a:pt x="17093" y="27292"/>
                    <a:pt x="17093" y="27292"/>
                  </a:cubicBezTo>
                  <a:cubicBezTo>
                    <a:pt x="15600" y="28786"/>
                    <a:pt x="12613" y="28786"/>
                    <a:pt x="11119" y="27292"/>
                  </a:cubicBezTo>
                  <a:cubicBezTo>
                    <a:pt x="9625" y="25799"/>
                    <a:pt x="8132" y="24305"/>
                    <a:pt x="6638" y="22812"/>
                  </a:cubicBezTo>
                  <a:cubicBezTo>
                    <a:pt x="3651" y="18331"/>
                    <a:pt x="2157" y="13850"/>
                    <a:pt x="664" y="9369"/>
                  </a:cubicBezTo>
                  <a:cubicBezTo>
                    <a:pt x="664" y="7875"/>
                    <a:pt x="-830" y="4888"/>
                    <a:pt x="664" y="3394"/>
                  </a:cubicBezTo>
                  <a:cubicBezTo>
                    <a:pt x="-830" y="1901"/>
                    <a:pt x="2157" y="407"/>
                    <a:pt x="3651" y="40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2" name="任意多边形: 形状 10181"/>
            <p:cNvSpPr/>
            <p:nvPr/>
          </p:nvSpPr>
          <p:spPr>
            <a:xfrm>
              <a:off x="7907787" y="3764366"/>
              <a:ext cx="29873" cy="29873"/>
            </a:xfrm>
            <a:custGeom>
              <a:avLst/>
              <a:gdLst>
                <a:gd name="connsiteX0" fmla="*/ 586 w 29872"/>
                <a:gd name="connsiteY0" fmla="*/ 16081 h 29872"/>
                <a:gd name="connsiteX1" fmla="*/ 3573 w 29872"/>
                <a:gd name="connsiteY1" fmla="*/ 8613 h 29872"/>
                <a:gd name="connsiteX2" fmla="*/ 25978 w 29872"/>
                <a:gd name="connsiteY2" fmla="*/ 1145 h 29872"/>
                <a:gd name="connsiteX3" fmla="*/ 30459 w 29872"/>
                <a:gd name="connsiteY3" fmla="*/ 4132 h 29872"/>
                <a:gd name="connsiteX4" fmla="*/ 31952 w 29872"/>
                <a:gd name="connsiteY4" fmla="*/ 8613 h 29872"/>
                <a:gd name="connsiteX5" fmla="*/ 8054 w 29872"/>
                <a:gd name="connsiteY5" fmla="*/ 23549 h 29872"/>
                <a:gd name="connsiteX6" fmla="*/ 3573 w 29872"/>
                <a:gd name="connsiteY6" fmla="*/ 32511 h 29872"/>
                <a:gd name="connsiteX7" fmla="*/ 586 w 29872"/>
                <a:gd name="connsiteY7" fmla="*/ 16081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72" h="29872">
                  <a:moveTo>
                    <a:pt x="586" y="16081"/>
                  </a:moveTo>
                  <a:cubicBezTo>
                    <a:pt x="586" y="13094"/>
                    <a:pt x="2080" y="11600"/>
                    <a:pt x="3573" y="8613"/>
                  </a:cubicBezTo>
                  <a:cubicBezTo>
                    <a:pt x="8054" y="1145"/>
                    <a:pt x="17016" y="-1843"/>
                    <a:pt x="25978" y="1145"/>
                  </a:cubicBezTo>
                  <a:cubicBezTo>
                    <a:pt x="27471" y="1145"/>
                    <a:pt x="28965" y="2638"/>
                    <a:pt x="30459" y="4132"/>
                  </a:cubicBezTo>
                  <a:cubicBezTo>
                    <a:pt x="31952" y="5626"/>
                    <a:pt x="31952" y="7119"/>
                    <a:pt x="31952" y="8613"/>
                  </a:cubicBezTo>
                  <a:cubicBezTo>
                    <a:pt x="22991" y="13094"/>
                    <a:pt x="14029" y="16081"/>
                    <a:pt x="8054" y="23549"/>
                  </a:cubicBezTo>
                  <a:cubicBezTo>
                    <a:pt x="6560" y="26536"/>
                    <a:pt x="5067" y="29524"/>
                    <a:pt x="3573" y="32511"/>
                  </a:cubicBezTo>
                  <a:cubicBezTo>
                    <a:pt x="586" y="28030"/>
                    <a:pt x="-908" y="22056"/>
                    <a:pt x="586" y="16081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3" name="任意多边形: 形状 10182"/>
            <p:cNvSpPr/>
            <p:nvPr/>
          </p:nvSpPr>
          <p:spPr>
            <a:xfrm>
              <a:off x="7903306" y="3759885"/>
              <a:ext cx="29873" cy="29873"/>
            </a:xfrm>
            <a:custGeom>
              <a:avLst/>
              <a:gdLst>
                <a:gd name="connsiteX0" fmla="*/ 586 w 29872"/>
                <a:gd name="connsiteY0" fmla="*/ 16081 h 29872"/>
                <a:gd name="connsiteX1" fmla="*/ 3573 w 29872"/>
                <a:gd name="connsiteY1" fmla="*/ 8613 h 29872"/>
                <a:gd name="connsiteX2" fmla="*/ 25978 w 29872"/>
                <a:gd name="connsiteY2" fmla="*/ 1145 h 29872"/>
                <a:gd name="connsiteX3" fmla="*/ 30458 w 29872"/>
                <a:gd name="connsiteY3" fmla="*/ 4132 h 29872"/>
                <a:gd name="connsiteX4" fmla="*/ 31952 w 29872"/>
                <a:gd name="connsiteY4" fmla="*/ 8613 h 29872"/>
                <a:gd name="connsiteX5" fmla="*/ 8054 w 29872"/>
                <a:gd name="connsiteY5" fmla="*/ 23549 h 29872"/>
                <a:gd name="connsiteX6" fmla="*/ 3573 w 29872"/>
                <a:gd name="connsiteY6" fmla="*/ 32511 h 29872"/>
                <a:gd name="connsiteX7" fmla="*/ 586 w 29872"/>
                <a:gd name="connsiteY7" fmla="*/ 16081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72" h="29872">
                  <a:moveTo>
                    <a:pt x="586" y="16081"/>
                  </a:moveTo>
                  <a:cubicBezTo>
                    <a:pt x="586" y="13094"/>
                    <a:pt x="2080" y="11600"/>
                    <a:pt x="3573" y="8613"/>
                  </a:cubicBezTo>
                  <a:cubicBezTo>
                    <a:pt x="8054" y="1145"/>
                    <a:pt x="17016" y="-1843"/>
                    <a:pt x="25978" y="1145"/>
                  </a:cubicBezTo>
                  <a:cubicBezTo>
                    <a:pt x="27471" y="1145"/>
                    <a:pt x="28965" y="2638"/>
                    <a:pt x="30458" y="4132"/>
                  </a:cubicBezTo>
                  <a:cubicBezTo>
                    <a:pt x="31952" y="5626"/>
                    <a:pt x="31952" y="7119"/>
                    <a:pt x="31952" y="8613"/>
                  </a:cubicBezTo>
                  <a:cubicBezTo>
                    <a:pt x="22990" y="13094"/>
                    <a:pt x="14029" y="16081"/>
                    <a:pt x="8054" y="23549"/>
                  </a:cubicBezTo>
                  <a:cubicBezTo>
                    <a:pt x="6561" y="26536"/>
                    <a:pt x="5067" y="29524"/>
                    <a:pt x="3573" y="32511"/>
                  </a:cubicBezTo>
                  <a:cubicBezTo>
                    <a:pt x="586" y="28030"/>
                    <a:pt x="-907" y="22056"/>
                    <a:pt x="586" y="16081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4" name="任意多边形: 形状 10183"/>
            <p:cNvSpPr/>
            <p:nvPr/>
          </p:nvSpPr>
          <p:spPr>
            <a:xfrm>
              <a:off x="6913532" y="5124718"/>
              <a:ext cx="89618" cy="74682"/>
            </a:xfrm>
            <a:custGeom>
              <a:avLst/>
              <a:gdLst>
                <a:gd name="connsiteX0" fmla="*/ 95673 w 89618"/>
                <a:gd name="connsiteY0" fmla="*/ 0 h 74681"/>
                <a:gd name="connsiteX1" fmla="*/ 47877 w 89618"/>
                <a:gd name="connsiteY1" fmla="*/ 16430 h 74681"/>
                <a:gd name="connsiteX2" fmla="*/ 81 w 89618"/>
                <a:gd name="connsiteY2" fmla="*/ 40328 h 74681"/>
                <a:gd name="connsiteX3" fmla="*/ 81 w 89618"/>
                <a:gd name="connsiteY3" fmla="*/ 40328 h 74681"/>
                <a:gd name="connsiteX4" fmla="*/ 7549 w 89618"/>
                <a:gd name="connsiteY4" fmla="*/ 49290 h 74681"/>
                <a:gd name="connsiteX5" fmla="*/ 62813 w 89618"/>
                <a:gd name="connsiteY5" fmla="*/ 73188 h 74681"/>
                <a:gd name="connsiteX6" fmla="*/ 95673 w 89618"/>
                <a:gd name="connsiteY6" fmla="*/ 70201 h 74681"/>
                <a:gd name="connsiteX7" fmla="*/ 101648 w 89618"/>
                <a:gd name="connsiteY7" fmla="*/ 59745 h 74681"/>
                <a:gd name="connsiteX8" fmla="*/ 101648 w 89618"/>
                <a:gd name="connsiteY8" fmla="*/ 59745 h 74681"/>
                <a:gd name="connsiteX9" fmla="*/ 95673 w 89618"/>
                <a:gd name="connsiteY9" fmla="*/ 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618" h="74681">
                  <a:moveTo>
                    <a:pt x="95673" y="0"/>
                  </a:moveTo>
                  <a:lnTo>
                    <a:pt x="47877" y="16430"/>
                  </a:lnTo>
                  <a:cubicBezTo>
                    <a:pt x="18004" y="11949"/>
                    <a:pt x="-1413" y="23898"/>
                    <a:pt x="81" y="40328"/>
                  </a:cubicBezTo>
                  <a:lnTo>
                    <a:pt x="81" y="40328"/>
                  </a:lnTo>
                  <a:cubicBezTo>
                    <a:pt x="81" y="43316"/>
                    <a:pt x="3068" y="47796"/>
                    <a:pt x="7549" y="49290"/>
                  </a:cubicBezTo>
                  <a:lnTo>
                    <a:pt x="62813" y="73188"/>
                  </a:lnTo>
                  <a:cubicBezTo>
                    <a:pt x="73269" y="77669"/>
                    <a:pt x="86711" y="76175"/>
                    <a:pt x="95673" y="70201"/>
                  </a:cubicBezTo>
                  <a:cubicBezTo>
                    <a:pt x="100154" y="67214"/>
                    <a:pt x="101648" y="62733"/>
                    <a:pt x="101648" y="59745"/>
                  </a:cubicBezTo>
                  <a:lnTo>
                    <a:pt x="101648" y="59745"/>
                  </a:lnTo>
                  <a:lnTo>
                    <a:pt x="95673" y="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5" name="任意多边形: 形状 10184"/>
            <p:cNvSpPr/>
            <p:nvPr/>
          </p:nvSpPr>
          <p:spPr>
            <a:xfrm>
              <a:off x="6913612" y="5163553"/>
              <a:ext cx="89618" cy="44809"/>
            </a:xfrm>
            <a:custGeom>
              <a:avLst/>
              <a:gdLst>
                <a:gd name="connsiteX0" fmla="*/ 88124 w 89618"/>
                <a:gd name="connsiteY0" fmla="*/ 43315 h 44809"/>
                <a:gd name="connsiteX1" fmla="*/ 101567 w 89618"/>
                <a:gd name="connsiteY1" fmla="*/ 26886 h 44809"/>
                <a:gd name="connsiteX2" fmla="*/ 100073 w 89618"/>
                <a:gd name="connsiteY2" fmla="*/ 14936 h 44809"/>
                <a:gd name="connsiteX3" fmla="*/ 89618 w 89618"/>
                <a:gd name="connsiteY3" fmla="*/ 16430 h 44809"/>
                <a:gd name="connsiteX4" fmla="*/ 77669 w 89618"/>
                <a:gd name="connsiteY4" fmla="*/ 26886 h 44809"/>
                <a:gd name="connsiteX5" fmla="*/ 58252 w 89618"/>
                <a:gd name="connsiteY5" fmla="*/ 29873 h 44809"/>
                <a:gd name="connsiteX6" fmla="*/ 0 w 89618"/>
                <a:gd name="connsiteY6" fmla="*/ 0 h 44809"/>
                <a:gd name="connsiteX7" fmla="*/ 2987 w 89618"/>
                <a:gd name="connsiteY7" fmla="*/ 11949 h 44809"/>
                <a:gd name="connsiteX8" fmla="*/ 88124 w 89618"/>
                <a:gd name="connsiteY8" fmla="*/ 43315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88124" y="43315"/>
                  </a:moveTo>
                  <a:cubicBezTo>
                    <a:pt x="94099" y="38835"/>
                    <a:pt x="101567" y="34354"/>
                    <a:pt x="101567" y="26886"/>
                  </a:cubicBezTo>
                  <a:cubicBezTo>
                    <a:pt x="101567" y="23898"/>
                    <a:pt x="101567" y="17924"/>
                    <a:pt x="100073" y="14936"/>
                  </a:cubicBezTo>
                  <a:cubicBezTo>
                    <a:pt x="97086" y="10456"/>
                    <a:pt x="92605" y="14936"/>
                    <a:pt x="89618" y="16430"/>
                  </a:cubicBezTo>
                  <a:cubicBezTo>
                    <a:pt x="85137" y="19418"/>
                    <a:pt x="82150" y="23898"/>
                    <a:pt x="77669" y="26886"/>
                  </a:cubicBezTo>
                  <a:cubicBezTo>
                    <a:pt x="71694" y="32860"/>
                    <a:pt x="67214" y="34354"/>
                    <a:pt x="58252" y="29873"/>
                  </a:cubicBezTo>
                  <a:cubicBezTo>
                    <a:pt x="40328" y="22405"/>
                    <a:pt x="13443" y="11949"/>
                    <a:pt x="0" y="0"/>
                  </a:cubicBezTo>
                  <a:cubicBezTo>
                    <a:pt x="0" y="4481"/>
                    <a:pt x="0" y="8962"/>
                    <a:pt x="2987" y="11949"/>
                  </a:cubicBezTo>
                  <a:cubicBezTo>
                    <a:pt x="23898" y="28379"/>
                    <a:pt x="74682" y="53771"/>
                    <a:pt x="88124" y="43315"/>
                  </a:cubicBez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6" name="任意多边形: 形状 10185"/>
            <p:cNvSpPr/>
            <p:nvPr/>
          </p:nvSpPr>
          <p:spPr>
            <a:xfrm>
              <a:off x="6950953" y="4924945"/>
              <a:ext cx="74682" cy="224045"/>
            </a:xfrm>
            <a:custGeom>
              <a:avLst/>
              <a:gdLst>
                <a:gd name="connsiteX0" fmla="*/ 0 w 74681"/>
                <a:gd name="connsiteY0" fmla="*/ 222178 h 224045"/>
                <a:gd name="connsiteX1" fmla="*/ 5974 w 74681"/>
                <a:gd name="connsiteY1" fmla="*/ 25019 h 224045"/>
                <a:gd name="connsiteX2" fmla="*/ 23898 w 74681"/>
                <a:gd name="connsiteY2" fmla="*/ 4108 h 224045"/>
                <a:gd name="connsiteX3" fmla="*/ 58252 w 74681"/>
                <a:gd name="connsiteY3" fmla="*/ 2614 h 224045"/>
                <a:gd name="connsiteX4" fmla="*/ 86631 w 74681"/>
                <a:gd name="connsiteY4" fmla="*/ 22031 h 224045"/>
                <a:gd name="connsiteX5" fmla="*/ 64226 w 74681"/>
                <a:gd name="connsiteY5" fmla="*/ 222178 h 224045"/>
                <a:gd name="connsiteX6" fmla="*/ 32860 w 74681"/>
                <a:gd name="connsiteY6" fmla="*/ 226659 h 224045"/>
                <a:gd name="connsiteX7" fmla="*/ 0 w 74681"/>
                <a:gd name="connsiteY7" fmla="*/ 222178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224045">
                  <a:moveTo>
                    <a:pt x="0" y="222178"/>
                  </a:moveTo>
                  <a:cubicBezTo>
                    <a:pt x="0" y="163926"/>
                    <a:pt x="1494" y="32487"/>
                    <a:pt x="5974" y="25019"/>
                  </a:cubicBezTo>
                  <a:cubicBezTo>
                    <a:pt x="10455" y="17550"/>
                    <a:pt x="16430" y="8588"/>
                    <a:pt x="23898" y="4108"/>
                  </a:cubicBezTo>
                  <a:cubicBezTo>
                    <a:pt x="34354" y="-1867"/>
                    <a:pt x="46303" y="-373"/>
                    <a:pt x="58252" y="2614"/>
                  </a:cubicBezTo>
                  <a:cubicBezTo>
                    <a:pt x="73188" y="5601"/>
                    <a:pt x="83644" y="8588"/>
                    <a:pt x="86631" y="22031"/>
                  </a:cubicBezTo>
                  <a:cubicBezTo>
                    <a:pt x="89618" y="36967"/>
                    <a:pt x="65720" y="214710"/>
                    <a:pt x="64226" y="222178"/>
                  </a:cubicBezTo>
                  <a:cubicBezTo>
                    <a:pt x="61239" y="229646"/>
                    <a:pt x="40328" y="223672"/>
                    <a:pt x="32860" y="226659"/>
                  </a:cubicBezTo>
                  <a:lnTo>
                    <a:pt x="0" y="222178"/>
                  </a:lnTo>
                  <a:close/>
                </a:path>
              </a:pathLst>
            </a:custGeom>
            <a:solidFill>
              <a:srgbClr val="9C8A6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7" name="任意多边形: 形状 10186"/>
            <p:cNvSpPr/>
            <p:nvPr/>
          </p:nvSpPr>
          <p:spPr>
            <a:xfrm>
              <a:off x="6950953" y="5125783"/>
              <a:ext cx="59745" cy="29873"/>
            </a:xfrm>
            <a:custGeom>
              <a:avLst/>
              <a:gdLst>
                <a:gd name="connsiteX0" fmla="*/ 62733 w 59745"/>
                <a:gd name="connsiteY0" fmla="*/ 21340 h 29872"/>
                <a:gd name="connsiteX1" fmla="*/ 56758 w 59745"/>
                <a:gd name="connsiteY1" fmla="*/ 30302 h 29872"/>
                <a:gd name="connsiteX2" fmla="*/ 53771 w 59745"/>
                <a:gd name="connsiteY2" fmla="*/ 31795 h 29872"/>
                <a:gd name="connsiteX3" fmla="*/ 50783 w 59745"/>
                <a:gd name="connsiteY3" fmla="*/ 33289 h 29872"/>
                <a:gd name="connsiteX4" fmla="*/ 47796 w 59745"/>
                <a:gd name="connsiteY4" fmla="*/ 34783 h 29872"/>
                <a:gd name="connsiteX5" fmla="*/ 10455 w 59745"/>
                <a:gd name="connsiteY5" fmla="*/ 33289 h 29872"/>
                <a:gd name="connsiteX6" fmla="*/ 4481 w 59745"/>
                <a:gd name="connsiteY6" fmla="*/ 28808 h 29872"/>
                <a:gd name="connsiteX7" fmla="*/ 0 w 59745"/>
                <a:gd name="connsiteY7" fmla="*/ 19846 h 29872"/>
                <a:gd name="connsiteX8" fmla="*/ 0 w 59745"/>
                <a:gd name="connsiteY8" fmla="*/ 19846 h 29872"/>
                <a:gd name="connsiteX9" fmla="*/ 8962 w 59745"/>
                <a:gd name="connsiteY9" fmla="*/ 6403 h 29872"/>
                <a:gd name="connsiteX10" fmla="*/ 53771 w 59745"/>
                <a:gd name="connsiteY10" fmla="*/ 4910 h 29872"/>
                <a:gd name="connsiteX11" fmla="*/ 62733 w 59745"/>
                <a:gd name="connsiteY11" fmla="*/ 2134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745" h="29872">
                  <a:moveTo>
                    <a:pt x="62733" y="21340"/>
                  </a:moveTo>
                  <a:cubicBezTo>
                    <a:pt x="62733" y="24327"/>
                    <a:pt x="59745" y="27315"/>
                    <a:pt x="56758" y="30302"/>
                  </a:cubicBezTo>
                  <a:cubicBezTo>
                    <a:pt x="56758" y="30302"/>
                    <a:pt x="55264" y="31795"/>
                    <a:pt x="53771" y="31795"/>
                  </a:cubicBezTo>
                  <a:cubicBezTo>
                    <a:pt x="52277" y="31795"/>
                    <a:pt x="52277" y="33289"/>
                    <a:pt x="50783" y="33289"/>
                  </a:cubicBezTo>
                  <a:cubicBezTo>
                    <a:pt x="49290" y="33289"/>
                    <a:pt x="47796" y="34783"/>
                    <a:pt x="47796" y="34783"/>
                  </a:cubicBezTo>
                  <a:cubicBezTo>
                    <a:pt x="35847" y="39264"/>
                    <a:pt x="20911" y="39264"/>
                    <a:pt x="10455" y="33289"/>
                  </a:cubicBezTo>
                  <a:cubicBezTo>
                    <a:pt x="8962" y="31795"/>
                    <a:pt x="5974" y="30302"/>
                    <a:pt x="4481" y="28808"/>
                  </a:cubicBezTo>
                  <a:cubicBezTo>
                    <a:pt x="1494" y="25821"/>
                    <a:pt x="0" y="22833"/>
                    <a:pt x="0" y="19846"/>
                  </a:cubicBezTo>
                  <a:lnTo>
                    <a:pt x="0" y="19846"/>
                  </a:lnTo>
                  <a:cubicBezTo>
                    <a:pt x="0" y="15365"/>
                    <a:pt x="2987" y="10885"/>
                    <a:pt x="8962" y="6403"/>
                  </a:cubicBezTo>
                  <a:cubicBezTo>
                    <a:pt x="20911" y="-1065"/>
                    <a:pt x="40328" y="-2558"/>
                    <a:pt x="53771" y="4910"/>
                  </a:cubicBezTo>
                  <a:cubicBezTo>
                    <a:pt x="61239" y="9391"/>
                    <a:pt x="64226" y="15365"/>
                    <a:pt x="62733" y="21340"/>
                  </a:cubicBezTo>
                  <a:close/>
                </a:path>
              </a:pathLst>
            </a:custGeom>
            <a:solidFill>
              <a:srgbClr val="9C8A6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8" name="任意多边形: 形状 10187"/>
            <p:cNvSpPr/>
            <p:nvPr/>
          </p:nvSpPr>
          <p:spPr>
            <a:xfrm>
              <a:off x="6951882" y="4920902"/>
              <a:ext cx="253918" cy="164300"/>
            </a:xfrm>
            <a:custGeom>
              <a:avLst/>
              <a:gdLst>
                <a:gd name="connsiteX0" fmla="*/ 565 w 253917"/>
                <a:gd name="connsiteY0" fmla="*/ 61921 h 164299"/>
                <a:gd name="connsiteX1" fmla="*/ 46867 w 253917"/>
                <a:gd name="connsiteY1" fmla="*/ 90300 h 164299"/>
                <a:gd name="connsiteX2" fmla="*/ 79727 w 253917"/>
                <a:gd name="connsiteY2" fmla="*/ 87313 h 164299"/>
                <a:gd name="connsiteX3" fmla="*/ 224610 w 253917"/>
                <a:gd name="connsiteY3" fmla="*/ 166475 h 164299"/>
                <a:gd name="connsiteX4" fmla="*/ 263444 w 253917"/>
                <a:gd name="connsiteY4" fmla="*/ 81338 h 164299"/>
                <a:gd name="connsiteX5" fmla="*/ 37905 w 253917"/>
                <a:gd name="connsiteY5" fmla="*/ 682 h 164299"/>
                <a:gd name="connsiteX6" fmla="*/ 565 w 253917"/>
                <a:gd name="connsiteY6" fmla="*/ 61921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917" h="164299">
                  <a:moveTo>
                    <a:pt x="565" y="61921"/>
                  </a:moveTo>
                  <a:lnTo>
                    <a:pt x="46867" y="90300"/>
                  </a:lnTo>
                  <a:lnTo>
                    <a:pt x="79727" y="87313"/>
                  </a:lnTo>
                  <a:lnTo>
                    <a:pt x="224610" y="166475"/>
                  </a:lnTo>
                  <a:cubicBezTo>
                    <a:pt x="235065" y="160501"/>
                    <a:pt x="263444" y="81338"/>
                    <a:pt x="263444" y="81338"/>
                  </a:cubicBezTo>
                  <a:cubicBezTo>
                    <a:pt x="220129" y="103743"/>
                    <a:pt x="72259" y="-9773"/>
                    <a:pt x="37905" y="682"/>
                  </a:cubicBezTo>
                  <a:cubicBezTo>
                    <a:pt x="-2423" y="12631"/>
                    <a:pt x="-929" y="39516"/>
                    <a:pt x="565" y="61921"/>
                  </a:cubicBezTo>
                  <a:close/>
                </a:path>
              </a:pathLst>
            </a:custGeom>
            <a:solidFill>
              <a:srgbClr val="9C8A6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9" name="任意多边形: 形状 10188"/>
            <p:cNvSpPr/>
            <p:nvPr/>
          </p:nvSpPr>
          <p:spPr>
            <a:xfrm>
              <a:off x="6828394" y="5187451"/>
              <a:ext cx="89618" cy="74682"/>
            </a:xfrm>
            <a:custGeom>
              <a:avLst/>
              <a:gdLst>
                <a:gd name="connsiteX0" fmla="*/ 95673 w 89618"/>
                <a:gd name="connsiteY0" fmla="*/ 0 h 74681"/>
                <a:gd name="connsiteX1" fmla="*/ 47877 w 89618"/>
                <a:gd name="connsiteY1" fmla="*/ 16430 h 74681"/>
                <a:gd name="connsiteX2" fmla="*/ 81 w 89618"/>
                <a:gd name="connsiteY2" fmla="*/ 40328 h 74681"/>
                <a:gd name="connsiteX3" fmla="*/ 81 w 89618"/>
                <a:gd name="connsiteY3" fmla="*/ 40328 h 74681"/>
                <a:gd name="connsiteX4" fmla="*/ 7549 w 89618"/>
                <a:gd name="connsiteY4" fmla="*/ 49290 h 74681"/>
                <a:gd name="connsiteX5" fmla="*/ 62813 w 89618"/>
                <a:gd name="connsiteY5" fmla="*/ 73188 h 74681"/>
                <a:gd name="connsiteX6" fmla="*/ 95673 w 89618"/>
                <a:gd name="connsiteY6" fmla="*/ 70201 h 74681"/>
                <a:gd name="connsiteX7" fmla="*/ 101648 w 89618"/>
                <a:gd name="connsiteY7" fmla="*/ 59745 h 74681"/>
                <a:gd name="connsiteX8" fmla="*/ 101648 w 89618"/>
                <a:gd name="connsiteY8" fmla="*/ 59745 h 74681"/>
                <a:gd name="connsiteX9" fmla="*/ 95673 w 89618"/>
                <a:gd name="connsiteY9" fmla="*/ 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618" h="74681">
                  <a:moveTo>
                    <a:pt x="95673" y="0"/>
                  </a:moveTo>
                  <a:lnTo>
                    <a:pt x="47877" y="16430"/>
                  </a:lnTo>
                  <a:cubicBezTo>
                    <a:pt x="18004" y="11949"/>
                    <a:pt x="-1413" y="23898"/>
                    <a:pt x="81" y="40328"/>
                  </a:cubicBezTo>
                  <a:lnTo>
                    <a:pt x="81" y="40328"/>
                  </a:lnTo>
                  <a:cubicBezTo>
                    <a:pt x="81" y="43315"/>
                    <a:pt x="3068" y="47796"/>
                    <a:pt x="7549" y="49290"/>
                  </a:cubicBezTo>
                  <a:lnTo>
                    <a:pt x="62813" y="73188"/>
                  </a:lnTo>
                  <a:cubicBezTo>
                    <a:pt x="73269" y="77669"/>
                    <a:pt x="86711" y="76175"/>
                    <a:pt x="95673" y="70201"/>
                  </a:cubicBezTo>
                  <a:cubicBezTo>
                    <a:pt x="100154" y="67214"/>
                    <a:pt x="101648" y="62733"/>
                    <a:pt x="101648" y="59745"/>
                  </a:cubicBezTo>
                  <a:lnTo>
                    <a:pt x="101648" y="59745"/>
                  </a:lnTo>
                  <a:lnTo>
                    <a:pt x="95673" y="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0" name="任意多边形: 形状 10189"/>
            <p:cNvSpPr/>
            <p:nvPr/>
          </p:nvSpPr>
          <p:spPr>
            <a:xfrm>
              <a:off x="6828475" y="5224792"/>
              <a:ext cx="89618" cy="44809"/>
            </a:xfrm>
            <a:custGeom>
              <a:avLst/>
              <a:gdLst>
                <a:gd name="connsiteX0" fmla="*/ 88124 w 89618"/>
                <a:gd name="connsiteY0" fmla="*/ 43315 h 44809"/>
                <a:gd name="connsiteX1" fmla="*/ 101567 w 89618"/>
                <a:gd name="connsiteY1" fmla="*/ 26885 h 44809"/>
                <a:gd name="connsiteX2" fmla="*/ 100073 w 89618"/>
                <a:gd name="connsiteY2" fmla="*/ 14936 h 44809"/>
                <a:gd name="connsiteX3" fmla="*/ 89618 w 89618"/>
                <a:gd name="connsiteY3" fmla="*/ 16430 h 44809"/>
                <a:gd name="connsiteX4" fmla="*/ 77669 w 89618"/>
                <a:gd name="connsiteY4" fmla="*/ 26885 h 44809"/>
                <a:gd name="connsiteX5" fmla="*/ 58252 w 89618"/>
                <a:gd name="connsiteY5" fmla="*/ 29873 h 44809"/>
                <a:gd name="connsiteX6" fmla="*/ 0 w 89618"/>
                <a:gd name="connsiteY6" fmla="*/ 0 h 44809"/>
                <a:gd name="connsiteX7" fmla="*/ 2987 w 89618"/>
                <a:gd name="connsiteY7" fmla="*/ 11949 h 44809"/>
                <a:gd name="connsiteX8" fmla="*/ 88124 w 89618"/>
                <a:gd name="connsiteY8" fmla="*/ 43315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88124" y="43315"/>
                  </a:moveTo>
                  <a:cubicBezTo>
                    <a:pt x="94099" y="38835"/>
                    <a:pt x="101567" y="34353"/>
                    <a:pt x="101567" y="26885"/>
                  </a:cubicBezTo>
                  <a:cubicBezTo>
                    <a:pt x="101567" y="23898"/>
                    <a:pt x="101567" y="17924"/>
                    <a:pt x="100073" y="14936"/>
                  </a:cubicBezTo>
                  <a:cubicBezTo>
                    <a:pt x="97086" y="10456"/>
                    <a:pt x="92605" y="14936"/>
                    <a:pt x="89618" y="16430"/>
                  </a:cubicBezTo>
                  <a:cubicBezTo>
                    <a:pt x="85137" y="19417"/>
                    <a:pt x="82150" y="23898"/>
                    <a:pt x="77669" y="26885"/>
                  </a:cubicBezTo>
                  <a:cubicBezTo>
                    <a:pt x="71694" y="32860"/>
                    <a:pt x="67214" y="34353"/>
                    <a:pt x="58252" y="29873"/>
                  </a:cubicBezTo>
                  <a:cubicBezTo>
                    <a:pt x="40328" y="22405"/>
                    <a:pt x="13443" y="11949"/>
                    <a:pt x="0" y="0"/>
                  </a:cubicBezTo>
                  <a:cubicBezTo>
                    <a:pt x="0" y="4481"/>
                    <a:pt x="0" y="8962"/>
                    <a:pt x="2987" y="11949"/>
                  </a:cubicBezTo>
                  <a:cubicBezTo>
                    <a:pt x="23898" y="29873"/>
                    <a:pt x="74682" y="53771"/>
                    <a:pt x="88124" y="43315"/>
                  </a:cubicBez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1" name="任意多边形: 形状 10190"/>
            <p:cNvSpPr/>
            <p:nvPr/>
          </p:nvSpPr>
          <p:spPr>
            <a:xfrm>
              <a:off x="6865816" y="4979604"/>
              <a:ext cx="74682" cy="224045"/>
            </a:xfrm>
            <a:custGeom>
              <a:avLst/>
              <a:gdLst>
                <a:gd name="connsiteX0" fmla="*/ 0 w 74681"/>
                <a:gd name="connsiteY0" fmla="*/ 228758 h 224045"/>
                <a:gd name="connsiteX1" fmla="*/ 5974 w 74681"/>
                <a:gd name="connsiteY1" fmla="*/ 31599 h 224045"/>
                <a:gd name="connsiteX2" fmla="*/ 23898 w 74681"/>
                <a:gd name="connsiteY2" fmla="*/ 10687 h 224045"/>
                <a:gd name="connsiteX3" fmla="*/ 58252 w 74681"/>
                <a:gd name="connsiteY3" fmla="*/ 232 h 224045"/>
                <a:gd name="connsiteX4" fmla="*/ 86631 w 74681"/>
                <a:gd name="connsiteY4" fmla="*/ 28611 h 224045"/>
                <a:gd name="connsiteX5" fmla="*/ 64226 w 74681"/>
                <a:gd name="connsiteY5" fmla="*/ 228758 h 224045"/>
                <a:gd name="connsiteX6" fmla="*/ 32860 w 74681"/>
                <a:gd name="connsiteY6" fmla="*/ 233239 h 224045"/>
                <a:gd name="connsiteX7" fmla="*/ 0 w 74681"/>
                <a:gd name="connsiteY7" fmla="*/ 228758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224045">
                  <a:moveTo>
                    <a:pt x="0" y="228758"/>
                  </a:moveTo>
                  <a:cubicBezTo>
                    <a:pt x="0" y="170506"/>
                    <a:pt x="1493" y="39067"/>
                    <a:pt x="5974" y="31599"/>
                  </a:cubicBezTo>
                  <a:cubicBezTo>
                    <a:pt x="10455" y="24130"/>
                    <a:pt x="16430" y="15169"/>
                    <a:pt x="23898" y="10687"/>
                  </a:cubicBezTo>
                  <a:cubicBezTo>
                    <a:pt x="34354" y="4713"/>
                    <a:pt x="46303" y="-1262"/>
                    <a:pt x="58252" y="232"/>
                  </a:cubicBezTo>
                  <a:cubicBezTo>
                    <a:pt x="73188" y="3219"/>
                    <a:pt x="83643" y="13675"/>
                    <a:pt x="86631" y="28611"/>
                  </a:cubicBezTo>
                  <a:cubicBezTo>
                    <a:pt x="89618" y="43547"/>
                    <a:pt x="65720" y="221290"/>
                    <a:pt x="64226" y="228758"/>
                  </a:cubicBezTo>
                  <a:cubicBezTo>
                    <a:pt x="61239" y="236226"/>
                    <a:pt x="40328" y="230252"/>
                    <a:pt x="32860" y="233239"/>
                  </a:cubicBezTo>
                  <a:lnTo>
                    <a:pt x="0" y="228758"/>
                  </a:lnTo>
                  <a:close/>
                </a:path>
              </a:pathLst>
            </a:custGeom>
            <a:solidFill>
              <a:srgbClr val="AB987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2" name="任意多边形: 形状 10191"/>
            <p:cNvSpPr/>
            <p:nvPr/>
          </p:nvSpPr>
          <p:spPr>
            <a:xfrm>
              <a:off x="6865816" y="5187022"/>
              <a:ext cx="59745" cy="29873"/>
            </a:xfrm>
            <a:custGeom>
              <a:avLst/>
              <a:gdLst>
                <a:gd name="connsiteX0" fmla="*/ 62733 w 59745"/>
                <a:gd name="connsiteY0" fmla="*/ 21340 h 29872"/>
                <a:gd name="connsiteX1" fmla="*/ 56758 w 59745"/>
                <a:gd name="connsiteY1" fmla="*/ 30302 h 29872"/>
                <a:gd name="connsiteX2" fmla="*/ 53771 w 59745"/>
                <a:gd name="connsiteY2" fmla="*/ 31796 h 29872"/>
                <a:gd name="connsiteX3" fmla="*/ 50783 w 59745"/>
                <a:gd name="connsiteY3" fmla="*/ 33289 h 29872"/>
                <a:gd name="connsiteX4" fmla="*/ 47796 w 59745"/>
                <a:gd name="connsiteY4" fmla="*/ 34783 h 29872"/>
                <a:gd name="connsiteX5" fmla="*/ 10455 w 59745"/>
                <a:gd name="connsiteY5" fmla="*/ 33289 h 29872"/>
                <a:gd name="connsiteX6" fmla="*/ 4481 w 59745"/>
                <a:gd name="connsiteY6" fmla="*/ 28808 h 29872"/>
                <a:gd name="connsiteX7" fmla="*/ 0 w 59745"/>
                <a:gd name="connsiteY7" fmla="*/ 19846 h 29872"/>
                <a:gd name="connsiteX8" fmla="*/ 0 w 59745"/>
                <a:gd name="connsiteY8" fmla="*/ 19846 h 29872"/>
                <a:gd name="connsiteX9" fmla="*/ 8962 w 59745"/>
                <a:gd name="connsiteY9" fmla="*/ 6404 h 29872"/>
                <a:gd name="connsiteX10" fmla="*/ 53771 w 59745"/>
                <a:gd name="connsiteY10" fmla="*/ 4910 h 29872"/>
                <a:gd name="connsiteX11" fmla="*/ 62733 w 59745"/>
                <a:gd name="connsiteY11" fmla="*/ 2134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745" h="29872">
                  <a:moveTo>
                    <a:pt x="62733" y="21340"/>
                  </a:moveTo>
                  <a:cubicBezTo>
                    <a:pt x="62733" y="24327"/>
                    <a:pt x="59745" y="27314"/>
                    <a:pt x="56758" y="30302"/>
                  </a:cubicBezTo>
                  <a:cubicBezTo>
                    <a:pt x="55264" y="30302"/>
                    <a:pt x="55264" y="31796"/>
                    <a:pt x="53771" y="31796"/>
                  </a:cubicBezTo>
                  <a:cubicBezTo>
                    <a:pt x="52277" y="31796"/>
                    <a:pt x="52277" y="33289"/>
                    <a:pt x="50783" y="33289"/>
                  </a:cubicBezTo>
                  <a:cubicBezTo>
                    <a:pt x="49290" y="33289"/>
                    <a:pt x="47796" y="34783"/>
                    <a:pt x="47796" y="34783"/>
                  </a:cubicBezTo>
                  <a:cubicBezTo>
                    <a:pt x="35847" y="39264"/>
                    <a:pt x="20911" y="39264"/>
                    <a:pt x="10455" y="33289"/>
                  </a:cubicBezTo>
                  <a:cubicBezTo>
                    <a:pt x="8962" y="31796"/>
                    <a:pt x="5974" y="30302"/>
                    <a:pt x="4481" y="28808"/>
                  </a:cubicBezTo>
                  <a:cubicBezTo>
                    <a:pt x="1493" y="25821"/>
                    <a:pt x="0" y="22834"/>
                    <a:pt x="0" y="19846"/>
                  </a:cubicBezTo>
                  <a:lnTo>
                    <a:pt x="0" y="19846"/>
                  </a:lnTo>
                  <a:cubicBezTo>
                    <a:pt x="0" y="15366"/>
                    <a:pt x="2987" y="10885"/>
                    <a:pt x="8962" y="6404"/>
                  </a:cubicBezTo>
                  <a:cubicBezTo>
                    <a:pt x="20911" y="-1065"/>
                    <a:pt x="40328" y="-2558"/>
                    <a:pt x="53771" y="4910"/>
                  </a:cubicBezTo>
                  <a:cubicBezTo>
                    <a:pt x="61239" y="10885"/>
                    <a:pt x="64226" y="16859"/>
                    <a:pt x="62733" y="21340"/>
                  </a:cubicBezTo>
                  <a:close/>
                </a:path>
              </a:pathLst>
            </a:custGeom>
            <a:solidFill>
              <a:srgbClr val="AB987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3" name="任意多边形: 形状 10192"/>
            <p:cNvSpPr/>
            <p:nvPr/>
          </p:nvSpPr>
          <p:spPr>
            <a:xfrm>
              <a:off x="7186947" y="5226285"/>
              <a:ext cx="14936" cy="14936"/>
            </a:xfrm>
            <a:custGeom>
              <a:avLst/>
              <a:gdLst>
                <a:gd name="connsiteX0" fmla="*/ 0 w 14936"/>
                <a:gd name="connsiteY0" fmla="*/ 10455 h 14936"/>
                <a:gd name="connsiteX1" fmla="*/ 10455 w 14936"/>
                <a:gd name="connsiteY1" fmla="*/ 20911 h 14936"/>
                <a:gd name="connsiteX2" fmla="*/ 20911 w 14936"/>
                <a:gd name="connsiteY2" fmla="*/ 10455 h 14936"/>
                <a:gd name="connsiteX3" fmla="*/ 10455 w 14936"/>
                <a:gd name="connsiteY3" fmla="*/ 0 h 14936"/>
                <a:gd name="connsiteX4" fmla="*/ 0 w 14936"/>
                <a:gd name="connsiteY4" fmla="*/ 10455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0" y="10455"/>
                  </a:moveTo>
                  <a:cubicBezTo>
                    <a:pt x="0" y="16430"/>
                    <a:pt x="4481" y="20911"/>
                    <a:pt x="10455" y="20911"/>
                  </a:cubicBezTo>
                  <a:cubicBezTo>
                    <a:pt x="16430" y="20911"/>
                    <a:pt x="20911" y="16430"/>
                    <a:pt x="20911" y="10455"/>
                  </a:cubicBezTo>
                  <a:cubicBezTo>
                    <a:pt x="20911" y="4481"/>
                    <a:pt x="16430" y="0"/>
                    <a:pt x="10455" y="0"/>
                  </a:cubicBezTo>
                  <a:cubicBezTo>
                    <a:pt x="4481" y="0"/>
                    <a:pt x="0" y="4481"/>
                    <a:pt x="0" y="10455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4" name="任意多边形: 形状 10193"/>
            <p:cNvSpPr/>
            <p:nvPr/>
          </p:nvSpPr>
          <p:spPr>
            <a:xfrm>
              <a:off x="7210845" y="5327852"/>
              <a:ext cx="14936" cy="14936"/>
            </a:xfrm>
            <a:custGeom>
              <a:avLst/>
              <a:gdLst>
                <a:gd name="connsiteX0" fmla="*/ 0 w 14936"/>
                <a:gd name="connsiteY0" fmla="*/ 10456 h 14936"/>
                <a:gd name="connsiteX1" fmla="*/ 10456 w 14936"/>
                <a:gd name="connsiteY1" fmla="*/ 20911 h 14936"/>
                <a:gd name="connsiteX2" fmla="*/ 20911 w 14936"/>
                <a:gd name="connsiteY2" fmla="*/ 10456 h 14936"/>
                <a:gd name="connsiteX3" fmla="*/ 10456 w 14936"/>
                <a:gd name="connsiteY3" fmla="*/ 0 h 14936"/>
                <a:gd name="connsiteX4" fmla="*/ 0 w 14936"/>
                <a:gd name="connsiteY4" fmla="*/ 1045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0" y="10456"/>
                  </a:moveTo>
                  <a:cubicBezTo>
                    <a:pt x="0" y="16430"/>
                    <a:pt x="4481" y="20911"/>
                    <a:pt x="10456" y="20911"/>
                  </a:cubicBezTo>
                  <a:cubicBezTo>
                    <a:pt x="16430" y="20911"/>
                    <a:pt x="20911" y="16430"/>
                    <a:pt x="20911" y="10456"/>
                  </a:cubicBezTo>
                  <a:cubicBezTo>
                    <a:pt x="20911" y="4481"/>
                    <a:pt x="16430" y="0"/>
                    <a:pt x="10456" y="0"/>
                  </a:cubicBezTo>
                  <a:cubicBezTo>
                    <a:pt x="4481" y="0"/>
                    <a:pt x="0" y="4481"/>
                    <a:pt x="0" y="10456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5" name="任意多边形: 形状 10194"/>
            <p:cNvSpPr/>
            <p:nvPr/>
          </p:nvSpPr>
          <p:spPr>
            <a:xfrm>
              <a:off x="7049533" y="5374155"/>
              <a:ext cx="14936" cy="14936"/>
            </a:xfrm>
            <a:custGeom>
              <a:avLst/>
              <a:gdLst>
                <a:gd name="connsiteX0" fmla="*/ 0 w 14936"/>
                <a:gd name="connsiteY0" fmla="*/ 10456 h 14936"/>
                <a:gd name="connsiteX1" fmla="*/ 10455 w 14936"/>
                <a:gd name="connsiteY1" fmla="*/ 20911 h 14936"/>
                <a:gd name="connsiteX2" fmla="*/ 20911 w 14936"/>
                <a:gd name="connsiteY2" fmla="*/ 10456 h 14936"/>
                <a:gd name="connsiteX3" fmla="*/ 10455 w 14936"/>
                <a:gd name="connsiteY3" fmla="*/ 0 h 14936"/>
                <a:gd name="connsiteX4" fmla="*/ 0 w 14936"/>
                <a:gd name="connsiteY4" fmla="*/ 1045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0" y="10456"/>
                  </a:moveTo>
                  <a:cubicBezTo>
                    <a:pt x="0" y="16430"/>
                    <a:pt x="4481" y="20911"/>
                    <a:pt x="10455" y="20911"/>
                  </a:cubicBezTo>
                  <a:cubicBezTo>
                    <a:pt x="16430" y="20911"/>
                    <a:pt x="20911" y="16430"/>
                    <a:pt x="20911" y="10456"/>
                  </a:cubicBezTo>
                  <a:cubicBezTo>
                    <a:pt x="20911" y="4481"/>
                    <a:pt x="16430" y="0"/>
                    <a:pt x="10455" y="0"/>
                  </a:cubicBezTo>
                  <a:cubicBezTo>
                    <a:pt x="4481" y="0"/>
                    <a:pt x="0" y="4481"/>
                    <a:pt x="0" y="10456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6" name="任意多边形: 形状 10195"/>
            <p:cNvSpPr/>
            <p:nvPr/>
          </p:nvSpPr>
          <p:spPr>
            <a:xfrm>
              <a:off x="6928548" y="5302461"/>
              <a:ext cx="14936" cy="14936"/>
            </a:xfrm>
            <a:custGeom>
              <a:avLst/>
              <a:gdLst>
                <a:gd name="connsiteX0" fmla="*/ 0 w 14936"/>
                <a:gd name="connsiteY0" fmla="*/ 10455 h 14936"/>
                <a:gd name="connsiteX1" fmla="*/ 10455 w 14936"/>
                <a:gd name="connsiteY1" fmla="*/ 20911 h 14936"/>
                <a:gd name="connsiteX2" fmla="*/ 20911 w 14936"/>
                <a:gd name="connsiteY2" fmla="*/ 10455 h 14936"/>
                <a:gd name="connsiteX3" fmla="*/ 10455 w 14936"/>
                <a:gd name="connsiteY3" fmla="*/ 0 h 14936"/>
                <a:gd name="connsiteX4" fmla="*/ 0 w 14936"/>
                <a:gd name="connsiteY4" fmla="*/ 10455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0" y="10455"/>
                  </a:moveTo>
                  <a:cubicBezTo>
                    <a:pt x="0" y="16430"/>
                    <a:pt x="4481" y="20911"/>
                    <a:pt x="10455" y="20911"/>
                  </a:cubicBezTo>
                  <a:cubicBezTo>
                    <a:pt x="16430" y="20911"/>
                    <a:pt x="20911" y="16430"/>
                    <a:pt x="20911" y="10455"/>
                  </a:cubicBezTo>
                  <a:cubicBezTo>
                    <a:pt x="20911" y="4481"/>
                    <a:pt x="16430" y="0"/>
                    <a:pt x="10455" y="0"/>
                  </a:cubicBezTo>
                  <a:cubicBezTo>
                    <a:pt x="4481" y="0"/>
                    <a:pt x="0" y="4481"/>
                    <a:pt x="0" y="10455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7" name="任意多边形: 形状 10196"/>
            <p:cNvSpPr/>
            <p:nvPr/>
          </p:nvSpPr>
          <p:spPr>
            <a:xfrm>
              <a:off x="7003230" y="5205375"/>
              <a:ext cx="14936" cy="14936"/>
            </a:xfrm>
            <a:custGeom>
              <a:avLst/>
              <a:gdLst>
                <a:gd name="connsiteX0" fmla="*/ 0 w 14936"/>
                <a:gd name="connsiteY0" fmla="*/ 10455 h 14936"/>
                <a:gd name="connsiteX1" fmla="*/ 10455 w 14936"/>
                <a:gd name="connsiteY1" fmla="*/ 20911 h 14936"/>
                <a:gd name="connsiteX2" fmla="*/ 20911 w 14936"/>
                <a:gd name="connsiteY2" fmla="*/ 10455 h 14936"/>
                <a:gd name="connsiteX3" fmla="*/ 10455 w 14936"/>
                <a:gd name="connsiteY3" fmla="*/ 0 h 14936"/>
                <a:gd name="connsiteX4" fmla="*/ 0 w 14936"/>
                <a:gd name="connsiteY4" fmla="*/ 10455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0" y="10455"/>
                  </a:moveTo>
                  <a:cubicBezTo>
                    <a:pt x="0" y="16430"/>
                    <a:pt x="4481" y="20911"/>
                    <a:pt x="10455" y="20911"/>
                  </a:cubicBezTo>
                  <a:cubicBezTo>
                    <a:pt x="16430" y="20911"/>
                    <a:pt x="20911" y="16430"/>
                    <a:pt x="20911" y="10455"/>
                  </a:cubicBezTo>
                  <a:cubicBezTo>
                    <a:pt x="20911" y="4481"/>
                    <a:pt x="16430" y="0"/>
                    <a:pt x="10455" y="0"/>
                  </a:cubicBezTo>
                  <a:cubicBezTo>
                    <a:pt x="4481" y="0"/>
                    <a:pt x="0" y="4481"/>
                    <a:pt x="0" y="10455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8" name="任意多边形: 形状 10197"/>
            <p:cNvSpPr/>
            <p:nvPr/>
          </p:nvSpPr>
          <p:spPr>
            <a:xfrm>
              <a:off x="6924067" y="5193425"/>
              <a:ext cx="298727" cy="179236"/>
            </a:xfrm>
            <a:custGeom>
              <a:avLst/>
              <a:gdLst>
                <a:gd name="connsiteX0" fmla="*/ 77669 w 298726"/>
                <a:gd name="connsiteY0" fmla="*/ 13443 h 179236"/>
                <a:gd name="connsiteX1" fmla="*/ 77669 w 298726"/>
                <a:gd name="connsiteY1" fmla="*/ 0 h 179236"/>
                <a:gd name="connsiteX2" fmla="*/ 97086 w 298726"/>
                <a:gd name="connsiteY2" fmla="*/ 8962 h 179236"/>
                <a:gd name="connsiteX3" fmla="*/ 167287 w 298726"/>
                <a:gd name="connsiteY3" fmla="*/ 73188 h 179236"/>
                <a:gd name="connsiteX4" fmla="*/ 267361 w 298726"/>
                <a:gd name="connsiteY4" fmla="*/ 23898 h 179236"/>
                <a:gd name="connsiteX5" fmla="*/ 282297 w 298726"/>
                <a:gd name="connsiteY5" fmla="*/ 19418 h 179236"/>
                <a:gd name="connsiteX6" fmla="*/ 282297 w 298726"/>
                <a:gd name="connsiteY6" fmla="*/ 32860 h 179236"/>
                <a:gd name="connsiteX7" fmla="*/ 197160 w 298726"/>
                <a:gd name="connsiteY7" fmla="*/ 91112 h 179236"/>
                <a:gd name="connsiteX8" fmla="*/ 309182 w 298726"/>
                <a:gd name="connsiteY8" fmla="*/ 117997 h 179236"/>
                <a:gd name="connsiteX9" fmla="*/ 309182 w 298726"/>
                <a:gd name="connsiteY9" fmla="*/ 131440 h 179236"/>
                <a:gd name="connsiteX10" fmla="*/ 300221 w 298726"/>
                <a:gd name="connsiteY10" fmla="*/ 141895 h 179236"/>
                <a:gd name="connsiteX11" fmla="*/ 177743 w 298726"/>
                <a:gd name="connsiteY11" fmla="*/ 113516 h 179236"/>
                <a:gd name="connsiteX12" fmla="*/ 146376 w 298726"/>
                <a:gd name="connsiteY12" fmla="*/ 188198 h 179236"/>
                <a:gd name="connsiteX13" fmla="*/ 125465 w 298726"/>
                <a:gd name="connsiteY13" fmla="*/ 185211 h 179236"/>
                <a:gd name="connsiteX14" fmla="*/ 125465 w 298726"/>
                <a:gd name="connsiteY14" fmla="*/ 171768 h 179236"/>
                <a:gd name="connsiteX15" fmla="*/ 134427 w 298726"/>
                <a:gd name="connsiteY15" fmla="*/ 109036 h 179236"/>
                <a:gd name="connsiteX16" fmla="*/ 2987 w 298726"/>
                <a:gd name="connsiteY16" fmla="*/ 115010 h 179236"/>
                <a:gd name="connsiteX17" fmla="*/ 0 w 298726"/>
                <a:gd name="connsiteY17" fmla="*/ 103061 h 179236"/>
                <a:gd name="connsiteX18" fmla="*/ 0 w 298726"/>
                <a:gd name="connsiteY18" fmla="*/ 89618 h 179236"/>
                <a:gd name="connsiteX19" fmla="*/ 128453 w 298726"/>
                <a:gd name="connsiteY19" fmla="*/ 85137 h 17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8726" h="179236">
                  <a:moveTo>
                    <a:pt x="77669" y="13443"/>
                  </a:moveTo>
                  <a:lnTo>
                    <a:pt x="77669" y="0"/>
                  </a:lnTo>
                  <a:lnTo>
                    <a:pt x="97086" y="8962"/>
                  </a:lnTo>
                  <a:lnTo>
                    <a:pt x="167287" y="73188"/>
                  </a:lnTo>
                  <a:lnTo>
                    <a:pt x="267361" y="23898"/>
                  </a:lnTo>
                  <a:lnTo>
                    <a:pt x="282297" y="19418"/>
                  </a:lnTo>
                  <a:lnTo>
                    <a:pt x="282297" y="32860"/>
                  </a:lnTo>
                  <a:lnTo>
                    <a:pt x="197160" y="91112"/>
                  </a:lnTo>
                  <a:lnTo>
                    <a:pt x="309182" y="117997"/>
                  </a:lnTo>
                  <a:lnTo>
                    <a:pt x="309182" y="131440"/>
                  </a:lnTo>
                  <a:lnTo>
                    <a:pt x="300221" y="141895"/>
                  </a:lnTo>
                  <a:lnTo>
                    <a:pt x="177743" y="113516"/>
                  </a:lnTo>
                  <a:lnTo>
                    <a:pt x="146376" y="188198"/>
                  </a:lnTo>
                  <a:lnTo>
                    <a:pt x="125465" y="185211"/>
                  </a:lnTo>
                  <a:lnTo>
                    <a:pt x="125465" y="171768"/>
                  </a:lnTo>
                  <a:lnTo>
                    <a:pt x="134427" y="109036"/>
                  </a:lnTo>
                  <a:lnTo>
                    <a:pt x="2987" y="115010"/>
                  </a:lnTo>
                  <a:lnTo>
                    <a:pt x="0" y="103061"/>
                  </a:lnTo>
                  <a:lnTo>
                    <a:pt x="0" y="89618"/>
                  </a:lnTo>
                  <a:lnTo>
                    <a:pt x="128453" y="85137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9" name="任意多边形: 形状 10198"/>
            <p:cNvSpPr/>
            <p:nvPr/>
          </p:nvSpPr>
          <p:spPr>
            <a:xfrm>
              <a:off x="6924067" y="5188945"/>
              <a:ext cx="298727" cy="164300"/>
            </a:xfrm>
            <a:custGeom>
              <a:avLst/>
              <a:gdLst>
                <a:gd name="connsiteX0" fmla="*/ 77669 w 298726"/>
                <a:gd name="connsiteY0" fmla="*/ 4481 h 164299"/>
                <a:gd name="connsiteX1" fmla="*/ 97086 w 298726"/>
                <a:gd name="connsiteY1" fmla="*/ 0 h 164299"/>
                <a:gd name="connsiteX2" fmla="*/ 167287 w 298726"/>
                <a:gd name="connsiteY2" fmla="*/ 64226 h 164299"/>
                <a:gd name="connsiteX3" fmla="*/ 267361 w 298726"/>
                <a:gd name="connsiteY3" fmla="*/ 14936 h 164299"/>
                <a:gd name="connsiteX4" fmla="*/ 282297 w 298726"/>
                <a:gd name="connsiteY4" fmla="*/ 23898 h 164299"/>
                <a:gd name="connsiteX5" fmla="*/ 197160 w 298726"/>
                <a:gd name="connsiteY5" fmla="*/ 82150 h 164299"/>
                <a:gd name="connsiteX6" fmla="*/ 309182 w 298726"/>
                <a:gd name="connsiteY6" fmla="*/ 122478 h 164299"/>
                <a:gd name="connsiteX7" fmla="*/ 300221 w 298726"/>
                <a:gd name="connsiteY7" fmla="*/ 132933 h 164299"/>
                <a:gd name="connsiteX8" fmla="*/ 177743 w 298726"/>
                <a:gd name="connsiteY8" fmla="*/ 104554 h 164299"/>
                <a:gd name="connsiteX9" fmla="*/ 146376 w 298726"/>
                <a:gd name="connsiteY9" fmla="*/ 177742 h 164299"/>
                <a:gd name="connsiteX10" fmla="*/ 125465 w 298726"/>
                <a:gd name="connsiteY10" fmla="*/ 176249 h 164299"/>
                <a:gd name="connsiteX11" fmla="*/ 134427 w 298726"/>
                <a:gd name="connsiteY11" fmla="*/ 100073 h 164299"/>
                <a:gd name="connsiteX12" fmla="*/ 2987 w 298726"/>
                <a:gd name="connsiteY12" fmla="*/ 106048 h 164299"/>
                <a:gd name="connsiteX13" fmla="*/ 0 w 298726"/>
                <a:gd name="connsiteY13" fmla="*/ 94099 h 164299"/>
                <a:gd name="connsiteX14" fmla="*/ 128453 w 298726"/>
                <a:gd name="connsiteY14" fmla="*/ 76175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8726" h="164299">
                  <a:moveTo>
                    <a:pt x="77669" y="4481"/>
                  </a:moveTo>
                  <a:lnTo>
                    <a:pt x="97086" y="0"/>
                  </a:lnTo>
                  <a:lnTo>
                    <a:pt x="167287" y="64226"/>
                  </a:lnTo>
                  <a:lnTo>
                    <a:pt x="267361" y="14936"/>
                  </a:lnTo>
                  <a:lnTo>
                    <a:pt x="282297" y="23898"/>
                  </a:lnTo>
                  <a:lnTo>
                    <a:pt x="197160" y="82150"/>
                  </a:lnTo>
                  <a:lnTo>
                    <a:pt x="309182" y="122478"/>
                  </a:lnTo>
                  <a:lnTo>
                    <a:pt x="300221" y="132933"/>
                  </a:lnTo>
                  <a:lnTo>
                    <a:pt x="177743" y="104554"/>
                  </a:lnTo>
                  <a:lnTo>
                    <a:pt x="146376" y="177742"/>
                  </a:lnTo>
                  <a:lnTo>
                    <a:pt x="125465" y="176249"/>
                  </a:lnTo>
                  <a:lnTo>
                    <a:pt x="134427" y="100073"/>
                  </a:lnTo>
                  <a:lnTo>
                    <a:pt x="2987" y="106048"/>
                  </a:lnTo>
                  <a:lnTo>
                    <a:pt x="0" y="94099"/>
                  </a:lnTo>
                  <a:lnTo>
                    <a:pt x="128453" y="76175"/>
                  </a:lnTo>
                  <a:close/>
                </a:path>
              </a:pathLst>
            </a:custGeom>
            <a:solidFill>
              <a:srgbClr val="87878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0" name="任意多边形: 形状 10199"/>
            <p:cNvSpPr/>
            <p:nvPr/>
          </p:nvSpPr>
          <p:spPr>
            <a:xfrm>
              <a:off x="7065963" y="5263626"/>
              <a:ext cx="29873" cy="14936"/>
            </a:xfrm>
            <a:custGeom>
              <a:avLst/>
              <a:gdLst>
                <a:gd name="connsiteX0" fmla="*/ 38835 w 29872"/>
                <a:gd name="connsiteY0" fmla="*/ 10455 h 14936"/>
                <a:gd name="connsiteX1" fmla="*/ 19417 w 29872"/>
                <a:gd name="connsiteY1" fmla="*/ 20911 h 14936"/>
                <a:gd name="connsiteX2" fmla="*/ 0 w 29872"/>
                <a:gd name="connsiteY2" fmla="*/ 10455 h 14936"/>
                <a:gd name="connsiteX3" fmla="*/ 19417 w 29872"/>
                <a:gd name="connsiteY3" fmla="*/ 0 h 14936"/>
                <a:gd name="connsiteX4" fmla="*/ 38835 w 29872"/>
                <a:gd name="connsiteY4" fmla="*/ 10455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72" h="14936">
                  <a:moveTo>
                    <a:pt x="38835" y="10455"/>
                  </a:moveTo>
                  <a:cubicBezTo>
                    <a:pt x="38835" y="16230"/>
                    <a:pt x="30141" y="20911"/>
                    <a:pt x="19417" y="20911"/>
                  </a:cubicBezTo>
                  <a:cubicBezTo>
                    <a:pt x="8693" y="20911"/>
                    <a:pt x="0" y="16230"/>
                    <a:pt x="0" y="10455"/>
                  </a:cubicBezTo>
                  <a:cubicBezTo>
                    <a:pt x="0" y="4681"/>
                    <a:pt x="8693" y="0"/>
                    <a:pt x="19417" y="0"/>
                  </a:cubicBezTo>
                  <a:cubicBezTo>
                    <a:pt x="30141" y="0"/>
                    <a:pt x="38835" y="4681"/>
                    <a:pt x="38835" y="10455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1" name="任意多边形: 形状 10200"/>
            <p:cNvSpPr/>
            <p:nvPr/>
          </p:nvSpPr>
          <p:spPr>
            <a:xfrm>
              <a:off x="7065963" y="5148616"/>
              <a:ext cx="29873" cy="119491"/>
            </a:xfrm>
            <a:custGeom>
              <a:avLst/>
              <a:gdLst>
                <a:gd name="connsiteX0" fmla="*/ 0 w 29872"/>
                <a:gd name="connsiteY0" fmla="*/ 0 h 119490"/>
                <a:gd name="connsiteX1" fmla="*/ 38835 w 29872"/>
                <a:gd name="connsiteY1" fmla="*/ 0 h 119490"/>
                <a:gd name="connsiteX2" fmla="*/ 38835 w 29872"/>
                <a:gd name="connsiteY2" fmla="*/ 123971 h 119490"/>
                <a:gd name="connsiteX3" fmla="*/ 0 w 29872"/>
                <a:gd name="connsiteY3" fmla="*/ 123971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19490">
                  <a:moveTo>
                    <a:pt x="0" y="0"/>
                  </a:moveTo>
                  <a:lnTo>
                    <a:pt x="38835" y="0"/>
                  </a:lnTo>
                  <a:lnTo>
                    <a:pt x="38835" y="123971"/>
                  </a:lnTo>
                  <a:lnTo>
                    <a:pt x="0" y="123971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2" name="任意多边形: 形状 10201"/>
            <p:cNvSpPr/>
            <p:nvPr/>
          </p:nvSpPr>
          <p:spPr>
            <a:xfrm>
              <a:off x="7073431" y="4980764"/>
              <a:ext cx="179236" cy="134427"/>
            </a:xfrm>
            <a:custGeom>
              <a:avLst/>
              <a:gdLst>
                <a:gd name="connsiteX0" fmla="*/ 13443 w 179236"/>
                <a:gd name="connsiteY0" fmla="*/ 51349 h 134427"/>
                <a:gd name="connsiteX1" fmla="*/ 165794 w 179236"/>
                <a:gd name="connsiteY1" fmla="*/ 139473 h 134427"/>
                <a:gd name="connsiteX2" fmla="*/ 179236 w 179236"/>
                <a:gd name="connsiteY2" fmla="*/ 132005 h 134427"/>
                <a:gd name="connsiteX3" fmla="*/ 179236 w 179236"/>
                <a:gd name="connsiteY3" fmla="*/ 132005 h 134427"/>
                <a:gd name="connsiteX4" fmla="*/ 149363 w 179236"/>
                <a:gd name="connsiteY4" fmla="*/ 81221 h 134427"/>
                <a:gd name="connsiteX5" fmla="*/ 13443 w 179236"/>
                <a:gd name="connsiteY5" fmla="*/ 2059 h 134427"/>
                <a:gd name="connsiteX6" fmla="*/ 0 w 179236"/>
                <a:gd name="connsiteY6" fmla="*/ 9527 h 134427"/>
                <a:gd name="connsiteX7" fmla="*/ 0 w 179236"/>
                <a:gd name="connsiteY7" fmla="*/ 28944 h 134427"/>
                <a:gd name="connsiteX8" fmla="*/ 13443 w 179236"/>
                <a:gd name="connsiteY8" fmla="*/ 51349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9236" h="134427">
                  <a:moveTo>
                    <a:pt x="13443" y="51349"/>
                  </a:moveTo>
                  <a:lnTo>
                    <a:pt x="165794" y="139473"/>
                  </a:lnTo>
                  <a:cubicBezTo>
                    <a:pt x="173262" y="143954"/>
                    <a:pt x="179236" y="140967"/>
                    <a:pt x="179236" y="132005"/>
                  </a:cubicBezTo>
                  <a:lnTo>
                    <a:pt x="179236" y="132005"/>
                  </a:lnTo>
                  <a:cubicBezTo>
                    <a:pt x="179236" y="112588"/>
                    <a:pt x="165794" y="90183"/>
                    <a:pt x="149363" y="81221"/>
                  </a:cubicBezTo>
                  <a:lnTo>
                    <a:pt x="13443" y="2059"/>
                  </a:lnTo>
                  <a:cubicBezTo>
                    <a:pt x="5975" y="-2422"/>
                    <a:pt x="0" y="565"/>
                    <a:pt x="0" y="9527"/>
                  </a:cubicBezTo>
                  <a:lnTo>
                    <a:pt x="0" y="28944"/>
                  </a:lnTo>
                  <a:cubicBezTo>
                    <a:pt x="0" y="37906"/>
                    <a:pt x="5975" y="46868"/>
                    <a:pt x="13443" y="51349"/>
                  </a:cubicBezTo>
                  <a:close/>
                </a:path>
              </a:pathLst>
            </a:custGeom>
            <a:solidFill>
              <a:srgbClr val="00597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3" name="任意多边形: 形状 10202"/>
            <p:cNvSpPr/>
            <p:nvPr/>
          </p:nvSpPr>
          <p:spPr>
            <a:xfrm>
              <a:off x="6937510" y="4981330"/>
              <a:ext cx="298727" cy="209109"/>
            </a:xfrm>
            <a:custGeom>
              <a:avLst/>
              <a:gdLst>
                <a:gd name="connsiteX0" fmla="*/ 171768 w 298726"/>
                <a:gd name="connsiteY0" fmla="*/ 221058 h 209108"/>
                <a:gd name="connsiteX1" fmla="*/ 312169 w 298726"/>
                <a:gd name="connsiteY1" fmla="*/ 138908 h 209108"/>
                <a:gd name="connsiteX2" fmla="*/ 140402 w 298726"/>
                <a:gd name="connsiteY2" fmla="*/ 0 h 209108"/>
                <a:gd name="connsiteX3" fmla="*/ 0 w 298726"/>
                <a:gd name="connsiteY3" fmla="*/ 82150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6" h="209108">
                  <a:moveTo>
                    <a:pt x="171768" y="221058"/>
                  </a:moveTo>
                  <a:lnTo>
                    <a:pt x="312169" y="138908"/>
                  </a:lnTo>
                  <a:lnTo>
                    <a:pt x="140402" y="0"/>
                  </a:lnTo>
                  <a:lnTo>
                    <a:pt x="0" y="82150"/>
                  </a:lnTo>
                  <a:close/>
                </a:path>
              </a:pathLst>
            </a:custGeom>
            <a:solidFill>
              <a:srgbClr val="00597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4" name="任意多边形: 形状 10203"/>
            <p:cNvSpPr/>
            <p:nvPr/>
          </p:nvSpPr>
          <p:spPr>
            <a:xfrm>
              <a:off x="6933029" y="5061421"/>
              <a:ext cx="179236" cy="134427"/>
            </a:xfrm>
            <a:custGeom>
              <a:avLst/>
              <a:gdLst>
                <a:gd name="connsiteX0" fmla="*/ 13443 w 179236"/>
                <a:gd name="connsiteY0" fmla="*/ 51349 h 134427"/>
                <a:gd name="connsiteX1" fmla="*/ 165793 w 179236"/>
                <a:gd name="connsiteY1" fmla="*/ 139473 h 134427"/>
                <a:gd name="connsiteX2" fmla="*/ 179236 w 179236"/>
                <a:gd name="connsiteY2" fmla="*/ 132005 h 134427"/>
                <a:gd name="connsiteX3" fmla="*/ 179236 w 179236"/>
                <a:gd name="connsiteY3" fmla="*/ 132005 h 134427"/>
                <a:gd name="connsiteX4" fmla="*/ 149363 w 179236"/>
                <a:gd name="connsiteY4" fmla="*/ 81221 h 134427"/>
                <a:gd name="connsiteX5" fmla="*/ 13443 w 179236"/>
                <a:gd name="connsiteY5" fmla="*/ 2059 h 134427"/>
                <a:gd name="connsiteX6" fmla="*/ 0 w 179236"/>
                <a:gd name="connsiteY6" fmla="*/ 9527 h 134427"/>
                <a:gd name="connsiteX7" fmla="*/ 0 w 179236"/>
                <a:gd name="connsiteY7" fmla="*/ 28944 h 134427"/>
                <a:gd name="connsiteX8" fmla="*/ 13443 w 179236"/>
                <a:gd name="connsiteY8" fmla="*/ 51349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9236" h="134427">
                  <a:moveTo>
                    <a:pt x="13443" y="51349"/>
                  </a:moveTo>
                  <a:lnTo>
                    <a:pt x="165793" y="139473"/>
                  </a:lnTo>
                  <a:cubicBezTo>
                    <a:pt x="173261" y="143954"/>
                    <a:pt x="179236" y="140967"/>
                    <a:pt x="179236" y="132005"/>
                  </a:cubicBezTo>
                  <a:lnTo>
                    <a:pt x="179236" y="132005"/>
                  </a:lnTo>
                  <a:cubicBezTo>
                    <a:pt x="179236" y="112588"/>
                    <a:pt x="165793" y="90183"/>
                    <a:pt x="149363" y="81221"/>
                  </a:cubicBezTo>
                  <a:lnTo>
                    <a:pt x="13443" y="2059"/>
                  </a:lnTo>
                  <a:cubicBezTo>
                    <a:pt x="5974" y="-2422"/>
                    <a:pt x="0" y="565"/>
                    <a:pt x="0" y="9527"/>
                  </a:cubicBezTo>
                  <a:lnTo>
                    <a:pt x="0" y="28944"/>
                  </a:lnTo>
                  <a:cubicBezTo>
                    <a:pt x="1493" y="37906"/>
                    <a:pt x="7468" y="46868"/>
                    <a:pt x="13443" y="51349"/>
                  </a:cubicBez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5" name="任意多边形: 形状 10204"/>
            <p:cNvSpPr/>
            <p:nvPr/>
          </p:nvSpPr>
          <p:spPr>
            <a:xfrm>
              <a:off x="6870297" y="4967981"/>
              <a:ext cx="268854" cy="134427"/>
            </a:xfrm>
            <a:custGeom>
              <a:avLst/>
              <a:gdLst>
                <a:gd name="connsiteX0" fmla="*/ 0 w 268854"/>
                <a:gd name="connsiteY0" fmla="*/ 64132 h 134427"/>
                <a:gd name="connsiteX1" fmla="*/ 46303 w 268854"/>
                <a:gd name="connsiteY1" fmla="*/ 92511 h 134427"/>
                <a:gd name="connsiteX2" fmla="*/ 79162 w 268854"/>
                <a:gd name="connsiteY2" fmla="*/ 89524 h 134427"/>
                <a:gd name="connsiteX3" fmla="*/ 234501 w 268854"/>
                <a:gd name="connsiteY3" fmla="*/ 147776 h 134427"/>
                <a:gd name="connsiteX4" fmla="*/ 274829 w 268854"/>
                <a:gd name="connsiteY4" fmla="*/ 50690 h 134427"/>
                <a:gd name="connsiteX5" fmla="*/ 35847 w 268854"/>
                <a:gd name="connsiteY5" fmla="*/ 4387 h 134427"/>
                <a:gd name="connsiteX6" fmla="*/ 0 w 268854"/>
                <a:gd name="connsiteY6" fmla="*/ 64132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8854" h="134427">
                  <a:moveTo>
                    <a:pt x="0" y="64132"/>
                  </a:moveTo>
                  <a:lnTo>
                    <a:pt x="46303" y="92511"/>
                  </a:lnTo>
                  <a:lnTo>
                    <a:pt x="79162" y="89524"/>
                  </a:lnTo>
                  <a:lnTo>
                    <a:pt x="234501" y="147776"/>
                  </a:lnTo>
                  <a:cubicBezTo>
                    <a:pt x="244956" y="141801"/>
                    <a:pt x="274829" y="50690"/>
                    <a:pt x="274829" y="50690"/>
                  </a:cubicBezTo>
                  <a:cubicBezTo>
                    <a:pt x="231513" y="73094"/>
                    <a:pt x="89618" y="-21005"/>
                    <a:pt x="35847" y="4387"/>
                  </a:cubicBezTo>
                  <a:cubicBezTo>
                    <a:pt x="0" y="19323"/>
                    <a:pt x="0" y="40234"/>
                    <a:pt x="0" y="64132"/>
                  </a:cubicBezTo>
                  <a:close/>
                </a:path>
              </a:pathLst>
            </a:custGeom>
            <a:solidFill>
              <a:srgbClr val="AB987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6" name="任意多边形: 形状 10205"/>
            <p:cNvSpPr/>
            <p:nvPr/>
          </p:nvSpPr>
          <p:spPr>
            <a:xfrm>
              <a:off x="6608911" y="4915609"/>
              <a:ext cx="14936" cy="283791"/>
            </a:xfrm>
            <a:custGeom>
              <a:avLst/>
              <a:gdLst>
                <a:gd name="connsiteX0" fmla="*/ 17924 w 14936"/>
                <a:gd name="connsiteY0" fmla="*/ 288272 h 283790"/>
                <a:gd name="connsiteX1" fmla="*/ 0 w 14936"/>
                <a:gd name="connsiteY1" fmla="*/ 277816 h 283790"/>
                <a:gd name="connsiteX2" fmla="*/ 0 w 14936"/>
                <a:gd name="connsiteY2" fmla="*/ 0 h 283790"/>
                <a:gd name="connsiteX3" fmla="*/ 17924 w 14936"/>
                <a:gd name="connsiteY3" fmla="*/ 10456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283790">
                  <a:moveTo>
                    <a:pt x="17924" y="288272"/>
                  </a:moveTo>
                  <a:lnTo>
                    <a:pt x="0" y="277816"/>
                  </a:lnTo>
                  <a:lnTo>
                    <a:pt x="0" y="0"/>
                  </a:lnTo>
                  <a:lnTo>
                    <a:pt x="17924" y="10456"/>
                  </a:lnTo>
                  <a:close/>
                </a:path>
              </a:pathLst>
            </a:custGeom>
            <a:solidFill>
              <a:srgbClr val="897E6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7" name="任意多边形: 形状 10206"/>
            <p:cNvSpPr/>
            <p:nvPr/>
          </p:nvSpPr>
          <p:spPr>
            <a:xfrm>
              <a:off x="6626834" y="4915609"/>
              <a:ext cx="14936" cy="283791"/>
            </a:xfrm>
            <a:custGeom>
              <a:avLst/>
              <a:gdLst>
                <a:gd name="connsiteX0" fmla="*/ 17924 w 14936"/>
                <a:gd name="connsiteY0" fmla="*/ 277816 h 283790"/>
                <a:gd name="connsiteX1" fmla="*/ 0 w 14936"/>
                <a:gd name="connsiteY1" fmla="*/ 288272 h 283790"/>
                <a:gd name="connsiteX2" fmla="*/ 0 w 14936"/>
                <a:gd name="connsiteY2" fmla="*/ 10456 h 283790"/>
                <a:gd name="connsiteX3" fmla="*/ 17924 w 14936"/>
                <a:gd name="connsiteY3" fmla="*/ 0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283790">
                  <a:moveTo>
                    <a:pt x="17924" y="277816"/>
                  </a:moveTo>
                  <a:lnTo>
                    <a:pt x="0" y="288272"/>
                  </a:lnTo>
                  <a:lnTo>
                    <a:pt x="0" y="10456"/>
                  </a:lnTo>
                  <a:lnTo>
                    <a:pt x="17924" y="0"/>
                  </a:lnTo>
                  <a:close/>
                </a:path>
              </a:pathLst>
            </a:custGeom>
            <a:solidFill>
              <a:srgbClr val="6E645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8" name="任意多边形: 形状 10207"/>
            <p:cNvSpPr/>
            <p:nvPr/>
          </p:nvSpPr>
          <p:spPr>
            <a:xfrm>
              <a:off x="7149606" y="4861839"/>
              <a:ext cx="14936" cy="283791"/>
            </a:xfrm>
            <a:custGeom>
              <a:avLst/>
              <a:gdLst>
                <a:gd name="connsiteX0" fmla="*/ 17924 w 14936"/>
                <a:gd name="connsiteY0" fmla="*/ 286778 h 283790"/>
                <a:gd name="connsiteX1" fmla="*/ 0 w 14936"/>
                <a:gd name="connsiteY1" fmla="*/ 276322 h 283790"/>
                <a:gd name="connsiteX2" fmla="*/ 0 w 14936"/>
                <a:gd name="connsiteY2" fmla="*/ 0 h 283790"/>
                <a:gd name="connsiteX3" fmla="*/ 17924 w 14936"/>
                <a:gd name="connsiteY3" fmla="*/ 10455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283790">
                  <a:moveTo>
                    <a:pt x="17924" y="286778"/>
                  </a:moveTo>
                  <a:lnTo>
                    <a:pt x="0" y="276322"/>
                  </a:lnTo>
                  <a:lnTo>
                    <a:pt x="0" y="0"/>
                  </a:lnTo>
                  <a:lnTo>
                    <a:pt x="17924" y="10455"/>
                  </a:lnTo>
                  <a:close/>
                </a:path>
              </a:pathLst>
            </a:custGeom>
            <a:solidFill>
              <a:srgbClr val="897E6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9" name="任意多边形: 形状 10208"/>
            <p:cNvSpPr/>
            <p:nvPr/>
          </p:nvSpPr>
          <p:spPr>
            <a:xfrm>
              <a:off x="7167530" y="4861839"/>
              <a:ext cx="14936" cy="283791"/>
            </a:xfrm>
            <a:custGeom>
              <a:avLst/>
              <a:gdLst>
                <a:gd name="connsiteX0" fmla="*/ 17924 w 14936"/>
                <a:gd name="connsiteY0" fmla="*/ 276322 h 283790"/>
                <a:gd name="connsiteX1" fmla="*/ 0 w 14936"/>
                <a:gd name="connsiteY1" fmla="*/ 286778 h 283790"/>
                <a:gd name="connsiteX2" fmla="*/ 0 w 14936"/>
                <a:gd name="connsiteY2" fmla="*/ 10455 h 283790"/>
                <a:gd name="connsiteX3" fmla="*/ 17924 w 14936"/>
                <a:gd name="connsiteY3" fmla="*/ 0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283790">
                  <a:moveTo>
                    <a:pt x="17924" y="276322"/>
                  </a:moveTo>
                  <a:lnTo>
                    <a:pt x="0" y="286778"/>
                  </a:lnTo>
                  <a:lnTo>
                    <a:pt x="0" y="10455"/>
                  </a:lnTo>
                  <a:lnTo>
                    <a:pt x="17924" y="0"/>
                  </a:lnTo>
                  <a:close/>
                </a:path>
              </a:pathLst>
            </a:custGeom>
            <a:solidFill>
              <a:srgbClr val="6E645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0" name="任意多边形: 形状 10209"/>
            <p:cNvSpPr/>
            <p:nvPr/>
          </p:nvSpPr>
          <p:spPr>
            <a:xfrm>
              <a:off x="6599949" y="4685590"/>
              <a:ext cx="597454" cy="343536"/>
            </a:xfrm>
            <a:custGeom>
              <a:avLst/>
              <a:gdLst>
                <a:gd name="connsiteX0" fmla="*/ 597454 w 597453"/>
                <a:gd name="connsiteY0" fmla="*/ 144883 h 343535"/>
                <a:gd name="connsiteX1" fmla="*/ 252424 w 597453"/>
                <a:gd name="connsiteY1" fmla="*/ 345030 h 343535"/>
                <a:gd name="connsiteX2" fmla="*/ 0 w 597453"/>
                <a:gd name="connsiteY2" fmla="*/ 200147 h 343535"/>
                <a:gd name="connsiteX3" fmla="*/ 345030 w 597453"/>
                <a:gd name="connsiteY3" fmla="*/ 0 h 34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3" h="343535">
                  <a:moveTo>
                    <a:pt x="597454" y="144883"/>
                  </a:moveTo>
                  <a:lnTo>
                    <a:pt x="252424" y="345030"/>
                  </a:lnTo>
                  <a:lnTo>
                    <a:pt x="0" y="200147"/>
                  </a:lnTo>
                  <a:lnTo>
                    <a:pt x="345030" y="0"/>
                  </a:lnTo>
                  <a:close/>
                </a:path>
              </a:pathLst>
            </a:custGeom>
            <a:solidFill>
              <a:srgbClr val="6B604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1" name="任意多边形: 形状 10210"/>
            <p:cNvSpPr/>
            <p:nvPr/>
          </p:nvSpPr>
          <p:spPr>
            <a:xfrm>
              <a:off x="6599949" y="4885737"/>
              <a:ext cx="238981" cy="164300"/>
            </a:xfrm>
            <a:custGeom>
              <a:avLst/>
              <a:gdLst>
                <a:gd name="connsiteX0" fmla="*/ 252424 w 238981"/>
                <a:gd name="connsiteY0" fmla="*/ 170275 h 164299"/>
                <a:gd name="connsiteX1" fmla="*/ 0 w 238981"/>
                <a:gd name="connsiteY1" fmla="*/ 25392 h 164299"/>
                <a:gd name="connsiteX2" fmla="*/ 0 w 238981"/>
                <a:gd name="connsiteY2" fmla="*/ 0 h 164299"/>
                <a:gd name="connsiteX3" fmla="*/ 252424 w 238981"/>
                <a:gd name="connsiteY3" fmla="*/ 144883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981" h="164299">
                  <a:moveTo>
                    <a:pt x="252424" y="170275"/>
                  </a:moveTo>
                  <a:lnTo>
                    <a:pt x="0" y="25392"/>
                  </a:lnTo>
                  <a:lnTo>
                    <a:pt x="0" y="0"/>
                  </a:lnTo>
                  <a:lnTo>
                    <a:pt x="252424" y="144883"/>
                  </a:lnTo>
                  <a:close/>
                </a:path>
              </a:pathLst>
            </a:custGeom>
            <a:solidFill>
              <a:srgbClr val="9A8E7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2" name="任意多边形: 形状 10211"/>
            <p:cNvSpPr/>
            <p:nvPr/>
          </p:nvSpPr>
          <p:spPr>
            <a:xfrm>
              <a:off x="6852373" y="4830472"/>
              <a:ext cx="343536" cy="224045"/>
            </a:xfrm>
            <a:custGeom>
              <a:avLst/>
              <a:gdLst>
                <a:gd name="connsiteX0" fmla="*/ 345030 w 343535"/>
                <a:gd name="connsiteY0" fmla="*/ 25392 h 224045"/>
                <a:gd name="connsiteX1" fmla="*/ 0 w 343535"/>
                <a:gd name="connsiteY1" fmla="*/ 225539 h 224045"/>
                <a:gd name="connsiteX2" fmla="*/ 0 w 343535"/>
                <a:gd name="connsiteY2" fmla="*/ 200147 h 224045"/>
                <a:gd name="connsiteX3" fmla="*/ 345030 w 343535"/>
                <a:gd name="connsiteY3" fmla="*/ 0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35" h="224045">
                  <a:moveTo>
                    <a:pt x="345030" y="25392"/>
                  </a:moveTo>
                  <a:lnTo>
                    <a:pt x="0" y="225539"/>
                  </a:lnTo>
                  <a:lnTo>
                    <a:pt x="0" y="200147"/>
                  </a:lnTo>
                  <a:lnTo>
                    <a:pt x="345030" y="0"/>
                  </a:lnTo>
                  <a:close/>
                </a:path>
              </a:pathLst>
            </a:custGeom>
            <a:solidFill>
              <a:srgbClr val="7F74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3" name="任意多边形: 形状 10212"/>
            <p:cNvSpPr/>
            <p:nvPr/>
          </p:nvSpPr>
          <p:spPr>
            <a:xfrm>
              <a:off x="6599949" y="4885737"/>
              <a:ext cx="238981" cy="164300"/>
            </a:xfrm>
            <a:custGeom>
              <a:avLst/>
              <a:gdLst>
                <a:gd name="connsiteX0" fmla="*/ 252424 w 238981"/>
                <a:gd name="connsiteY0" fmla="*/ 170275 h 164299"/>
                <a:gd name="connsiteX1" fmla="*/ 0 w 238981"/>
                <a:gd name="connsiteY1" fmla="*/ 25392 h 164299"/>
                <a:gd name="connsiteX2" fmla="*/ 0 w 238981"/>
                <a:gd name="connsiteY2" fmla="*/ 0 h 164299"/>
                <a:gd name="connsiteX3" fmla="*/ 252424 w 238981"/>
                <a:gd name="connsiteY3" fmla="*/ 144883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981" h="164299">
                  <a:moveTo>
                    <a:pt x="252424" y="170275"/>
                  </a:moveTo>
                  <a:lnTo>
                    <a:pt x="0" y="25392"/>
                  </a:lnTo>
                  <a:lnTo>
                    <a:pt x="0" y="0"/>
                  </a:lnTo>
                  <a:lnTo>
                    <a:pt x="252424" y="144883"/>
                  </a:lnTo>
                  <a:close/>
                </a:path>
              </a:pathLst>
            </a:custGeom>
            <a:solidFill>
              <a:srgbClr val="9A8E7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4" name="任意多边形: 形状 10213"/>
            <p:cNvSpPr/>
            <p:nvPr/>
          </p:nvSpPr>
          <p:spPr>
            <a:xfrm>
              <a:off x="6852373" y="5056011"/>
              <a:ext cx="14936" cy="29873"/>
            </a:xfrm>
            <a:custGeom>
              <a:avLst/>
              <a:gdLst>
                <a:gd name="connsiteX0" fmla="*/ 0 w 0"/>
                <a:gd name="connsiteY0" fmla="*/ 0 h 29872"/>
                <a:gd name="connsiteX1" fmla="*/ 0 w 0"/>
                <a:gd name="connsiteY1" fmla="*/ 0 h 29872"/>
                <a:gd name="connsiteX2" fmla="*/ 0 w 0"/>
                <a:gd name="connsiteY2" fmla="*/ 43315 h 29872"/>
                <a:gd name="connsiteX3" fmla="*/ 0 w 0"/>
                <a:gd name="connsiteY3" fmla="*/ 43315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9872">
                  <a:moveTo>
                    <a:pt x="0" y="0"/>
                  </a:moveTo>
                  <a:lnTo>
                    <a:pt x="0" y="0"/>
                  </a:lnTo>
                  <a:lnTo>
                    <a:pt x="0" y="43315"/>
                  </a:lnTo>
                  <a:lnTo>
                    <a:pt x="0" y="43315"/>
                  </a:lnTo>
                  <a:close/>
                </a:path>
              </a:pathLst>
            </a:custGeom>
            <a:solidFill>
              <a:srgbClr val="897E6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5" name="任意多边形: 形状 10214"/>
            <p:cNvSpPr/>
            <p:nvPr/>
          </p:nvSpPr>
          <p:spPr>
            <a:xfrm>
              <a:off x="6634302" y="4930546"/>
              <a:ext cx="194172" cy="149363"/>
            </a:xfrm>
            <a:custGeom>
              <a:avLst/>
              <a:gdLst>
                <a:gd name="connsiteX0" fmla="*/ 0 w 194172"/>
                <a:gd name="connsiteY0" fmla="*/ 0 h 149363"/>
                <a:gd name="connsiteX1" fmla="*/ 0 w 194172"/>
                <a:gd name="connsiteY1" fmla="*/ 43316 h 149363"/>
                <a:gd name="connsiteX2" fmla="*/ 200147 w 194172"/>
                <a:gd name="connsiteY2" fmla="*/ 158325 h 149363"/>
                <a:gd name="connsiteX3" fmla="*/ 200147 w 194172"/>
                <a:gd name="connsiteY3" fmla="*/ 115010 h 14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172" h="149363">
                  <a:moveTo>
                    <a:pt x="0" y="0"/>
                  </a:moveTo>
                  <a:lnTo>
                    <a:pt x="0" y="43316"/>
                  </a:lnTo>
                  <a:lnTo>
                    <a:pt x="200147" y="158325"/>
                  </a:lnTo>
                  <a:lnTo>
                    <a:pt x="200147" y="115010"/>
                  </a:lnTo>
                  <a:close/>
                </a:path>
              </a:pathLst>
            </a:custGeom>
            <a:solidFill>
              <a:srgbClr val="7A705E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6" name="任意多边形: 形状 10215"/>
            <p:cNvSpPr/>
            <p:nvPr/>
          </p:nvSpPr>
          <p:spPr>
            <a:xfrm>
              <a:off x="6870297" y="4875281"/>
              <a:ext cx="283791" cy="209109"/>
            </a:xfrm>
            <a:custGeom>
              <a:avLst/>
              <a:gdLst>
                <a:gd name="connsiteX0" fmla="*/ 292752 w 283790"/>
                <a:gd name="connsiteY0" fmla="*/ 0 h 209108"/>
                <a:gd name="connsiteX1" fmla="*/ 292752 w 283790"/>
                <a:gd name="connsiteY1" fmla="*/ 43315 h 209108"/>
                <a:gd name="connsiteX2" fmla="*/ 0 w 283790"/>
                <a:gd name="connsiteY2" fmla="*/ 213590 h 209108"/>
                <a:gd name="connsiteX3" fmla="*/ 0 w 283790"/>
                <a:gd name="connsiteY3" fmla="*/ 170274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790" h="209108">
                  <a:moveTo>
                    <a:pt x="292752" y="0"/>
                  </a:moveTo>
                  <a:lnTo>
                    <a:pt x="292752" y="43315"/>
                  </a:lnTo>
                  <a:lnTo>
                    <a:pt x="0" y="213590"/>
                  </a:lnTo>
                  <a:lnTo>
                    <a:pt x="0" y="170274"/>
                  </a:lnTo>
                  <a:close/>
                </a:path>
              </a:pathLst>
            </a:custGeom>
            <a:solidFill>
              <a:srgbClr val="6B604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7" name="任意多边形: 形状 10216"/>
            <p:cNvSpPr/>
            <p:nvPr/>
          </p:nvSpPr>
          <p:spPr>
            <a:xfrm>
              <a:off x="6834449" y="5045556"/>
              <a:ext cx="14936" cy="283791"/>
            </a:xfrm>
            <a:custGeom>
              <a:avLst/>
              <a:gdLst>
                <a:gd name="connsiteX0" fmla="*/ 17924 w 14936"/>
                <a:gd name="connsiteY0" fmla="*/ 10456 h 283790"/>
                <a:gd name="connsiteX1" fmla="*/ 0 w 14936"/>
                <a:gd name="connsiteY1" fmla="*/ 0 h 283790"/>
                <a:gd name="connsiteX2" fmla="*/ 0 w 14936"/>
                <a:gd name="connsiteY2" fmla="*/ 0 h 283790"/>
                <a:gd name="connsiteX3" fmla="*/ 0 w 14936"/>
                <a:gd name="connsiteY3" fmla="*/ 43315 h 283790"/>
                <a:gd name="connsiteX4" fmla="*/ 0 w 14936"/>
                <a:gd name="connsiteY4" fmla="*/ 277816 h 283790"/>
                <a:gd name="connsiteX5" fmla="*/ 17924 w 14936"/>
                <a:gd name="connsiteY5" fmla="*/ 288271 h 283790"/>
                <a:gd name="connsiteX6" fmla="*/ 17924 w 14936"/>
                <a:gd name="connsiteY6" fmla="*/ 53771 h 283790"/>
                <a:gd name="connsiteX7" fmla="*/ 17924 w 14936"/>
                <a:gd name="connsiteY7" fmla="*/ 10456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36" h="283790">
                  <a:moveTo>
                    <a:pt x="17924" y="1045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43315"/>
                  </a:lnTo>
                  <a:lnTo>
                    <a:pt x="0" y="277816"/>
                  </a:lnTo>
                  <a:lnTo>
                    <a:pt x="17924" y="288271"/>
                  </a:lnTo>
                  <a:lnTo>
                    <a:pt x="17924" y="53771"/>
                  </a:lnTo>
                  <a:lnTo>
                    <a:pt x="17924" y="10456"/>
                  </a:lnTo>
                  <a:close/>
                </a:path>
              </a:pathLst>
            </a:custGeom>
            <a:solidFill>
              <a:srgbClr val="897E6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8" name="任意多边形: 形状 10217"/>
            <p:cNvSpPr/>
            <p:nvPr/>
          </p:nvSpPr>
          <p:spPr>
            <a:xfrm>
              <a:off x="6852373" y="5045556"/>
              <a:ext cx="14936" cy="283791"/>
            </a:xfrm>
            <a:custGeom>
              <a:avLst/>
              <a:gdLst>
                <a:gd name="connsiteX0" fmla="*/ 17924 w 14936"/>
                <a:gd name="connsiteY0" fmla="*/ 0 h 283790"/>
                <a:gd name="connsiteX1" fmla="*/ 0 w 14936"/>
                <a:gd name="connsiteY1" fmla="*/ 10456 h 283790"/>
                <a:gd name="connsiteX2" fmla="*/ 0 w 14936"/>
                <a:gd name="connsiteY2" fmla="*/ 10456 h 283790"/>
                <a:gd name="connsiteX3" fmla="*/ 0 w 14936"/>
                <a:gd name="connsiteY3" fmla="*/ 53771 h 283790"/>
                <a:gd name="connsiteX4" fmla="*/ 0 w 14936"/>
                <a:gd name="connsiteY4" fmla="*/ 288271 h 283790"/>
                <a:gd name="connsiteX5" fmla="*/ 17924 w 14936"/>
                <a:gd name="connsiteY5" fmla="*/ 277816 h 283790"/>
                <a:gd name="connsiteX6" fmla="*/ 17924 w 14936"/>
                <a:gd name="connsiteY6" fmla="*/ 64226 h 283790"/>
                <a:gd name="connsiteX7" fmla="*/ 17924 w 14936"/>
                <a:gd name="connsiteY7" fmla="*/ 20911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36" h="283790">
                  <a:moveTo>
                    <a:pt x="17924" y="0"/>
                  </a:moveTo>
                  <a:lnTo>
                    <a:pt x="0" y="10456"/>
                  </a:lnTo>
                  <a:lnTo>
                    <a:pt x="0" y="10456"/>
                  </a:lnTo>
                  <a:lnTo>
                    <a:pt x="0" y="53771"/>
                  </a:lnTo>
                  <a:lnTo>
                    <a:pt x="0" y="288271"/>
                  </a:lnTo>
                  <a:lnTo>
                    <a:pt x="17924" y="277816"/>
                  </a:lnTo>
                  <a:lnTo>
                    <a:pt x="17924" y="64226"/>
                  </a:lnTo>
                  <a:lnTo>
                    <a:pt x="17924" y="20911"/>
                  </a:lnTo>
                  <a:close/>
                </a:path>
              </a:pathLst>
            </a:custGeom>
            <a:solidFill>
              <a:srgbClr val="6E645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9" name="任意多边形: 形状 10218"/>
            <p:cNvSpPr/>
            <p:nvPr/>
          </p:nvSpPr>
          <p:spPr>
            <a:xfrm>
              <a:off x="7004724" y="4721497"/>
              <a:ext cx="179236" cy="313663"/>
            </a:xfrm>
            <a:custGeom>
              <a:avLst/>
              <a:gdLst>
                <a:gd name="connsiteX0" fmla="*/ 28379 w 179236"/>
                <a:gd name="connsiteY0" fmla="*/ 310616 h 313663"/>
                <a:gd name="connsiteX1" fmla="*/ 186704 w 179236"/>
                <a:gd name="connsiteY1" fmla="*/ 273275 h 313663"/>
                <a:gd name="connsiteX2" fmla="*/ 173261 w 179236"/>
                <a:gd name="connsiteY2" fmla="*/ 76115 h 313663"/>
                <a:gd name="connsiteX3" fmla="*/ 171768 w 179236"/>
                <a:gd name="connsiteY3" fmla="*/ 56698 h 313663"/>
                <a:gd name="connsiteX4" fmla="*/ 171768 w 179236"/>
                <a:gd name="connsiteY4" fmla="*/ 56698 h 313663"/>
                <a:gd name="connsiteX5" fmla="*/ 67214 w 179236"/>
                <a:gd name="connsiteY5" fmla="*/ 11889 h 313663"/>
                <a:gd name="connsiteX6" fmla="*/ 0 w 179236"/>
                <a:gd name="connsiteY6" fmla="*/ 80596 h 313663"/>
                <a:gd name="connsiteX7" fmla="*/ 28379 w 179236"/>
                <a:gd name="connsiteY7" fmla="*/ 310616 h 313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313663">
                  <a:moveTo>
                    <a:pt x="28379" y="310616"/>
                  </a:moveTo>
                  <a:cubicBezTo>
                    <a:pt x="56758" y="350944"/>
                    <a:pt x="188198" y="306135"/>
                    <a:pt x="186704" y="273275"/>
                  </a:cubicBezTo>
                  <a:lnTo>
                    <a:pt x="173261" y="76115"/>
                  </a:lnTo>
                  <a:cubicBezTo>
                    <a:pt x="173261" y="68647"/>
                    <a:pt x="171768" y="62672"/>
                    <a:pt x="171768" y="56698"/>
                  </a:cubicBezTo>
                  <a:cubicBezTo>
                    <a:pt x="171768" y="56698"/>
                    <a:pt x="171768" y="56698"/>
                    <a:pt x="171768" y="56698"/>
                  </a:cubicBezTo>
                  <a:cubicBezTo>
                    <a:pt x="161312" y="8901"/>
                    <a:pt x="113516" y="-16490"/>
                    <a:pt x="67214" y="11889"/>
                  </a:cubicBezTo>
                  <a:cubicBezTo>
                    <a:pt x="40328" y="28319"/>
                    <a:pt x="11949" y="50723"/>
                    <a:pt x="0" y="80596"/>
                  </a:cubicBezTo>
                  <a:cubicBezTo>
                    <a:pt x="0" y="79102"/>
                    <a:pt x="26885" y="303148"/>
                    <a:pt x="28379" y="310616"/>
                  </a:cubicBezTo>
                  <a:close/>
                </a:path>
              </a:pathLst>
            </a:custGeom>
            <a:solidFill>
              <a:srgbClr val="254C6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0" name="任意多边形: 形状 10219"/>
            <p:cNvSpPr/>
            <p:nvPr/>
          </p:nvSpPr>
          <p:spPr>
            <a:xfrm>
              <a:off x="6998749" y="4601812"/>
              <a:ext cx="74682" cy="134427"/>
            </a:xfrm>
            <a:custGeom>
              <a:avLst/>
              <a:gdLst>
                <a:gd name="connsiteX0" fmla="*/ 86631 w 74681"/>
                <a:gd name="connsiteY0" fmla="*/ 59880 h 134427"/>
                <a:gd name="connsiteX1" fmla="*/ 88125 w 74681"/>
                <a:gd name="connsiteY1" fmla="*/ 89753 h 134427"/>
                <a:gd name="connsiteX2" fmla="*/ 79163 w 74681"/>
                <a:gd name="connsiteY2" fmla="*/ 118132 h 134427"/>
                <a:gd name="connsiteX3" fmla="*/ 52277 w 74681"/>
                <a:gd name="connsiteY3" fmla="*/ 136055 h 134427"/>
                <a:gd name="connsiteX4" fmla="*/ 41822 w 74681"/>
                <a:gd name="connsiteY4" fmla="*/ 137549 h 134427"/>
                <a:gd name="connsiteX5" fmla="*/ 31366 w 74681"/>
                <a:gd name="connsiteY5" fmla="*/ 134562 h 134427"/>
                <a:gd name="connsiteX6" fmla="*/ 20911 w 74681"/>
                <a:gd name="connsiteY6" fmla="*/ 122613 h 134427"/>
                <a:gd name="connsiteX7" fmla="*/ 20911 w 74681"/>
                <a:gd name="connsiteY7" fmla="*/ 122613 h 134427"/>
                <a:gd name="connsiteX8" fmla="*/ 19417 w 74681"/>
                <a:gd name="connsiteY8" fmla="*/ 119625 h 134427"/>
                <a:gd name="connsiteX9" fmla="*/ 0 w 74681"/>
                <a:gd name="connsiteY9" fmla="*/ 38969 h 134427"/>
                <a:gd name="connsiteX10" fmla="*/ 0 w 74681"/>
                <a:gd name="connsiteY10" fmla="*/ 27020 h 134427"/>
                <a:gd name="connsiteX11" fmla="*/ 23898 w 74681"/>
                <a:gd name="connsiteY11" fmla="*/ 1628 h 134427"/>
                <a:gd name="connsiteX12" fmla="*/ 59745 w 74681"/>
                <a:gd name="connsiteY12" fmla="*/ 3122 h 134427"/>
                <a:gd name="connsiteX13" fmla="*/ 68707 w 74681"/>
                <a:gd name="connsiteY13" fmla="*/ 7603 h 134427"/>
                <a:gd name="connsiteX14" fmla="*/ 76175 w 74681"/>
                <a:gd name="connsiteY14" fmla="*/ 13578 h 134427"/>
                <a:gd name="connsiteX15" fmla="*/ 86631 w 74681"/>
                <a:gd name="connsiteY15" fmla="*/ 59880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4681" h="134427">
                  <a:moveTo>
                    <a:pt x="86631" y="59880"/>
                  </a:moveTo>
                  <a:cubicBezTo>
                    <a:pt x="88125" y="70335"/>
                    <a:pt x="88125" y="79297"/>
                    <a:pt x="88125" y="89753"/>
                  </a:cubicBezTo>
                  <a:cubicBezTo>
                    <a:pt x="88125" y="100208"/>
                    <a:pt x="85137" y="109170"/>
                    <a:pt x="79163" y="118132"/>
                  </a:cubicBezTo>
                  <a:cubicBezTo>
                    <a:pt x="73188" y="127093"/>
                    <a:pt x="62733" y="133068"/>
                    <a:pt x="52277" y="136055"/>
                  </a:cubicBezTo>
                  <a:cubicBezTo>
                    <a:pt x="49290" y="137549"/>
                    <a:pt x="44809" y="137549"/>
                    <a:pt x="41822" y="137549"/>
                  </a:cubicBezTo>
                  <a:cubicBezTo>
                    <a:pt x="38835" y="137549"/>
                    <a:pt x="34354" y="137549"/>
                    <a:pt x="31366" y="134562"/>
                  </a:cubicBezTo>
                  <a:cubicBezTo>
                    <a:pt x="26885" y="131575"/>
                    <a:pt x="23898" y="127093"/>
                    <a:pt x="20911" y="122613"/>
                  </a:cubicBezTo>
                  <a:cubicBezTo>
                    <a:pt x="20911" y="122613"/>
                    <a:pt x="20911" y="122613"/>
                    <a:pt x="20911" y="122613"/>
                  </a:cubicBezTo>
                  <a:cubicBezTo>
                    <a:pt x="20911" y="121119"/>
                    <a:pt x="19417" y="121119"/>
                    <a:pt x="19417" y="119625"/>
                  </a:cubicBezTo>
                  <a:cubicBezTo>
                    <a:pt x="7468" y="94234"/>
                    <a:pt x="1494" y="67348"/>
                    <a:pt x="0" y="38969"/>
                  </a:cubicBezTo>
                  <a:cubicBezTo>
                    <a:pt x="0" y="34488"/>
                    <a:pt x="0" y="30007"/>
                    <a:pt x="0" y="27020"/>
                  </a:cubicBezTo>
                  <a:cubicBezTo>
                    <a:pt x="1494" y="15071"/>
                    <a:pt x="11949" y="6109"/>
                    <a:pt x="23898" y="1628"/>
                  </a:cubicBezTo>
                  <a:cubicBezTo>
                    <a:pt x="35847" y="-1359"/>
                    <a:pt x="47796" y="134"/>
                    <a:pt x="59745" y="3122"/>
                  </a:cubicBezTo>
                  <a:cubicBezTo>
                    <a:pt x="62733" y="4616"/>
                    <a:pt x="65720" y="4616"/>
                    <a:pt x="68707" y="7603"/>
                  </a:cubicBezTo>
                  <a:cubicBezTo>
                    <a:pt x="71694" y="9096"/>
                    <a:pt x="73188" y="12084"/>
                    <a:pt x="76175" y="13578"/>
                  </a:cubicBezTo>
                  <a:cubicBezTo>
                    <a:pt x="79163" y="15071"/>
                    <a:pt x="83644" y="44944"/>
                    <a:pt x="86631" y="5988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1" name="任意多边形: 形状 10220"/>
            <p:cNvSpPr/>
            <p:nvPr/>
          </p:nvSpPr>
          <p:spPr>
            <a:xfrm>
              <a:off x="7019660" y="4690071"/>
              <a:ext cx="29873" cy="44809"/>
            </a:xfrm>
            <a:custGeom>
              <a:avLst/>
              <a:gdLst>
                <a:gd name="connsiteX0" fmla="*/ 29873 w 29872"/>
                <a:gd name="connsiteY0" fmla="*/ 22405 h 44809"/>
                <a:gd name="connsiteX1" fmla="*/ 32860 w 29872"/>
                <a:gd name="connsiteY1" fmla="*/ 40328 h 44809"/>
                <a:gd name="connsiteX2" fmla="*/ 32860 w 29872"/>
                <a:gd name="connsiteY2" fmla="*/ 44809 h 44809"/>
                <a:gd name="connsiteX3" fmla="*/ 31366 w 29872"/>
                <a:gd name="connsiteY3" fmla="*/ 46302 h 44809"/>
                <a:gd name="connsiteX4" fmla="*/ 20911 w 29872"/>
                <a:gd name="connsiteY4" fmla="*/ 47796 h 44809"/>
                <a:gd name="connsiteX5" fmla="*/ 10455 w 29872"/>
                <a:gd name="connsiteY5" fmla="*/ 44809 h 44809"/>
                <a:gd name="connsiteX6" fmla="*/ 0 w 29872"/>
                <a:gd name="connsiteY6" fmla="*/ 32860 h 44809"/>
                <a:gd name="connsiteX7" fmla="*/ 0 w 29872"/>
                <a:gd name="connsiteY7" fmla="*/ 32860 h 44809"/>
                <a:gd name="connsiteX8" fmla="*/ 16430 w 29872"/>
                <a:gd name="connsiteY8" fmla="*/ 0 h 44809"/>
                <a:gd name="connsiteX9" fmla="*/ 29873 w 29872"/>
                <a:gd name="connsiteY9" fmla="*/ 22405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872" h="44809">
                  <a:moveTo>
                    <a:pt x="29873" y="22405"/>
                  </a:moveTo>
                  <a:cubicBezTo>
                    <a:pt x="31366" y="28379"/>
                    <a:pt x="31366" y="34353"/>
                    <a:pt x="32860" y="40328"/>
                  </a:cubicBezTo>
                  <a:cubicBezTo>
                    <a:pt x="32860" y="41822"/>
                    <a:pt x="32860" y="43315"/>
                    <a:pt x="32860" y="44809"/>
                  </a:cubicBezTo>
                  <a:cubicBezTo>
                    <a:pt x="32860" y="44809"/>
                    <a:pt x="32860" y="46302"/>
                    <a:pt x="31366" y="46302"/>
                  </a:cubicBezTo>
                  <a:cubicBezTo>
                    <a:pt x="28379" y="47796"/>
                    <a:pt x="23898" y="47796"/>
                    <a:pt x="20911" y="47796"/>
                  </a:cubicBezTo>
                  <a:cubicBezTo>
                    <a:pt x="17924" y="47796"/>
                    <a:pt x="13443" y="47796"/>
                    <a:pt x="10455" y="44809"/>
                  </a:cubicBezTo>
                  <a:cubicBezTo>
                    <a:pt x="5974" y="41822"/>
                    <a:pt x="2987" y="37341"/>
                    <a:pt x="0" y="32860"/>
                  </a:cubicBezTo>
                  <a:cubicBezTo>
                    <a:pt x="0" y="32860"/>
                    <a:pt x="0" y="32860"/>
                    <a:pt x="0" y="32860"/>
                  </a:cubicBezTo>
                  <a:cubicBezTo>
                    <a:pt x="13443" y="41822"/>
                    <a:pt x="17924" y="31366"/>
                    <a:pt x="16430" y="0"/>
                  </a:cubicBezTo>
                  <a:cubicBezTo>
                    <a:pt x="20911" y="14936"/>
                    <a:pt x="26885" y="8961"/>
                    <a:pt x="29873" y="22405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2" name="任意多边形: 形状 10221"/>
            <p:cNvSpPr/>
            <p:nvPr/>
          </p:nvSpPr>
          <p:spPr>
            <a:xfrm>
              <a:off x="7032705" y="4653887"/>
              <a:ext cx="74682" cy="89618"/>
            </a:xfrm>
            <a:custGeom>
              <a:avLst/>
              <a:gdLst>
                <a:gd name="connsiteX0" fmla="*/ 0 w 74681"/>
                <a:gd name="connsiteY0" fmla="*/ 10801 h 89618"/>
                <a:gd name="connsiteX1" fmla="*/ 67855 w 74681"/>
                <a:gd name="connsiteY1" fmla="*/ 0 h 89618"/>
                <a:gd name="connsiteX2" fmla="*/ 81708 w 74681"/>
                <a:gd name="connsiteY2" fmla="*/ 87032 h 89618"/>
                <a:gd name="connsiteX3" fmla="*/ 13853 w 74681"/>
                <a:gd name="connsiteY3" fmla="*/ 97832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89618">
                  <a:moveTo>
                    <a:pt x="0" y="10801"/>
                  </a:moveTo>
                  <a:lnTo>
                    <a:pt x="67855" y="0"/>
                  </a:lnTo>
                  <a:lnTo>
                    <a:pt x="81708" y="87032"/>
                  </a:lnTo>
                  <a:lnTo>
                    <a:pt x="13853" y="97832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3" name="任意多边形: 形状 10222"/>
            <p:cNvSpPr/>
            <p:nvPr/>
          </p:nvSpPr>
          <p:spPr>
            <a:xfrm>
              <a:off x="7046048" y="4723859"/>
              <a:ext cx="59745" cy="29873"/>
            </a:xfrm>
            <a:custGeom>
              <a:avLst/>
              <a:gdLst>
                <a:gd name="connsiteX0" fmla="*/ 55762 w 59745"/>
                <a:gd name="connsiteY0" fmla="*/ 2059 h 29872"/>
                <a:gd name="connsiteX1" fmla="*/ 60243 w 59745"/>
                <a:gd name="connsiteY1" fmla="*/ 30438 h 29872"/>
                <a:gd name="connsiteX2" fmla="*/ 12447 w 59745"/>
                <a:gd name="connsiteY2" fmla="*/ 37906 h 29872"/>
                <a:gd name="connsiteX3" fmla="*/ 7966 w 59745"/>
                <a:gd name="connsiteY3" fmla="*/ 9527 h 29872"/>
                <a:gd name="connsiteX4" fmla="*/ 55762 w 59745"/>
                <a:gd name="connsiteY4" fmla="*/ 2059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45" h="29872">
                  <a:moveTo>
                    <a:pt x="55762" y="2059"/>
                  </a:moveTo>
                  <a:cubicBezTo>
                    <a:pt x="70699" y="8033"/>
                    <a:pt x="72192" y="19982"/>
                    <a:pt x="60243" y="30438"/>
                  </a:cubicBezTo>
                  <a:cubicBezTo>
                    <a:pt x="48294" y="40893"/>
                    <a:pt x="27383" y="43880"/>
                    <a:pt x="12447" y="37906"/>
                  </a:cubicBezTo>
                  <a:cubicBezTo>
                    <a:pt x="-2489" y="31931"/>
                    <a:pt x="-3983" y="19982"/>
                    <a:pt x="7966" y="9527"/>
                  </a:cubicBezTo>
                  <a:cubicBezTo>
                    <a:pt x="19915" y="565"/>
                    <a:pt x="40826" y="-2422"/>
                    <a:pt x="55762" y="205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4" name="任意多边形: 形状 10223"/>
            <p:cNvSpPr/>
            <p:nvPr/>
          </p:nvSpPr>
          <p:spPr>
            <a:xfrm>
              <a:off x="6991925" y="4585500"/>
              <a:ext cx="119491" cy="149363"/>
            </a:xfrm>
            <a:custGeom>
              <a:avLst/>
              <a:gdLst>
                <a:gd name="connsiteX0" fmla="*/ 21761 w 119490"/>
                <a:gd name="connsiteY0" fmla="*/ 61255 h 149363"/>
                <a:gd name="connsiteX1" fmla="*/ 41178 w 119490"/>
                <a:gd name="connsiteY1" fmla="*/ 86647 h 149363"/>
                <a:gd name="connsiteX2" fmla="*/ 47152 w 119490"/>
                <a:gd name="connsiteY2" fmla="*/ 121001 h 149363"/>
                <a:gd name="connsiteX3" fmla="*/ 66570 w 119490"/>
                <a:gd name="connsiteY3" fmla="*/ 147887 h 149363"/>
                <a:gd name="connsiteX4" fmla="*/ 90468 w 119490"/>
                <a:gd name="connsiteY4" fmla="*/ 147887 h 149363"/>
                <a:gd name="connsiteX5" fmla="*/ 117353 w 119490"/>
                <a:gd name="connsiteY5" fmla="*/ 132950 h 149363"/>
                <a:gd name="connsiteX6" fmla="*/ 57608 w 119490"/>
                <a:gd name="connsiteY6" fmla="*/ 17 h 149363"/>
                <a:gd name="connsiteX7" fmla="*/ 5331 w 119490"/>
                <a:gd name="connsiteY7" fmla="*/ 53787 h 149363"/>
                <a:gd name="connsiteX8" fmla="*/ 21761 w 119490"/>
                <a:gd name="connsiteY8" fmla="*/ 61255 h 14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9490" h="149363">
                  <a:moveTo>
                    <a:pt x="21761" y="61255"/>
                  </a:moveTo>
                  <a:cubicBezTo>
                    <a:pt x="32216" y="65737"/>
                    <a:pt x="38191" y="76192"/>
                    <a:pt x="41178" y="86647"/>
                  </a:cubicBezTo>
                  <a:cubicBezTo>
                    <a:pt x="44165" y="98596"/>
                    <a:pt x="44165" y="109052"/>
                    <a:pt x="47152" y="121001"/>
                  </a:cubicBezTo>
                  <a:cubicBezTo>
                    <a:pt x="50140" y="132950"/>
                    <a:pt x="56114" y="143405"/>
                    <a:pt x="66570" y="147887"/>
                  </a:cubicBezTo>
                  <a:cubicBezTo>
                    <a:pt x="74038" y="150873"/>
                    <a:pt x="83000" y="149380"/>
                    <a:pt x="90468" y="147887"/>
                  </a:cubicBezTo>
                  <a:cubicBezTo>
                    <a:pt x="100923" y="146393"/>
                    <a:pt x="114366" y="143405"/>
                    <a:pt x="117353" y="132950"/>
                  </a:cubicBezTo>
                  <a:cubicBezTo>
                    <a:pt x="150213" y="-4464"/>
                    <a:pt x="66570" y="17"/>
                    <a:pt x="57608" y="17"/>
                  </a:cubicBezTo>
                  <a:cubicBezTo>
                    <a:pt x="23254" y="3004"/>
                    <a:pt x="-14087" y="29889"/>
                    <a:pt x="5331" y="53787"/>
                  </a:cubicBezTo>
                  <a:cubicBezTo>
                    <a:pt x="9811" y="58268"/>
                    <a:pt x="17280" y="59762"/>
                    <a:pt x="21761" y="61255"/>
                  </a:cubicBezTo>
                  <a:close/>
                </a:path>
              </a:pathLst>
            </a:custGeom>
            <a:solidFill>
              <a:srgbClr val="F392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5" name="任意多边形: 形状 10224"/>
            <p:cNvSpPr/>
            <p:nvPr/>
          </p:nvSpPr>
          <p:spPr>
            <a:xfrm>
              <a:off x="7028622" y="4664093"/>
              <a:ext cx="14936" cy="29873"/>
            </a:xfrm>
            <a:custGeom>
              <a:avLst/>
              <a:gdLst>
                <a:gd name="connsiteX0" fmla="*/ 5975 w 14936"/>
                <a:gd name="connsiteY0" fmla="*/ 586 h 29872"/>
                <a:gd name="connsiteX1" fmla="*/ 0 w 14936"/>
                <a:gd name="connsiteY1" fmla="*/ 8054 h 29872"/>
                <a:gd name="connsiteX2" fmla="*/ 1494 w 14936"/>
                <a:gd name="connsiteY2" fmla="*/ 21497 h 29872"/>
                <a:gd name="connsiteX3" fmla="*/ 7468 w 14936"/>
                <a:gd name="connsiteY3" fmla="*/ 36433 h 29872"/>
                <a:gd name="connsiteX4" fmla="*/ 10455 w 14936"/>
                <a:gd name="connsiteY4" fmla="*/ 39421 h 29872"/>
                <a:gd name="connsiteX5" fmla="*/ 16430 w 14936"/>
                <a:gd name="connsiteY5" fmla="*/ 36433 h 29872"/>
                <a:gd name="connsiteX6" fmla="*/ 17924 w 14936"/>
                <a:gd name="connsiteY6" fmla="*/ 30459 h 29872"/>
                <a:gd name="connsiteX7" fmla="*/ 16430 w 14936"/>
                <a:gd name="connsiteY7" fmla="*/ 11042 h 29872"/>
                <a:gd name="connsiteX8" fmla="*/ 13443 w 14936"/>
                <a:gd name="connsiteY8" fmla="*/ 3573 h 29872"/>
                <a:gd name="connsiteX9" fmla="*/ 5975 w 14936"/>
                <a:gd name="connsiteY9" fmla="*/ 586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5975" y="586"/>
                  </a:moveTo>
                  <a:cubicBezTo>
                    <a:pt x="2987" y="586"/>
                    <a:pt x="0" y="5067"/>
                    <a:pt x="0" y="8054"/>
                  </a:cubicBezTo>
                  <a:cubicBezTo>
                    <a:pt x="0" y="12535"/>
                    <a:pt x="0" y="17016"/>
                    <a:pt x="1494" y="21497"/>
                  </a:cubicBezTo>
                  <a:cubicBezTo>
                    <a:pt x="2987" y="27471"/>
                    <a:pt x="2987" y="31952"/>
                    <a:pt x="7468" y="36433"/>
                  </a:cubicBezTo>
                  <a:cubicBezTo>
                    <a:pt x="8962" y="37927"/>
                    <a:pt x="8962" y="39421"/>
                    <a:pt x="10455" y="39421"/>
                  </a:cubicBezTo>
                  <a:cubicBezTo>
                    <a:pt x="13443" y="39421"/>
                    <a:pt x="14936" y="37927"/>
                    <a:pt x="16430" y="36433"/>
                  </a:cubicBezTo>
                  <a:cubicBezTo>
                    <a:pt x="17924" y="34939"/>
                    <a:pt x="17924" y="31952"/>
                    <a:pt x="17924" y="30459"/>
                  </a:cubicBezTo>
                  <a:cubicBezTo>
                    <a:pt x="17924" y="24484"/>
                    <a:pt x="17924" y="17016"/>
                    <a:pt x="16430" y="11042"/>
                  </a:cubicBezTo>
                  <a:cubicBezTo>
                    <a:pt x="16430" y="8054"/>
                    <a:pt x="14936" y="6560"/>
                    <a:pt x="13443" y="3573"/>
                  </a:cubicBezTo>
                  <a:cubicBezTo>
                    <a:pt x="11949" y="586"/>
                    <a:pt x="8962" y="-908"/>
                    <a:pt x="5975" y="586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6" name="任意多边形: 形状 10225"/>
            <p:cNvSpPr/>
            <p:nvPr/>
          </p:nvSpPr>
          <p:spPr>
            <a:xfrm>
              <a:off x="7234355" y="4821224"/>
              <a:ext cx="59745" cy="283791"/>
            </a:xfrm>
            <a:custGeom>
              <a:avLst/>
              <a:gdLst>
                <a:gd name="connsiteX0" fmla="*/ 34742 w 59745"/>
                <a:gd name="connsiteY0" fmla="*/ 284077 h 283790"/>
                <a:gd name="connsiteX1" fmla="*/ 67602 w 59745"/>
                <a:gd name="connsiteY1" fmla="*/ 22691 h 283790"/>
                <a:gd name="connsiteX2" fmla="*/ 60134 w 59745"/>
                <a:gd name="connsiteY2" fmla="*/ 6261 h 283790"/>
                <a:gd name="connsiteX3" fmla="*/ 43704 w 59745"/>
                <a:gd name="connsiteY3" fmla="*/ 286 h 283790"/>
                <a:gd name="connsiteX4" fmla="*/ 33248 w 59745"/>
                <a:gd name="connsiteY4" fmla="*/ 10742 h 283790"/>
                <a:gd name="connsiteX5" fmla="*/ 389 w 59745"/>
                <a:gd name="connsiteY5" fmla="*/ 267647 h 283790"/>
                <a:gd name="connsiteX6" fmla="*/ 6363 w 59745"/>
                <a:gd name="connsiteY6" fmla="*/ 282583 h 283790"/>
                <a:gd name="connsiteX7" fmla="*/ 22793 w 59745"/>
                <a:gd name="connsiteY7" fmla="*/ 293039 h 283790"/>
                <a:gd name="connsiteX8" fmla="*/ 34742 w 59745"/>
                <a:gd name="connsiteY8" fmla="*/ 284077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83790">
                  <a:moveTo>
                    <a:pt x="34742" y="284077"/>
                  </a:moveTo>
                  <a:lnTo>
                    <a:pt x="67602" y="22691"/>
                  </a:lnTo>
                  <a:cubicBezTo>
                    <a:pt x="69096" y="15223"/>
                    <a:pt x="66108" y="9248"/>
                    <a:pt x="60134" y="6261"/>
                  </a:cubicBezTo>
                  <a:lnTo>
                    <a:pt x="43704" y="286"/>
                  </a:lnTo>
                  <a:cubicBezTo>
                    <a:pt x="39223" y="-1208"/>
                    <a:pt x="33248" y="3274"/>
                    <a:pt x="33248" y="10742"/>
                  </a:cubicBezTo>
                  <a:lnTo>
                    <a:pt x="389" y="267647"/>
                  </a:lnTo>
                  <a:cubicBezTo>
                    <a:pt x="-1105" y="273621"/>
                    <a:pt x="1882" y="279596"/>
                    <a:pt x="6363" y="282583"/>
                  </a:cubicBezTo>
                  <a:lnTo>
                    <a:pt x="22793" y="293039"/>
                  </a:lnTo>
                  <a:cubicBezTo>
                    <a:pt x="27274" y="297519"/>
                    <a:pt x="33248" y="293039"/>
                    <a:pt x="34742" y="284077"/>
                  </a:cubicBezTo>
                  <a:close/>
                </a:path>
              </a:pathLst>
            </a:custGeom>
            <a:solidFill>
              <a:srgbClr val="00597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7" name="任意多边形: 形状 10226"/>
            <p:cNvSpPr/>
            <p:nvPr/>
          </p:nvSpPr>
          <p:spPr>
            <a:xfrm>
              <a:off x="7110772" y="4823004"/>
              <a:ext cx="149363" cy="373409"/>
            </a:xfrm>
            <a:custGeom>
              <a:avLst/>
              <a:gdLst>
                <a:gd name="connsiteX0" fmla="*/ 10455 w 149363"/>
                <a:gd name="connsiteY0" fmla="*/ 88124 h 373408"/>
                <a:gd name="connsiteX1" fmla="*/ 161313 w 149363"/>
                <a:gd name="connsiteY1" fmla="*/ 0 h 373408"/>
                <a:gd name="connsiteX2" fmla="*/ 152351 w 149363"/>
                <a:gd name="connsiteY2" fmla="*/ 292752 h 373408"/>
                <a:gd name="connsiteX3" fmla="*/ 0 w 149363"/>
                <a:gd name="connsiteY3" fmla="*/ 380877 h 37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3" h="373408">
                  <a:moveTo>
                    <a:pt x="10455" y="88124"/>
                  </a:moveTo>
                  <a:lnTo>
                    <a:pt x="161313" y="0"/>
                  </a:lnTo>
                  <a:lnTo>
                    <a:pt x="152351" y="292752"/>
                  </a:lnTo>
                  <a:lnTo>
                    <a:pt x="0" y="380877"/>
                  </a:lnTo>
                  <a:close/>
                </a:path>
              </a:pathLst>
            </a:custGeom>
            <a:solidFill>
              <a:srgbClr val="00597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8" name="任意多边形: 形状 10227"/>
            <p:cNvSpPr/>
            <p:nvPr/>
          </p:nvSpPr>
          <p:spPr>
            <a:xfrm>
              <a:off x="7080511" y="4910842"/>
              <a:ext cx="59745" cy="283791"/>
            </a:xfrm>
            <a:custGeom>
              <a:avLst/>
              <a:gdLst>
                <a:gd name="connsiteX0" fmla="*/ 34742 w 59745"/>
                <a:gd name="connsiteY0" fmla="*/ 284077 h 283790"/>
                <a:gd name="connsiteX1" fmla="*/ 67602 w 59745"/>
                <a:gd name="connsiteY1" fmla="*/ 22691 h 283790"/>
                <a:gd name="connsiteX2" fmla="*/ 60134 w 59745"/>
                <a:gd name="connsiteY2" fmla="*/ 6261 h 283790"/>
                <a:gd name="connsiteX3" fmla="*/ 43704 w 59745"/>
                <a:gd name="connsiteY3" fmla="*/ 286 h 283790"/>
                <a:gd name="connsiteX4" fmla="*/ 33248 w 59745"/>
                <a:gd name="connsiteY4" fmla="*/ 10742 h 283790"/>
                <a:gd name="connsiteX5" fmla="*/ 388 w 59745"/>
                <a:gd name="connsiteY5" fmla="*/ 267647 h 283790"/>
                <a:gd name="connsiteX6" fmla="*/ 6363 w 59745"/>
                <a:gd name="connsiteY6" fmla="*/ 282583 h 283790"/>
                <a:gd name="connsiteX7" fmla="*/ 22793 w 59745"/>
                <a:gd name="connsiteY7" fmla="*/ 293039 h 283790"/>
                <a:gd name="connsiteX8" fmla="*/ 34742 w 59745"/>
                <a:gd name="connsiteY8" fmla="*/ 284077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83790">
                  <a:moveTo>
                    <a:pt x="34742" y="284077"/>
                  </a:moveTo>
                  <a:lnTo>
                    <a:pt x="67602" y="22691"/>
                  </a:lnTo>
                  <a:cubicBezTo>
                    <a:pt x="69096" y="15223"/>
                    <a:pt x="66109" y="9248"/>
                    <a:pt x="60134" y="6261"/>
                  </a:cubicBezTo>
                  <a:lnTo>
                    <a:pt x="43704" y="286"/>
                  </a:lnTo>
                  <a:cubicBezTo>
                    <a:pt x="39223" y="-1208"/>
                    <a:pt x="33248" y="3274"/>
                    <a:pt x="33248" y="10742"/>
                  </a:cubicBezTo>
                  <a:lnTo>
                    <a:pt x="388" y="267647"/>
                  </a:lnTo>
                  <a:cubicBezTo>
                    <a:pt x="-1105" y="273621"/>
                    <a:pt x="1882" y="279596"/>
                    <a:pt x="6363" y="282583"/>
                  </a:cubicBezTo>
                  <a:lnTo>
                    <a:pt x="22793" y="293039"/>
                  </a:lnTo>
                  <a:cubicBezTo>
                    <a:pt x="28768" y="296026"/>
                    <a:pt x="34742" y="291545"/>
                    <a:pt x="34742" y="284077"/>
                  </a:cubicBez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9" name="任意多边形: 形状 10228"/>
            <p:cNvSpPr/>
            <p:nvPr/>
          </p:nvSpPr>
          <p:spPr>
            <a:xfrm>
              <a:off x="6798602" y="4831966"/>
              <a:ext cx="194172" cy="74682"/>
            </a:xfrm>
            <a:custGeom>
              <a:avLst/>
              <a:gdLst>
                <a:gd name="connsiteX0" fmla="*/ 206122 w 194172"/>
                <a:gd name="connsiteY0" fmla="*/ 2987 h 74681"/>
                <a:gd name="connsiteX1" fmla="*/ 86631 w 194172"/>
                <a:gd name="connsiteY1" fmla="*/ 71694 h 74681"/>
                <a:gd name="connsiteX2" fmla="*/ 77669 w 194172"/>
                <a:gd name="connsiteY2" fmla="*/ 71694 h 74681"/>
                <a:gd name="connsiteX3" fmla="*/ 1493 w 194172"/>
                <a:gd name="connsiteY3" fmla="*/ 28379 h 74681"/>
                <a:gd name="connsiteX4" fmla="*/ 0 w 194172"/>
                <a:gd name="connsiteY4" fmla="*/ 25392 h 74681"/>
                <a:gd name="connsiteX5" fmla="*/ 0 w 194172"/>
                <a:gd name="connsiteY5" fmla="*/ 25392 h 74681"/>
                <a:gd name="connsiteX6" fmla="*/ 0 w 194172"/>
                <a:gd name="connsiteY6" fmla="*/ 32860 h 74681"/>
                <a:gd name="connsiteX7" fmla="*/ 1493 w 194172"/>
                <a:gd name="connsiteY7" fmla="*/ 35847 h 74681"/>
                <a:gd name="connsiteX8" fmla="*/ 16430 w 194172"/>
                <a:gd name="connsiteY8" fmla="*/ 44809 h 74681"/>
                <a:gd name="connsiteX9" fmla="*/ 17924 w 194172"/>
                <a:gd name="connsiteY9" fmla="*/ 46302 h 74681"/>
                <a:gd name="connsiteX10" fmla="*/ 17924 w 194172"/>
                <a:gd name="connsiteY10" fmla="*/ 46302 h 74681"/>
                <a:gd name="connsiteX11" fmla="*/ 76175 w 194172"/>
                <a:gd name="connsiteY11" fmla="*/ 79162 h 74681"/>
                <a:gd name="connsiteX12" fmla="*/ 80656 w 194172"/>
                <a:gd name="connsiteY12" fmla="*/ 80656 h 74681"/>
                <a:gd name="connsiteX13" fmla="*/ 85137 w 194172"/>
                <a:gd name="connsiteY13" fmla="*/ 79162 h 74681"/>
                <a:gd name="connsiteX14" fmla="*/ 204628 w 194172"/>
                <a:gd name="connsiteY14" fmla="*/ 10455 h 74681"/>
                <a:gd name="connsiteX15" fmla="*/ 206122 w 194172"/>
                <a:gd name="connsiteY15" fmla="*/ 7468 h 74681"/>
                <a:gd name="connsiteX16" fmla="*/ 206122 w 194172"/>
                <a:gd name="connsiteY16" fmla="*/ 7468 h 74681"/>
                <a:gd name="connsiteX17" fmla="*/ 206122 w 194172"/>
                <a:gd name="connsiteY17" fmla="*/ 0 h 74681"/>
                <a:gd name="connsiteX18" fmla="*/ 206122 w 194172"/>
                <a:gd name="connsiteY18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4172" h="74681">
                  <a:moveTo>
                    <a:pt x="206122" y="2987"/>
                  </a:moveTo>
                  <a:lnTo>
                    <a:pt x="86631" y="71694"/>
                  </a:lnTo>
                  <a:cubicBezTo>
                    <a:pt x="83643" y="73188"/>
                    <a:pt x="79163" y="73188"/>
                    <a:pt x="77669" y="71694"/>
                  </a:cubicBezTo>
                  <a:lnTo>
                    <a:pt x="1493" y="28379"/>
                  </a:lnTo>
                  <a:cubicBezTo>
                    <a:pt x="0" y="28379"/>
                    <a:pt x="0" y="26885"/>
                    <a:pt x="0" y="25392"/>
                  </a:cubicBezTo>
                  <a:lnTo>
                    <a:pt x="0" y="25392"/>
                  </a:lnTo>
                  <a:lnTo>
                    <a:pt x="0" y="32860"/>
                  </a:lnTo>
                  <a:cubicBezTo>
                    <a:pt x="0" y="34353"/>
                    <a:pt x="0" y="34353"/>
                    <a:pt x="1493" y="35847"/>
                  </a:cubicBezTo>
                  <a:lnTo>
                    <a:pt x="16430" y="44809"/>
                  </a:lnTo>
                  <a:lnTo>
                    <a:pt x="17924" y="46302"/>
                  </a:lnTo>
                  <a:lnTo>
                    <a:pt x="17924" y="46302"/>
                  </a:lnTo>
                  <a:lnTo>
                    <a:pt x="76175" y="79162"/>
                  </a:lnTo>
                  <a:cubicBezTo>
                    <a:pt x="77669" y="80656"/>
                    <a:pt x="79163" y="80656"/>
                    <a:pt x="80656" y="80656"/>
                  </a:cubicBezTo>
                  <a:cubicBezTo>
                    <a:pt x="82150" y="80656"/>
                    <a:pt x="83643" y="80656"/>
                    <a:pt x="85137" y="79162"/>
                  </a:cubicBezTo>
                  <a:lnTo>
                    <a:pt x="204628" y="10455"/>
                  </a:lnTo>
                  <a:cubicBezTo>
                    <a:pt x="206122" y="8961"/>
                    <a:pt x="206122" y="8961"/>
                    <a:pt x="206122" y="7468"/>
                  </a:cubicBezTo>
                  <a:lnTo>
                    <a:pt x="206122" y="7468"/>
                  </a:lnTo>
                  <a:lnTo>
                    <a:pt x="206122" y="0"/>
                  </a:lnTo>
                  <a:cubicBezTo>
                    <a:pt x="209109" y="0"/>
                    <a:pt x="207615" y="1493"/>
                    <a:pt x="206122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0" name="任意多边形: 形状 10229"/>
            <p:cNvSpPr/>
            <p:nvPr/>
          </p:nvSpPr>
          <p:spPr>
            <a:xfrm>
              <a:off x="6798602" y="4784170"/>
              <a:ext cx="194172" cy="119491"/>
            </a:xfrm>
            <a:custGeom>
              <a:avLst/>
              <a:gdLst>
                <a:gd name="connsiteX0" fmla="*/ 1493 w 194172"/>
                <a:gd name="connsiteY0" fmla="*/ 76175 h 119490"/>
                <a:gd name="connsiteX1" fmla="*/ 77669 w 194172"/>
                <a:gd name="connsiteY1" fmla="*/ 119491 h 119490"/>
                <a:gd name="connsiteX2" fmla="*/ 86631 w 194172"/>
                <a:gd name="connsiteY2" fmla="*/ 119491 h 119490"/>
                <a:gd name="connsiteX3" fmla="*/ 206122 w 194172"/>
                <a:gd name="connsiteY3" fmla="*/ 50783 h 119490"/>
                <a:gd name="connsiteX4" fmla="*/ 207615 w 194172"/>
                <a:gd name="connsiteY4" fmla="*/ 47796 h 119490"/>
                <a:gd name="connsiteX5" fmla="*/ 206122 w 194172"/>
                <a:gd name="connsiteY5" fmla="*/ 44809 h 119490"/>
                <a:gd name="connsiteX6" fmla="*/ 129946 w 194172"/>
                <a:gd name="connsiteY6" fmla="*/ 1494 h 119490"/>
                <a:gd name="connsiteX7" fmla="*/ 120984 w 194172"/>
                <a:gd name="connsiteY7" fmla="*/ 1494 h 119490"/>
                <a:gd name="connsiteX8" fmla="*/ 120984 w 194172"/>
                <a:gd name="connsiteY8" fmla="*/ 1494 h 119490"/>
                <a:gd name="connsiteX9" fmla="*/ 122478 w 194172"/>
                <a:gd name="connsiteY9" fmla="*/ 0 h 119490"/>
                <a:gd name="connsiteX10" fmla="*/ 120984 w 194172"/>
                <a:gd name="connsiteY10" fmla="*/ 1494 h 119490"/>
                <a:gd name="connsiteX11" fmla="*/ 119491 w 194172"/>
                <a:gd name="connsiteY11" fmla="*/ 1494 h 119490"/>
                <a:gd name="connsiteX12" fmla="*/ 106048 w 194172"/>
                <a:gd name="connsiteY12" fmla="*/ 8962 h 119490"/>
                <a:gd name="connsiteX13" fmla="*/ 107542 w 194172"/>
                <a:gd name="connsiteY13" fmla="*/ 10456 h 119490"/>
                <a:gd name="connsiteX14" fmla="*/ 95593 w 194172"/>
                <a:gd name="connsiteY14" fmla="*/ 17924 h 119490"/>
                <a:gd name="connsiteX15" fmla="*/ 94099 w 194172"/>
                <a:gd name="connsiteY15" fmla="*/ 16430 h 119490"/>
                <a:gd name="connsiteX16" fmla="*/ 32860 w 194172"/>
                <a:gd name="connsiteY16" fmla="*/ 52277 h 119490"/>
                <a:gd name="connsiteX17" fmla="*/ 34354 w 194172"/>
                <a:gd name="connsiteY17" fmla="*/ 53771 h 119490"/>
                <a:gd name="connsiteX18" fmla="*/ 22405 w 194172"/>
                <a:gd name="connsiteY18" fmla="*/ 61239 h 119490"/>
                <a:gd name="connsiteX19" fmla="*/ 20911 w 194172"/>
                <a:gd name="connsiteY19" fmla="*/ 59745 h 119490"/>
                <a:gd name="connsiteX20" fmla="*/ 1493 w 194172"/>
                <a:gd name="connsiteY20" fmla="*/ 71694 h 119490"/>
                <a:gd name="connsiteX21" fmla="*/ 0 w 194172"/>
                <a:gd name="connsiteY21" fmla="*/ 73188 h 119490"/>
                <a:gd name="connsiteX22" fmla="*/ 0 w 194172"/>
                <a:gd name="connsiteY22" fmla="*/ 74682 h 119490"/>
                <a:gd name="connsiteX23" fmla="*/ 1493 w 194172"/>
                <a:gd name="connsiteY23" fmla="*/ 76175 h 119490"/>
                <a:gd name="connsiteX24" fmla="*/ 123972 w 194172"/>
                <a:gd name="connsiteY24" fmla="*/ 91112 h 119490"/>
                <a:gd name="connsiteX25" fmla="*/ 104554 w 194172"/>
                <a:gd name="connsiteY25" fmla="*/ 80656 h 119490"/>
                <a:gd name="connsiteX26" fmla="*/ 137414 w 194172"/>
                <a:gd name="connsiteY26" fmla="*/ 61239 h 119490"/>
                <a:gd name="connsiteX27" fmla="*/ 156832 w 194172"/>
                <a:gd name="connsiteY27" fmla="*/ 71694 h 119490"/>
                <a:gd name="connsiteX28" fmla="*/ 123972 w 194172"/>
                <a:gd name="connsiteY28" fmla="*/ 91112 h 119490"/>
                <a:gd name="connsiteX29" fmla="*/ 170274 w 194172"/>
                <a:gd name="connsiteY29" fmla="*/ 37341 h 119490"/>
                <a:gd name="connsiteX30" fmla="*/ 155338 w 194172"/>
                <a:gd name="connsiteY30" fmla="*/ 46303 h 119490"/>
                <a:gd name="connsiteX31" fmla="*/ 146376 w 194172"/>
                <a:gd name="connsiteY31" fmla="*/ 52277 h 119490"/>
                <a:gd name="connsiteX32" fmla="*/ 146376 w 194172"/>
                <a:gd name="connsiteY32" fmla="*/ 52277 h 119490"/>
                <a:gd name="connsiteX33" fmla="*/ 144882 w 194172"/>
                <a:gd name="connsiteY33" fmla="*/ 53771 h 119490"/>
                <a:gd name="connsiteX34" fmla="*/ 144882 w 194172"/>
                <a:gd name="connsiteY34" fmla="*/ 53771 h 119490"/>
                <a:gd name="connsiteX35" fmla="*/ 141895 w 194172"/>
                <a:gd name="connsiteY35" fmla="*/ 55265 h 119490"/>
                <a:gd name="connsiteX36" fmla="*/ 134427 w 194172"/>
                <a:gd name="connsiteY36" fmla="*/ 59745 h 119490"/>
                <a:gd name="connsiteX37" fmla="*/ 132933 w 194172"/>
                <a:gd name="connsiteY37" fmla="*/ 59745 h 119490"/>
                <a:gd name="connsiteX38" fmla="*/ 132933 w 194172"/>
                <a:gd name="connsiteY38" fmla="*/ 59745 h 119490"/>
                <a:gd name="connsiteX39" fmla="*/ 120984 w 194172"/>
                <a:gd name="connsiteY39" fmla="*/ 67214 h 119490"/>
                <a:gd name="connsiteX40" fmla="*/ 120984 w 194172"/>
                <a:gd name="connsiteY40" fmla="*/ 67214 h 119490"/>
                <a:gd name="connsiteX41" fmla="*/ 119491 w 194172"/>
                <a:gd name="connsiteY41" fmla="*/ 67214 h 119490"/>
                <a:gd name="connsiteX42" fmla="*/ 92605 w 194172"/>
                <a:gd name="connsiteY42" fmla="*/ 83644 h 119490"/>
                <a:gd name="connsiteX43" fmla="*/ 92605 w 194172"/>
                <a:gd name="connsiteY43" fmla="*/ 83644 h 119490"/>
                <a:gd name="connsiteX44" fmla="*/ 80656 w 194172"/>
                <a:gd name="connsiteY44" fmla="*/ 91112 h 119490"/>
                <a:gd name="connsiteX45" fmla="*/ 80656 w 194172"/>
                <a:gd name="connsiteY45" fmla="*/ 91112 h 119490"/>
                <a:gd name="connsiteX46" fmla="*/ 67214 w 194172"/>
                <a:gd name="connsiteY46" fmla="*/ 98580 h 119490"/>
                <a:gd name="connsiteX47" fmla="*/ 22405 w 194172"/>
                <a:gd name="connsiteY47" fmla="*/ 73188 h 119490"/>
                <a:gd name="connsiteX48" fmla="*/ 22405 w 194172"/>
                <a:gd name="connsiteY48" fmla="*/ 70201 h 119490"/>
                <a:gd name="connsiteX49" fmla="*/ 34354 w 194172"/>
                <a:gd name="connsiteY49" fmla="*/ 62733 h 119490"/>
                <a:gd name="connsiteX50" fmla="*/ 34354 w 194172"/>
                <a:gd name="connsiteY50" fmla="*/ 62733 h 119490"/>
                <a:gd name="connsiteX51" fmla="*/ 35847 w 194172"/>
                <a:gd name="connsiteY51" fmla="*/ 61239 h 119490"/>
                <a:gd name="connsiteX52" fmla="*/ 35847 w 194172"/>
                <a:gd name="connsiteY52" fmla="*/ 61239 h 119490"/>
                <a:gd name="connsiteX53" fmla="*/ 47796 w 194172"/>
                <a:gd name="connsiteY53" fmla="*/ 53771 h 119490"/>
                <a:gd name="connsiteX54" fmla="*/ 47796 w 194172"/>
                <a:gd name="connsiteY54" fmla="*/ 53771 h 119490"/>
                <a:gd name="connsiteX55" fmla="*/ 49290 w 194172"/>
                <a:gd name="connsiteY55" fmla="*/ 52277 h 119490"/>
                <a:gd name="connsiteX56" fmla="*/ 49290 w 194172"/>
                <a:gd name="connsiteY56" fmla="*/ 52277 h 119490"/>
                <a:gd name="connsiteX57" fmla="*/ 61239 w 194172"/>
                <a:gd name="connsiteY57" fmla="*/ 44809 h 119490"/>
                <a:gd name="connsiteX58" fmla="*/ 61239 w 194172"/>
                <a:gd name="connsiteY58" fmla="*/ 44809 h 119490"/>
                <a:gd name="connsiteX59" fmla="*/ 62733 w 194172"/>
                <a:gd name="connsiteY59" fmla="*/ 43315 h 119490"/>
                <a:gd name="connsiteX60" fmla="*/ 62733 w 194172"/>
                <a:gd name="connsiteY60" fmla="*/ 43315 h 119490"/>
                <a:gd name="connsiteX61" fmla="*/ 74682 w 194172"/>
                <a:gd name="connsiteY61" fmla="*/ 35847 h 119490"/>
                <a:gd name="connsiteX62" fmla="*/ 74682 w 194172"/>
                <a:gd name="connsiteY62" fmla="*/ 35847 h 119490"/>
                <a:gd name="connsiteX63" fmla="*/ 76175 w 194172"/>
                <a:gd name="connsiteY63" fmla="*/ 34353 h 119490"/>
                <a:gd name="connsiteX64" fmla="*/ 88124 w 194172"/>
                <a:gd name="connsiteY64" fmla="*/ 28379 h 119490"/>
                <a:gd name="connsiteX65" fmla="*/ 88124 w 194172"/>
                <a:gd name="connsiteY65" fmla="*/ 28379 h 119490"/>
                <a:gd name="connsiteX66" fmla="*/ 89618 w 194172"/>
                <a:gd name="connsiteY66" fmla="*/ 26885 h 119490"/>
                <a:gd name="connsiteX67" fmla="*/ 89618 w 194172"/>
                <a:gd name="connsiteY67" fmla="*/ 26885 h 119490"/>
                <a:gd name="connsiteX68" fmla="*/ 101567 w 194172"/>
                <a:gd name="connsiteY68" fmla="*/ 19417 h 119490"/>
                <a:gd name="connsiteX69" fmla="*/ 101567 w 194172"/>
                <a:gd name="connsiteY69" fmla="*/ 19417 h 119490"/>
                <a:gd name="connsiteX70" fmla="*/ 103061 w 194172"/>
                <a:gd name="connsiteY70" fmla="*/ 17924 h 119490"/>
                <a:gd name="connsiteX71" fmla="*/ 103061 w 194172"/>
                <a:gd name="connsiteY71" fmla="*/ 17924 h 119490"/>
                <a:gd name="connsiteX72" fmla="*/ 115010 w 194172"/>
                <a:gd name="connsiteY72" fmla="*/ 10456 h 119490"/>
                <a:gd name="connsiteX73" fmla="*/ 115010 w 194172"/>
                <a:gd name="connsiteY73" fmla="*/ 10456 h 119490"/>
                <a:gd name="connsiteX74" fmla="*/ 116504 w 194172"/>
                <a:gd name="connsiteY74" fmla="*/ 8962 h 119490"/>
                <a:gd name="connsiteX75" fmla="*/ 116504 w 194172"/>
                <a:gd name="connsiteY75" fmla="*/ 8962 h 119490"/>
                <a:gd name="connsiteX76" fmla="*/ 128452 w 194172"/>
                <a:gd name="connsiteY76" fmla="*/ 1494 h 119490"/>
                <a:gd name="connsiteX77" fmla="*/ 140402 w 194172"/>
                <a:gd name="connsiteY77" fmla="*/ 7468 h 119490"/>
                <a:gd name="connsiteX78" fmla="*/ 140402 w 194172"/>
                <a:gd name="connsiteY78" fmla="*/ 7468 h 119490"/>
                <a:gd name="connsiteX79" fmla="*/ 152351 w 194172"/>
                <a:gd name="connsiteY79" fmla="*/ 13443 h 119490"/>
                <a:gd name="connsiteX80" fmla="*/ 155338 w 194172"/>
                <a:gd name="connsiteY80" fmla="*/ 14936 h 119490"/>
                <a:gd name="connsiteX81" fmla="*/ 162806 w 194172"/>
                <a:gd name="connsiteY81" fmla="*/ 19417 h 119490"/>
                <a:gd name="connsiteX82" fmla="*/ 164300 w 194172"/>
                <a:gd name="connsiteY82" fmla="*/ 20911 h 119490"/>
                <a:gd name="connsiteX83" fmla="*/ 164300 w 194172"/>
                <a:gd name="connsiteY83" fmla="*/ 20911 h 119490"/>
                <a:gd name="connsiteX84" fmla="*/ 174755 w 194172"/>
                <a:gd name="connsiteY84" fmla="*/ 26885 h 119490"/>
                <a:gd name="connsiteX85" fmla="*/ 174755 w 194172"/>
                <a:gd name="connsiteY85" fmla="*/ 37341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194172" h="119490">
                  <a:moveTo>
                    <a:pt x="1493" y="76175"/>
                  </a:moveTo>
                  <a:lnTo>
                    <a:pt x="77669" y="119491"/>
                  </a:lnTo>
                  <a:cubicBezTo>
                    <a:pt x="80656" y="120984"/>
                    <a:pt x="85137" y="120984"/>
                    <a:pt x="86631" y="119491"/>
                  </a:cubicBezTo>
                  <a:lnTo>
                    <a:pt x="206122" y="50783"/>
                  </a:lnTo>
                  <a:cubicBezTo>
                    <a:pt x="207615" y="49290"/>
                    <a:pt x="207615" y="49290"/>
                    <a:pt x="207615" y="47796"/>
                  </a:cubicBezTo>
                  <a:cubicBezTo>
                    <a:pt x="207615" y="46303"/>
                    <a:pt x="207615" y="46303"/>
                    <a:pt x="206122" y="44809"/>
                  </a:cubicBezTo>
                  <a:lnTo>
                    <a:pt x="129946" y="1494"/>
                  </a:lnTo>
                  <a:cubicBezTo>
                    <a:pt x="126959" y="0"/>
                    <a:pt x="122478" y="0"/>
                    <a:pt x="120984" y="1494"/>
                  </a:cubicBezTo>
                  <a:lnTo>
                    <a:pt x="120984" y="1494"/>
                  </a:lnTo>
                  <a:cubicBezTo>
                    <a:pt x="120984" y="1494"/>
                    <a:pt x="122478" y="0"/>
                    <a:pt x="122478" y="0"/>
                  </a:cubicBezTo>
                  <a:cubicBezTo>
                    <a:pt x="122478" y="0"/>
                    <a:pt x="120984" y="1494"/>
                    <a:pt x="120984" y="1494"/>
                  </a:cubicBezTo>
                  <a:cubicBezTo>
                    <a:pt x="120984" y="1494"/>
                    <a:pt x="120984" y="1494"/>
                    <a:pt x="119491" y="1494"/>
                  </a:cubicBezTo>
                  <a:lnTo>
                    <a:pt x="106048" y="8962"/>
                  </a:lnTo>
                  <a:lnTo>
                    <a:pt x="107542" y="10456"/>
                  </a:lnTo>
                  <a:lnTo>
                    <a:pt x="95593" y="17924"/>
                  </a:lnTo>
                  <a:lnTo>
                    <a:pt x="94099" y="16430"/>
                  </a:lnTo>
                  <a:lnTo>
                    <a:pt x="32860" y="52277"/>
                  </a:lnTo>
                  <a:lnTo>
                    <a:pt x="34354" y="53771"/>
                  </a:lnTo>
                  <a:lnTo>
                    <a:pt x="22405" y="61239"/>
                  </a:lnTo>
                  <a:lnTo>
                    <a:pt x="20911" y="59745"/>
                  </a:lnTo>
                  <a:lnTo>
                    <a:pt x="1493" y="71694"/>
                  </a:lnTo>
                  <a:cubicBezTo>
                    <a:pt x="1493" y="71694"/>
                    <a:pt x="0" y="73188"/>
                    <a:pt x="0" y="73188"/>
                  </a:cubicBezTo>
                  <a:cubicBezTo>
                    <a:pt x="0" y="73188"/>
                    <a:pt x="0" y="73188"/>
                    <a:pt x="0" y="74682"/>
                  </a:cubicBezTo>
                  <a:cubicBezTo>
                    <a:pt x="0" y="74682"/>
                    <a:pt x="0" y="74682"/>
                    <a:pt x="1493" y="76175"/>
                  </a:cubicBezTo>
                  <a:close/>
                  <a:moveTo>
                    <a:pt x="123972" y="91112"/>
                  </a:moveTo>
                  <a:lnTo>
                    <a:pt x="104554" y="80656"/>
                  </a:lnTo>
                  <a:lnTo>
                    <a:pt x="137414" y="61239"/>
                  </a:lnTo>
                  <a:lnTo>
                    <a:pt x="156832" y="71694"/>
                  </a:lnTo>
                  <a:lnTo>
                    <a:pt x="123972" y="91112"/>
                  </a:lnTo>
                  <a:close/>
                  <a:moveTo>
                    <a:pt x="170274" y="37341"/>
                  </a:moveTo>
                  <a:lnTo>
                    <a:pt x="155338" y="46303"/>
                  </a:lnTo>
                  <a:lnTo>
                    <a:pt x="146376" y="52277"/>
                  </a:lnTo>
                  <a:lnTo>
                    <a:pt x="146376" y="52277"/>
                  </a:lnTo>
                  <a:lnTo>
                    <a:pt x="144882" y="53771"/>
                  </a:lnTo>
                  <a:lnTo>
                    <a:pt x="144882" y="53771"/>
                  </a:lnTo>
                  <a:lnTo>
                    <a:pt x="141895" y="55265"/>
                  </a:lnTo>
                  <a:lnTo>
                    <a:pt x="134427" y="59745"/>
                  </a:lnTo>
                  <a:lnTo>
                    <a:pt x="132933" y="59745"/>
                  </a:lnTo>
                  <a:lnTo>
                    <a:pt x="132933" y="59745"/>
                  </a:lnTo>
                  <a:lnTo>
                    <a:pt x="120984" y="67214"/>
                  </a:lnTo>
                  <a:lnTo>
                    <a:pt x="120984" y="67214"/>
                  </a:lnTo>
                  <a:lnTo>
                    <a:pt x="119491" y="67214"/>
                  </a:lnTo>
                  <a:lnTo>
                    <a:pt x="92605" y="83644"/>
                  </a:lnTo>
                  <a:lnTo>
                    <a:pt x="92605" y="83644"/>
                  </a:lnTo>
                  <a:lnTo>
                    <a:pt x="80656" y="91112"/>
                  </a:lnTo>
                  <a:lnTo>
                    <a:pt x="80656" y="91112"/>
                  </a:lnTo>
                  <a:lnTo>
                    <a:pt x="67214" y="98580"/>
                  </a:lnTo>
                  <a:lnTo>
                    <a:pt x="22405" y="73188"/>
                  </a:lnTo>
                  <a:lnTo>
                    <a:pt x="22405" y="70201"/>
                  </a:lnTo>
                  <a:lnTo>
                    <a:pt x="34354" y="62733"/>
                  </a:lnTo>
                  <a:lnTo>
                    <a:pt x="34354" y="62733"/>
                  </a:lnTo>
                  <a:lnTo>
                    <a:pt x="35847" y="61239"/>
                  </a:lnTo>
                  <a:lnTo>
                    <a:pt x="35847" y="61239"/>
                  </a:lnTo>
                  <a:lnTo>
                    <a:pt x="47796" y="53771"/>
                  </a:lnTo>
                  <a:lnTo>
                    <a:pt x="47796" y="53771"/>
                  </a:lnTo>
                  <a:lnTo>
                    <a:pt x="49290" y="52277"/>
                  </a:lnTo>
                  <a:lnTo>
                    <a:pt x="49290" y="52277"/>
                  </a:lnTo>
                  <a:lnTo>
                    <a:pt x="61239" y="44809"/>
                  </a:lnTo>
                  <a:lnTo>
                    <a:pt x="61239" y="44809"/>
                  </a:lnTo>
                  <a:lnTo>
                    <a:pt x="62733" y="43315"/>
                  </a:lnTo>
                  <a:lnTo>
                    <a:pt x="62733" y="43315"/>
                  </a:lnTo>
                  <a:lnTo>
                    <a:pt x="74682" y="35847"/>
                  </a:lnTo>
                  <a:lnTo>
                    <a:pt x="74682" y="35847"/>
                  </a:lnTo>
                  <a:lnTo>
                    <a:pt x="76175" y="34353"/>
                  </a:lnTo>
                  <a:lnTo>
                    <a:pt x="88124" y="28379"/>
                  </a:lnTo>
                  <a:lnTo>
                    <a:pt x="88124" y="28379"/>
                  </a:lnTo>
                  <a:lnTo>
                    <a:pt x="89618" y="26885"/>
                  </a:lnTo>
                  <a:lnTo>
                    <a:pt x="89618" y="26885"/>
                  </a:lnTo>
                  <a:lnTo>
                    <a:pt x="101567" y="19417"/>
                  </a:lnTo>
                  <a:lnTo>
                    <a:pt x="101567" y="19417"/>
                  </a:lnTo>
                  <a:lnTo>
                    <a:pt x="103061" y="17924"/>
                  </a:lnTo>
                  <a:lnTo>
                    <a:pt x="103061" y="17924"/>
                  </a:lnTo>
                  <a:lnTo>
                    <a:pt x="115010" y="10456"/>
                  </a:lnTo>
                  <a:lnTo>
                    <a:pt x="115010" y="10456"/>
                  </a:lnTo>
                  <a:lnTo>
                    <a:pt x="116504" y="8962"/>
                  </a:lnTo>
                  <a:lnTo>
                    <a:pt x="116504" y="8962"/>
                  </a:lnTo>
                  <a:lnTo>
                    <a:pt x="128452" y="1494"/>
                  </a:lnTo>
                  <a:lnTo>
                    <a:pt x="140402" y="7468"/>
                  </a:lnTo>
                  <a:lnTo>
                    <a:pt x="140402" y="7468"/>
                  </a:lnTo>
                  <a:lnTo>
                    <a:pt x="152351" y="13443"/>
                  </a:lnTo>
                  <a:lnTo>
                    <a:pt x="155338" y="14936"/>
                  </a:lnTo>
                  <a:lnTo>
                    <a:pt x="162806" y="19417"/>
                  </a:lnTo>
                  <a:lnTo>
                    <a:pt x="164300" y="20911"/>
                  </a:lnTo>
                  <a:lnTo>
                    <a:pt x="164300" y="20911"/>
                  </a:lnTo>
                  <a:lnTo>
                    <a:pt x="174755" y="26885"/>
                  </a:lnTo>
                  <a:lnTo>
                    <a:pt x="174755" y="37341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1" name="任意多边形: 形状 10230"/>
            <p:cNvSpPr/>
            <p:nvPr/>
          </p:nvSpPr>
          <p:spPr>
            <a:xfrm>
              <a:off x="6904650" y="4845409"/>
              <a:ext cx="44809" cy="29873"/>
            </a:xfrm>
            <a:custGeom>
              <a:avLst/>
              <a:gdLst>
                <a:gd name="connsiteX0" fmla="*/ 0 w 44809"/>
                <a:gd name="connsiteY0" fmla="*/ 17923 h 29872"/>
                <a:gd name="connsiteX1" fmla="*/ 17924 w 44809"/>
                <a:gd name="connsiteY1" fmla="*/ 29873 h 29872"/>
                <a:gd name="connsiteX2" fmla="*/ 50784 w 44809"/>
                <a:gd name="connsiteY2" fmla="*/ 10455 h 29872"/>
                <a:gd name="connsiteX3" fmla="*/ 31366 w 44809"/>
                <a:gd name="connsiteY3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809" h="29872">
                  <a:moveTo>
                    <a:pt x="0" y="17923"/>
                  </a:moveTo>
                  <a:lnTo>
                    <a:pt x="17924" y="29873"/>
                  </a:lnTo>
                  <a:lnTo>
                    <a:pt x="50784" y="10455"/>
                  </a:lnTo>
                  <a:lnTo>
                    <a:pt x="31366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2" name="任意多边形: 形状 10231"/>
            <p:cNvSpPr/>
            <p:nvPr/>
          </p:nvSpPr>
          <p:spPr>
            <a:xfrm>
              <a:off x="6816526" y="4790144"/>
              <a:ext cx="134427" cy="89618"/>
            </a:xfrm>
            <a:custGeom>
              <a:avLst/>
              <a:gdLst>
                <a:gd name="connsiteX0" fmla="*/ 140402 w 134427"/>
                <a:gd name="connsiteY0" fmla="*/ 34354 h 89618"/>
                <a:gd name="connsiteX1" fmla="*/ 129946 w 134427"/>
                <a:gd name="connsiteY1" fmla="*/ 28379 h 89618"/>
                <a:gd name="connsiteX2" fmla="*/ 141895 w 134427"/>
                <a:gd name="connsiteY2" fmla="*/ 20911 h 89618"/>
                <a:gd name="connsiteX3" fmla="*/ 140402 w 134427"/>
                <a:gd name="connsiteY3" fmla="*/ 19418 h 89618"/>
                <a:gd name="connsiteX4" fmla="*/ 140402 w 134427"/>
                <a:gd name="connsiteY4" fmla="*/ 19418 h 89618"/>
                <a:gd name="connsiteX5" fmla="*/ 131440 w 134427"/>
                <a:gd name="connsiteY5" fmla="*/ 23898 h 89618"/>
                <a:gd name="connsiteX6" fmla="*/ 128453 w 134427"/>
                <a:gd name="connsiteY6" fmla="*/ 25392 h 89618"/>
                <a:gd name="connsiteX7" fmla="*/ 115010 w 134427"/>
                <a:gd name="connsiteY7" fmla="*/ 32860 h 89618"/>
                <a:gd name="connsiteX8" fmla="*/ 104554 w 134427"/>
                <a:gd name="connsiteY8" fmla="*/ 26886 h 89618"/>
                <a:gd name="connsiteX9" fmla="*/ 117997 w 134427"/>
                <a:gd name="connsiteY9" fmla="*/ 19418 h 89618"/>
                <a:gd name="connsiteX10" fmla="*/ 106048 w 134427"/>
                <a:gd name="connsiteY10" fmla="*/ 13443 h 89618"/>
                <a:gd name="connsiteX11" fmla="*/ 117997 w 134427"/>
                <a:gd name="connsiteY11" fmla="*/ 5974 h 89618"/>
                <a:gd name="connsiteX12" fmla="*/ 106048 w 134427"/>
                <a:gd name="connsiteY12" fmla="*/ 0 h 89618"/>
                <a:gd name="connsiteX13" fmla="*/ 116504 w 134427"/>
                <a:gd name="connsiteY13" fmla="*/ 5974 h 89618"/>
                <a:gd name="connsiteX14" fmla="*/ 104554 w 134427"/>
                <a:gd name="connsiteY14" fmla="*/ 13443 h 89618"/>
                <a:gd name="connsiteX15" fmla="*/ 94099 w 134427"/>
                <a:gd name="connsiteY15" fmla="*/ 7468 h 89618"/>
                <a:gd name="connsiteX16" fmla="*/ 92605 w 134427"/>
                <a:gd name="connsiteY16" fmla="*/ 8962 h 89618"/>
                <a:gd name="connsiteX17" fmla="*/ 103061 w 134427"/>
                <a:gd name="connsiteY17" fmla="*/ 14936 h 89618"/>
                <a:gd name="connsiteX18" fmla="*/ 91112 w 134427"/>
                <a:gd name="connsiteY18" fmla="*/ 22405 h 89618"/>
                <a:gd name="connsiteX19" fmla="*/ 80656 w 134427"/>
                <a:gd name="connsiteY19" fmla="*/ 16430 h 89618"/>
                <a:gd name="connsiteX20" fmla="*/ 79163 w 134427"/>
                <a:gd name="connsiteY20" fmla="*/ 17924 h 89618"/>
                <a:gd name="connsiteX21" fmla="*/ 89618 w 134427"/>
                <a:gd name="connsiteY21" fmla="*/ 23898 h 89618"/>
                <a:gd name="connsiteX22" fmla="*/ 77669 w 134427"/>
                <a:gd name="connsiteY22" fmla="*/ 31366 h 89618"/>
                <a:gd name="connsiteX23" fmla="*/ 67214 w 134427"/>
                <a:gd name="connsiteY23" fmla="*/ 25392 h 89618"/>
                <a:gd name="connsiteX24" fmla="*/ 65720 w 134427"/>
                <a:gd name="connsiteY24" fmla="*/ 26886 h 89618"/>
                <a:gd name="connsiteX25" fmla="*/ 76175 w 134427"/>
                <a:gd name="connsiteY25" fmla="*/ 32860 h 89618"/>
                <a:gd name="connsiteX26" fmla="*/ 64226 w 134427"/>
                <a:gd name="connsiteY26" fmla="*/ 40328 h 89618"/>
                <a:gd name="connsiteX27" fmla="*/ 53771 w 134427"/>
                <a:gd name="connsiteY27" fmla="*/ 34354 h 89618"/>
                <a:gd name="connsiteX28" fmla="*/ 53771 w 134427"/>
                <a:gd name="connsiteY28" fmla="*/ 34354 h 89618"/>
                <a:gd name="connsiteX29" fmla="*/ 52277 w 134427"/>
                <a:gd name="connsiteY29" fmla="*/ 35847 h 89618"/>
                <a:gd name="connsiteX30" fmla="*/ 62733 w 134427"/>
                <a:gd name="connsiteY30" fmla="*/ 41822 h 89618"/>
                <a:gd name="connsiteX31" fmla="*/ 50783 w 134427"/>
                <a:gd name="connsiteY31" fmla="*/ 49290 h 89618"/>
                <a:gd name="connsiteX32" fmla="*/ 40328 w 134427"/>
                <a:gd name="connsiteY32" fmla="*/ 43315 h 89618"/>
                <a:gd name="connsiteX33" fmla="*/ 38835 w 134427"/>
                <a:gd name="connsiteY33" fmla="*/ 44809 h 89618"/>
                <a:gd name="connsiteX34" fmla="*/ 49290 w 134427"/>
                <a:gd name="connsiteY34" fmla="*/ 50783 h 89618"/>
                <a:gd name="connsiteX35" fmla="*/ 37341 w 134427"/>
                <a:gd name="connsiteY35" fmla="*/ 58252 h 89618"/>
                <a:gd name="connsiteX36" fmla="*/ 26885 w 134427"/>
                <a:gd name="connsiteY36" fmla="*/ 52277 h 89618"/>
                <a:gd name="connsiteX37" fmla="*/ 25392 w 134427"/>
                <a:gd name="connsiteY37" fmla="*/ 53771 h 89618"/>
                <a:gd name="connsiteX38" fmla="*/ 35847 w 134427"/>
                <a:gd name="connsiteY38" fmla="*/ 59745 h 89618"/>
                <a:gd name="connsiteX39" fmla="*/ 23898 w 134427"/>
                <a:gd name="connsiteY39" fmla="*/ 67214 h 89618"/>
                <a:gd name="connsiteX40" fmla="*/ 13443 w 134427"/>
                <a:gd name="connsiteY40" fmla="*/ 61239 h 89618"/>
                <a:gd name="connsiteX41" fmla="*/ 11949 w 134427"/>
                <a:gd name="connsiteY41" fmla="*/ 62733 h 89618"/>
                <a:gd name="connsiteX42" fmla="*/ 22405 w 134427"/>
                <a:gd name="connsiteY42" fmla="*/ 68707 h 89618"/>
                <a:gd name="connsiteX43" fmla="*/ 10455 w 134427"/>
                <a:gd name="connsiteY43" fmla="*/ 76175 h 89618"/>
                <a:gd name="connsiteX44" fmla="*/ 0 w 134427"/>
                <a:gd name="connsiteY44" fmla="*/ 70201 h 89618"/>
                <a:gd name="connsiteX45" fmla="*/ 0 w 134427"/>
                <a:gd name="connsiteY45" fmla="*/ 73188 h 89618"/>
                <a:gd name="connsiteX46" fmla="*/ 44809 w 134427"/>
                <a:gd name="connsiteY46" fmla="*/ 98580 h 89618"/>
                <a:gd name="connsiteX47" fmla="*/ 58252 w 134427"/>
                <a:gd name="connsiteY47" fmla="*/ 91112 h 89618"/>
                <a:gd name="connsiteX48" fmla="*/ 58252 w 134427"/>
                <a:gd name="connsiteY48" fmla="*/ 91112 h 89618"/>
                <a:gd name="connsiteX49" fmla="*/ 70201 w 134427"/>
                <a:gd name="connsiteY49" fmla="*/ 83644 h 89618"/>
                <a:gd name="connsiteX50" fmla="*/ 70201 w 134427"/>
                <a:gd name="connsiteY50" fmla="*/ 83644 h 89618"/>
                <a:gd name="connsiteX51" fmla="*/ 97086 w 134427"/>
                <a:gd name="connsiteY51" fmla="*/ 67214 h 89618"/>
                <a:gd name="connsiteX52" fmla="*/ 98580 w 134427"/>
                <a:gd name="connsiteY52" fmla="*/ 67214 h 89618"/>
                <a:gd name="connsiteX53" fmla="*/ 98580 w 134427"/>
                <a:gd name="connsiteY53" fmla="*/ 67214 h 89618"/>
                <a:gd name="connsiteX54" fmla="*/ 110529 w 134427"/>
                <a:gd name="connsiteY54" fmla="*/ 59745 h 89618"/>
                <a:gd name="connsiteX55" fmla="*/ 110529 w 134427"/>
                <a:gd name="connsiteY55" fmla="*/ 59745 h 89618"/>
                <a:gd name="connsiteX56" fmla="*/ 112023 w 134427"/>
                <a:gd name="connsiteY56" fmla="*/ 59745 h 89618"/>
                <a:gd name="connsiteX57" fmla="*/ 119491 w 134427"/>
                <a:gd name="connsiteY57" fmla="*/ 55265 h 89618"/>
                <a:gd name="connsiteX58" fmla="*/ 122478 w 134427"/>
                <a:gd name="connsiteY58" fmla="*/ 53771 h 89618"/>
                <a:gd name="connsiteX59" fmla="*/ 122478 w 134427"/>
                <a:gd name="connsiteY59" fmla="*/ 53771 h 89618"/>
                <a:gd name="connsiteX60" fmla="*/ 123972 w 134427"/>
                <a:gd name="connsiteY60" fmla="*/ 52277 h 89618"/>
                <a:gd name="connsiteX61" fmla="*/ 123972 w 134427"/>
                <a:gd name="connsiteY61" fmla="*/ 52277 h 89618"/>
                <a:gd name="connsiteX62" fmla="*/ 132933 w 134427"/>
                <a:gd name="connsiteY62" fmla="*/ 46303 h 89618"/>
                <a:gd name="connsiteX63" fmla="*/ 147870 w 134427"/>
                <a:gd name="connsiteY63" fmla="*/ 37341 h 89618"/>
                <a:gd name="connsiteX64" fmla="*/ 147870 w 134427"/>
                <a:gd name="connsiteY64" fmla="*/ 34354 h 89618"/>
                <a:gd name="connsiteX65" fmla="*/ 140402 w 134427"/>
                <a:gd name="connsiteY65" fmla="*/ 34354 h 89618"/>
                <a:gd name="connsiteX66" fmla="*/ 128453 w 134427"/>
                <a:gd name="connsiteY66" fmla="*/ 29873 h 89618"/>
                <a:gd name="connsiteX67" fmla="*/ 138908 w 134427"/>
                <a:gd name="connsiteY67" fmla="*/ 35847 h 89618"/>
                <a:gd name="connsiteX68" fmla="*/ 126959 w 134427"/>
                <a:gd name="connsiteY68" fmla="*/ 43315 h 89618"/>
                <a:gd name="connsiteX69" fmla="*/ 116504 w 134427"/>
                <a:gd name="connsiteY69" fmla="*/ 37341 h 89618"/>
                <a:gd name="connsiteX70" fmla="*/ 128453 w 134427"/>
                <a:gd name="connsiteY70" fmla="*/ 29873 h 89618"/>
                <a:gd name="connsiteX71" fmla="*/ 113516 w 134427"/>
                <a:gd name="connsiteY71" fmla="*/ 35847 h 89618"/>
                <a:gd name="connsiteX72" fmla="*/ 101567 w 134427"/>
                <a:gd name="connsiteY72" fmla="*/ 43315 h 89618"/>
                <a:gd name="connsiteX73" fmla="*/ 91112 w 134427"/>
                <a:gd name="connsiteY73" fmla="*/ 37341 h 89618"/>
                <a:gd name="connsiteX74" fmla="*/ 103061 w 134427"/>
                <a:gd name="connsiteY74" fmla="*/ 29873 h 89618"/>
                <a:gd name="connsiteX75" fmla="*/ 113516 w 134427"/>
                <a:gd name="connsiteY75" fmla="*/ 35847 h 89618"/>
                <a:gd name="connsiteX76" fmla="*/ 88124 w 134427"/>
                <a:gd name="connsiteY76" fmla="*/ 50783 h 89618"/>
                <a:gd name="connsiteX77" fmla="*/ 77669 w 134427"/>
                <a:gd name="connsiteY77" fmla="*/ 44809 h 89618"/>
                <a:gd name="connsiteX78" fmla="*/ 89618 w 134427"/>
                <a:gd name="connsiteY78" fmla="*/ 37341 h 89618"/>
                <a:gd name="connsiteX79" fmla="*/ 100073 w 134427"/>
                <a:gd name="connsiteY79" fmla="*/ 43315 h 89618"/>
                <a:gd name="connsiteX80" fmla="*/ 88124 w 134427"/>
                <a:gd name="connsiteY80" fmla="*/ 50783 h 89618"/>
                <a:gd name="connsiteX81" fmla="*/ 74682 w 134427"/>
                <a:gd name="connsiteY81" fmla="*/ 58252 h 89618"/>
                <a:gd name="connsiteX82" fmla="*/ 64226 w 134427"/>
                <a:gd name="connsiteY82" fmla="*/ 52277 h 89618"/>
                <a:gd name="connsiteX83" fmla="*/ 76175 w 134427"/>
                <a:gd name="connsiteY83" fmla="*/ 44809 h 89618"/>
                <a:gd name="connsiteX84" fmla="*/ 86631 w 134427"/>
                <a:gd name="connsiteY84" fmla="*/ 50783 h 89618"/>
                <a:gd name="connsiteX85" fmla="*/ 74682 w 134427"/>
                <a:gd name="connsiteY85" fmla="*/ 58252 h 89618"/>
                <a:gd name="connsiteX86" fmla="*/ 61239 w 134427"/>
                <a:gd name="connsiteY86" fmla="*/ 65720 h 89618"/>
                <a:gd name="connsiteX87" fmla="*/ 50783 w 134427"/>
                <a:gd name="connsiteY87" fmla="*/ 59745 h 89618"/>
                <a:gd name="connsiteX88" fmla="*/ 62733 w 134427"/>
                <a:gd name="connsiteY88" fmla="*/ 52277 h 89618"/>
                <a:gd name="connsiteX89" fmla="*/ 73188 w 134427"/>
                <a:gd name="connsiteY89" fmla="*/ 58252 h 89618"/>
                <a:gd name="connsiteX90" fmla="*/ 61239 w 134427"/>
                <a:gd name="connsiteY90" fmla="*/ 65720 h 89618"/>
                <a:gd name="connsiteX91" fmla="*/ 49290 w 134427"/>
                <a:gd name="connsiteY91" fmla="*/ 74682 h 89618"/>
                <a:gd name="connsiteX92" fmla="*/ 38835 w 134427"/>
                <a:gd name="connsiteY92" fmla="*/ 68707 h 89618"/>
                <a:gd name="connsiteX93" fmla="*/ 50783 w 134427"/>
                <a:gd name="connsiteY93" fmla="*/ 61239 h 89618"/>
                <a:gd name="connsiteX94" fmla="*/ 61239 w 134427"/>
                <a:gd name="connsiteY94" fmla="*/ 67214 h 89618"/>
                <a:gd name="connsiteX95" fmla="*/ 49290 w 134427"/>
                <a:gd name="connsiteY95" fmla="*/ 74682 h 89618"/>
                <a:gd name="connsiteX96" fmla="*/ 35847 w 134427"/>
                <a:gd name="connsiteY96" fmla="*/ 82150 h 89618"/>
                <a:gd name="connsiteX97" fmla="*/ 25392 w 134427"/>
                <a:gd name="connsiteY97" fmla="*/ 76175 h 89618"/>
                <a:gd name="connsiteX98" fmla="*/ 37341 w 134427"/>
                <a:gd name="connsiteY98" fmla="*/ 68707 h 89618"/>
                <a:gd name="connsiteX99" fmla="*/ 47796 w 134427"/>
                <a:gd name="connsiteY99" fmla="*/ 74682 h 89618"/>
                <a:gd name="connsiteX100" fmla="*/ 35847 w 134427"/>
                <a:gd name="connsiteY100" fmla="*/ 82150 h 89618"/>
                <a:gd name="connsiteX101" fmla="*/ 106048 w 134427"/>
                <a:gd name="connsiteY101" fmla="*/ 16430 h 89618"/>
                <a:gd name="connsiteX102" fmla="*/ 116504 w 134427"/>
                <a:gd name="connsiteY102" fmla="*/ 22405 h 89618"/>
                <a:gd name="connsiteX103" fmla="*/ 104554 w 134427"/>
                <a:gd name="connsiteY103" fmla="*/ 29873 h 89618"/>
                <a:gd name="connsiteX104" fmla="*/ 94099 w 134427"/>
                <a:gd name="connsiteY104" fmla="*/ 23898 h 89618"/>
                <a:gd name="connsiteX105" fmla="*/ 106048 w 134427"/>
                <a:gd name="connsiteY105" fmla="*/ 16430 h 89618"/>
                <a:gd name="connsiteX106" fmla="*/ 92605 w 134427"/>
                <a:gd name="connsiteY106" fmla="*/ 23898 h 89618"/>
                <a:gd name="connsiteX107" fmla="*/ 103061 w 134427"/>
                <a:gd name="connsiteY107" fmla="*/ 29873 h 89618"/>
                <a:gd name="connsiteX108" fmla="*/ 91112 w 134427"/>
                <a:gd name="connsiteY108" fmla="*/ 37341 h 89618"/>
                <a:gd name="connsiteX109" fmla="*/ 80656 w 134427"/>
                <a:gd name="connsiteY109" fmla="*/ 31366 h 89618"/>
                <a:gd name="connsiteX110" fmla="*/ 92605 w 134427"/>
                <a:gd name="connsiteY110" fmla="*/ 23898 h 89618"/>
                <a:gd name="connsiteX111" fmla="*/ 79163 w 134427"/>
                <a:gd name="connsiteY111" fmla="*/ 31366 h 89618"/>
                <a:gd name="connsiteX112" fmla="*/ 89618 w 134427"/>
                <a:gd name="connsiteY112" fmla="*/ 37341 h 89618"/>
                <a:gd name="connsiteX113" fmla="*/ 77669 w 134427"/>
                <a:gd name="connsiteY113" fmla="*/ 44809 h 89618"/>
                <a:gd name="connsiteX114" fmla="*/ 67214 w 134427"/>
                <a:gd name="connsiteY114" fmla="*/ 38835 h 89618"/>
                <a:gd name="connsiteX115" fmla="*/ 79163 w 134427"/>
                <a:gd name="connsiteY115" fmla="*/ 31366 h 89618"/>
                <a:gd name="connsiteX116" fmla="*/ 65720 w 134427"/>
                <a:gd name="connsiteY116" fmla="*/ 38835 h 89618"/>
                <a:gd name="connsiteX117" fmla="*/ 76175 w 134427"/>
                <a:gd name="connsiteY117" fmla="*/ 44809 h 89618"/>
                <a:gd name="connsiteX118" fmla="*/ 64226 w 134427"/>
                <a:gd name="connsiteY118" fmla="*/ 52277 h 89618"/>
                <a:gd name="connsiteX119" fmla="*/ 53771 w 134427"/>
                <a:gd name="connsiteY119" fmla="*/ 46303 h 89618"/>
                <a:gd name="connsiteX120" fmla="*/ 65720 w 134427"/>
                <a:gd name="connsiteY120" fmla="*/ 38835 h 89618"/>
                <a:gd name="connsiteX121" fmla="*/ 52277 w 134427"/>
                <a:gd name="connsiteY121" fmla="*/ 47796 h 89618"/>
                <a:gd name="connsiteX122" fmla="*/ 62733 w 134427"/>
                <a:gd name="connsiteY122" fmla="*/ 53771 h 89618"/>
                <a:gd name="connsiteX123" fmla="*/ 50783 w 134427"/>
                <a:gd name="connsiteY123" fmla="*/ 61239 h 89618"/>
                <a:gd name="connsiteX124" fmla="*/ 40328 w 134427"/>
                <a:gd name="connsiteY124" fmla="*/ 55265 h 89618"/>
                <a:gd name="connsiteX125" fmla="*/ 52277 w 134427"/>
                <a:gd name="connsiteY125" fmla="*/ 47796 h 89618"/>
                <a:gd name="connsiteX126" fmla="*/ 38835 w 134427"/>
                <a:gd name="connsiteY126" fmla="*/ 55265 h 89618"/>
                <a:gd name="connsiteX127" fmla="*/ 49290 w 134427"/>
                <a:gd name="connsiteY127" fmla="*/ 61239 h 89618"/>
                <a:gd name="connsiteX128" fmla="*/ 37341 w 134427"/>
                <a:gd name="connsiteY128" fmla="*/ 68707 h 89618"/>
                <a:gd name="connsiteX129" fmla="*/ 26885 w 134427"/>
                <a:gd name="connsiteY129" fmla="*/ 62733 h 89618"/>
                <a:gd name="connsiteX130" fmla="*/ 38835 w 134427"/>
                <a:gd name="connsiteY130" fmla="*/ 55265 h 89618"/>
                <a:gd name="connsiteX131" fmla="*/ 25392 w 134427"/>
                <a:gd name="connsiteY131" fmla="*/ 62733 h 89618"/>
                <a:gd name="connsiteX132" fmla="*/ 35847 w 134427"/>
                <a:gd name="connsiteY132" fmla="*/ 68707 h 89618"/>
                <a:gd name="connsiteX133" fmla="*/ 23898 w 134427"/>
                <a:gd name="connsiteY133" fmla="*/ 76175 h 89618"/>
                <a:gd name="connsiteX134" fmla="*/ 13443 w 134427"/>
                <a:gd name="connsiteY134" fmla="*/ 70201 h 89618"/>
                <a:gd name="connsiteX135" fmla="*/ 25392 w 134427"/>
                <a:gd name="connsiteY135" fmla="*/ 62733 h 89618"/>
                <a:gd name="connsiteX136" fmla="*/ 46303 w 134427"/>
                <a:gd name="connsiteY136" fmla="*/ 88124 h 89618"/>
                <a:gd name="connsiteX137" fmla="*/ 35847 w 134427"/>
                <a:gd name="connsiteY137" fmla="*/ 82150 h 89618"/>
                <a:gd name="connsiteX138" fmla="*/ 47796 w 134427"/>
                <a:gd name="connsiteY138" fmla="*/ 74682 h 89618"/>
                <a:gd name="connsiteX139" fmla="*/ 58252 w 134427"/>
                <a:gd name="connsiteY139" fmla="*/ 80656 h 89618"/>
                <a:gd name="connsiteX140" fmla="*/ 46303 w 134427"/>
                <a:gd name="connsiteY140" fmla="*/ 88124 h 89618"/>
                <a:gd name="connsiteX141" fmla="*/ 59745 w 134427"/>
                <a:gd name="connsiteY141" fmla="*/ 80656 h 89618"/>
                <a:gd name="connsiteX142" fmla="*/ 49290 w 134427"/>
                <a:gd name="connsiteY142" fmla="*/ 74682 h 89618"/>
                <a:gd name="connsiteX143" fmla="*/ 61239 w 134427"/>
                <a:gd name="connsiteY143" fmla="*/ 67214 h 89618"/>
                <a:gd name="connsiteX144" fmla="*/ 71694 w 134427"/>
                <a:gd name="connsiteY144" fmla="*/ 73188 h 89618"/>
                <a:gd name="connsiteX145" fmla="*/ 59745 w 134427"/>
                <a:gd name="connsiteY145" fmla="*/ 80656 h 89618"/>
                <a:gd name="connsiteX146" fmla="*/ 116504 w 134427"/>
                <a:gd name="connsiteY146" fmla="*/ 47796 h 89618"/>
                <a:gd name="connsiteX147" fmla="*/ 113516 w 134427"/>
                <a:gd name="connsiteY147" fmla="*/ 49290 h 89618"/>
                <a:gd name="connsiteX148" fmla="*/ 112023 w 134427"/>
                <a:gd name="connsiteY148" fmla="*/ 50783 h 89618"/>
                <a:gd name="connsiteX149" fmla="*/ 100073 w 134427"/>
                <a:gd name="connsiteY149" fmla="*/ 58252 h 89618"/>
                <a:gd name="connsiteX150" fmla="*/ 98580 w 134427"/>
                <a:gd name="connsiteY150" fmla="*/ 59745 h 89618"/>
                <a:gd name="connsiteX151" fmla="*/ 86631 w 134427"/>
                <a:gd name="connsiteY151" fmla="*/ 67214 h 89618"/>
                <a:gd name="connsiteX152" fmla="*/ 73188 w 134427"/>
                <a:gd name="connsiteY152" fmla="*/ 74682 h 89618"/>
                <a:gd name="connsiteX153" fmla="*/ 62733 w 134427"/>
                <a:gd name="connsiteY153" fmla="*/ 68707 h 89618"/>
                <a:gd name="connsiteX154" fmla="*/ 76175 w 134427"/>
                <a:gd name="connsiteY154" fmla="*/ 61239 h 89618"/>
                <a:gd name="connsiteX155" fmla="*/ 88124 w 134427"/>
                <a:gd name="connsiteY155" fmla="*/ 53771 h 89618"/>
                <a:gd name="connsiteX156" fmla="*/ 89618 w 134427"/>
                <a:gd name="connsiteY156" fmla="*/ 52277 h 89618"/>
                <a:gd name="connsiteX157" fmla="*/ 101567 w 134427"/>
                <a:gd name="connsiteY157" fmla="*/ 44809 h 89618"/>
                <a:gd name="connsiteX158" fmla="*/ 103061 w 134427"/>
                <a:gd name="connsiteY158" fmla="*/ 43315 h 89618"/>
                <a:gd name="connsiteX159" fmla="*/ 106048 w 134427"/>
                <a:gd name="connsiteY159" fmla="*/ 41822 h 89618"/>
                <a:gd name="connsiteX160" fmla="*/ 115010 w 134427"/>
                <a:gd name="connsiteY160" fmla="*/ 37341 h 89618"/>
                <a:gd name="connsiteX161" fmla="*/ 125465 w 134427"/>
                <a:gd name="connsiteY161" fmla="*/ 43315 h 89618"/>
                <a:gd name="connsiteX162" fmla="*/ 116504 w 134427"/>
                <a:gd name="connsiteY162" fmla="*/ 47796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134427" h="89618">
                  <a:moveTo>
                    <a:pt x="140402" y="34354"/>
                  </a:moveTo>
                  <a:lnTo>
                    <a:pt x="129946" y="28379"/>
                  </a:lnTo>
                  <a:lnTo>
                    <a:pt x="141895" y="20911"/>
                  </a:lnTo>
                  <a:lnTo>
                    <a:pt x="140402" y="19418"/>
                  </a:lnTo>
                  <a:lnTo>
                    <a:pt x="140402" y="19418"/>
                  </a:lnTo>
                  <a:lnTo>
                    <a:pt x="131440" y="23898"/>
                  </a:lnTo>
                  <a:lnTo>
                    <a:pt x="128453" y="25392"/>
                  </a:lnTo>
                  <a:lnTo>
                    <a:pt x="115010" y="32860"/>
                  </a:lnTo>
                  <a:lnTo>
                    <a:pt x="104554" y="26886"/>
                  </a:lnTo>
                  <a:lnTo>
                    <a:pt x="117997" y="19418"/>
                  </a:lnTo>
                  <a:lnTo>
                    <a:pt x="106048" y="13443"/>
                  </a:lnTo>
                  <a:lnTo>
                    <a:pt x="117997" y="5974"/>
                  </a:lnTo>
                  <a:lnTo>
                    <a:pt x="106048" y="0"/>
                  </a:lnTo>
                  <a:lnTo>
                    <a:pt x="116504" y="5974"/>
                  </a:lnTo>
                  <a:lnTo>
                    <a:pt x="104554" y="13443"/>
                  </a:lnTo>
                  <a:lnTo>
                    <a:pt x="94099" y="7468"/>
                  </a:lnTo>
                  <a:lnTo>
                    <a:pt x="92605" y="8962"/>
                  </a:lnTo>
                  <a:lnTo>
                    <a:pt x="103061" y="14936"/>
                  </a:lnTo>
                  <a:lnTo>
                    <a:pt x="91112" y="22405"/>
                  </a:lnTo>
                  <a:lnTo>
                    <a:pt x="80656" y="16430"/>
                  </a:lnTo>
                  <a:lnTo>
                    <a:pt x="79163" y="17924"/>
                  </a:lnTo>
                  <a:lnTo>
                    <a:pt x="89618" y="23898"/>
                  </a:lnTo>
                  <a:lnTo>
                    <a:pt x="77669" y="31366"/>
                  </a:lnTo>
                  <a:lnTo>
                    <a:pt x="67214" y="25392"/>
                  </a:lnTo>
                  <a:lnTo>
                    <a:pt x="65720" y="26886"/>
                  </a:lnTo>
                  <a:lnTo>
                    <a:pt x="76175" y="32860"/>
                  </a:lnTo>
                  <a:lnTo>
                    <a:pt x="64226" y="40328"/>
                  </a:lnTo>
                  <a:lnTo>
                    <a:pt x="53771" y="34354"/>
                  </a:lnTo>
                  <a:lnTo>
                    <a:pt x="53771" y="34354"/>
                  </a:lnTo>
                  <a:lnTo>
                    <a:pt x="52277" y="35847"/>
                  </a:lnTo>
                  <a:lnTo>
                    <a:pt x="62733" y="41822"/>
                  </a:lnTo>
                  <a:lnTo>
                    <a:pt x="50783" y="49290"/>
                  </a:lnTo>
                  <a:lnTo>
                    <a:pt x="40328" y="43315"/>
                  </a:lnTo>
                  <a:lnTo>
                    <a:pt x="38835" y="44809"/>
                  </a:lnTo>
                  <a:lnTo>
                    <a:pt x="49290" y="50783"/>
                  </a:lnTo>
                  <a:lnTo>
                    <a:pt x="37341" y="58252"/>
                  </a:lnTo>
                  <a:lnTo>
                    <a:pt x="26885" y="52277"/>
                  </a:lnTo>
                  <a:lnTo>
                    <a:pt x="25392" y="53771"/>
                  </a:lnTo>
                  <a:lnTo>
                    <a:pt x="35847" y="59745"/>
                  </a:lnTo>
                  <a:lnTo>
                    <a:pt x="23898" y="67214"/>
                  </a:lnTo>
                  <a:lnTo>
                    <a:pt x="13443" y="61239"/>
                  </a:lnTo>
                  <a:lnTo>
                    <a:pt x="11949" y="62733"/>
                  </a:lnTo>
                  <a:lnTo>
                    <a:pt x="22405" y="68707"/>
                  </a:lnTo>
                  <a:lnTo>
                    <a:pt x="10455" y="76175"/>
                  </a:lnTo>
                  <a:lnTo>
                    <a:pt x="0" y="70201"/>
                  </a:lnTo>
                  <a:lnTo>
                    <a:pt x="0" y="73188"/>
                  </a:lnTo>
                  <a:lnTo>
                    <a:pt x="44809" y="98580"/>
                  </a:lnTo>
                  <a:lnTo>
                    <a:pt x="58252" y="91112"/>
                  </a:lnTo>
                  <a:lnTo>
                    <a:pt x="58252" y="91112"/>
                  </a:lnTo>
                  <a:lnTo>
                    <a:pt x="70201" y="83644"/>
                  </a:lnTo>
                  <a:lnTo>
                    <a:pt x="70201" y="83644"/>
                  </a:lnTo>
                  <a:lnTo>
                    <a:pt x="97086" y="67214"/>
                  </a:lnTo>
                  <a:lnTo>
                    <a:pt x="98580" y="67214"/>
                  </a:lnTo>
                  <a:lnTo>
                    <a:pt x="98580" y="67214"/>
                  </a:lnTo>
                  <a:lnTo>
                    <a:pt x="110529" y="59745"/>
                  </a:lnTo>
                  <a:lnTo>
                    <a:pt x="110529" y="59745"/>
                  </a:lnTo>
                  <a:lnTo>
                    <a:pt x="112023" y="59745"/>
                  </a:lnTo>
                  <a:lnTo>
                    <a:pt x="119491" y="55265"/>
                  </a:lnTo>
                  <a:lnTo>
                    <a:pt x="122478" y="53771"/>
                  </a:lnTo>
                  <a:lnTo>
                    <a:pt x="122478" y="53771"/>
                  </a:lnTo>
                  <a:lnTo>
                    <a:pt x="123972" y="52277"/>
                  </a:lnTo>
                  <a:lnTo>
                    <a:pt x="123972" y="52277"/>
                  </a:lnTo>
                  <a:lnTo>
                    <a:pt x="132933" y="46303"/>
                  </a:lnTo>
                  <a:lnTo>
                    <a:pt x="147870" y="37341"/>
                  </a:lnTo>
                  <a:lnTo>
                    <a:pt x="147870" y="34354"/>
                  </a:lnTo>
                  <a:lnTo>
                    <a:pt x="140402" y="34354"/>
                  </a:lnTo>
                  <a:close/>
                  <a:moveTo>
                    <a:pt x="128453" y="29873"/>
                  </a:moveTo>
                  <a:lnTo>
                    <a:pt x="138908" y="35847"/>
                  </a:lnTo>
                  <a:lnTo>
                    <a:pt x="126959" y="43315"/>
                  </a:lnTo>
                  <a:lnTo>
                    <a:pt x="116504" y="37341"/>
                  </a:lnTo>
                  <a:lnTo>
                    <a:pt x="128453" y="29873"/>
                  </a:lnTo>
                  <a:close/>
                  <a:moveTo>
                    <a:pt x="113516" y="35847"/>
                  </a:moveTo>
                  <a:lnTo>
                    <a:pt x="101567" y="43315"/>
                  </a:lnTo>
                  <a:lnTo>
                    <a:pt x="91112" y="37341"/>
                  </a:lnTo>
                  <a:lnTo>
                    <a:pt x="103061" y="29873"/>
                  </a:lnTo>
                  <a:lnTo>
                    <a:pt x="113516" y="35847"/>
                  </a:lnTo>
                  <a:close/>
                  <a:moveTo>
                    <a:pt x="88124" y="50783"/>
                  </a:moveTo>
                  <a:lnTo>
                    <a:pt x="77669" y="44809"/>
                  </a:lnTo>
                  <a:lnTo>
                    <a:pt x="89618" y="37341"/>
                  </a:lnTo>
                  <a:lnTo>
                    <a:pt x="100073" y="43315"/>
                  </a:lnTo>
                  <a:lnTo>
                    <a:pt x="88124" y="50783"/>
                  </a:lnTo>
                  <a:close/>
                  <a:moveTo>
                    <a:pt x="74682" y="58252"/>
                  </a:moveTo>
                  <a:lnTo>
                    <a:pt x="64226" y="52277"/>
                  </a:lnTo>
                  <a:lnTo>
                    <a:pt x="76175" y="44809"/>
                  </a:lnTo>
                  <a:lnTo>
                    <a:pt x="86631" y="50783"/>
                  </a:lnTo>
                  <a:lnTo>
                    <a:pt x="74682" y="58252"/>
                  </a:lnTo>
                  <a:close/>
                  <a:moveTo>
                    <a:pt x="61239" y="65720"/>
                  </a:moveTo>
                  <a:lnTo>
                    <a:pt x="50783" y="59745"/>
                  </a:lnTo>
                  <a:lnTo>
                    <a:pt x="62733" y="52277"/>
                  </a:lnTo>
                  <a:lnTo>
                    <a:pt x="73188" y="58252"/>
                  </a:lnTo>
                  <a:lnTo>
                    <a:pt x="61239" y="65720"/>
                  </a:lnTo>
                  <a:close/>
                  <a:moveTo>
                    <a:pt x="49290" y="74682"/>
                  </a:moveTo>
                  <a:lnTo>
                    <a:pt x="38835" y="68707"/>
                  </a:lnTo>
                  <a:lnTo>
                    <a:pt x="50783" y="61239"/>
                  </a:lnTo>
                  <a:lnTo>
                    <a:pt x="61239" y="67214"/>
                  </a:lnTo>
                  <a:lnTo>
                    <a:pt x="49290" y="74682"/>
                  </a:lnTo>
                  <a:close/>
                  <a:moveTo>
                    <a:pt x="35847" y="82150"/>
                  </a:moveTo>
                  <a:lnTo>
                    <a:pt x="25392" y="76175"/>
                  </a:lnTo>
                  <a:lnTo>
                    <a:pt x="37341" y="68707"/>
                  </a:lnTo>
                  <a:lnTo>
                    <a:pt x="47796" y="74682"/>
                  </a:lnTo>
                  <a:lnTo>
                    <a:pt x="35847" y="82150"/>
                  </a:lnTo>
                  <a:close/>
                  <a:moveTo>
                    <a:pt x="106048" y="16430"/>
                  </a:moveTo>
                  <a:lnTo>
                    <a:pt x="116504" y="22405"/>
                  </a:lnTo>
                  <a:lnTo>
                    <a:pt x="104554" y="29873"/>
                  </a:lnTo>
                  <a:lnTo>
                    <a:pt x="94099" y="23898"/>
                  </a:lnTo>
                  <a:lnTo>
                    <a:pt x="106048" y="16430"/>
                  </a:lnTo>
                  <a:close/>
                  <a:moveTo>
                    <a:pt x="92605" y="23898"/>
                  </a:moveTo>
                  <a:lnTo>
                    <a:pt x="103061" y="29873"/>
                  </a:lnTo>
                  <a:lnTo>
                    <a:pt x="91112" y="37341"/>
                  </a:lnTo>
                  <a:lnTo>
                    <a:pt x="80656" y="31366"/>
                  </a:lnTo>
                  <a:lnTo>
                    <a:pt x="92605" y="23898"/>
                  </a:lnTo>
                  <a:close/>
                  <a:moveTo>
                    <a:pt x="79163" y="31366"/>
                  </a:moveTo>
                  <a:lnTo>
                    <a:pt x="89618" y="37341"/>
                  </a:lnTo>
                  <a:lnTo>
                    <a:pt x="77669" y="44809"/>
                  </a:lnTo>
                  <a:lnTo>
                    <a:pt x="67214" y="38835"/>
                  </a:lnTo>
                  <a:lnTo>
                    <a:pt x="79163" y="31366"/>
                  </a:lnTo>
                  <a:close/>
                  <a:moveTo>
                    <a:pt x="65720" y="38835"/>
                  </a:moveTo>
                  <a:lnTo>
                    <a:pt x="76175" y="44809"/>
                  </a:lnTo>
                  <a:lnTo>
                    <a:pt x="64226" y="52277"/>
                  </a:lnTo>
                  <a:lnTo>
                    <a:pt x="53771" y="46303"/>
                  </a:lnTo>
                  <a:lnTo>
                    <a:pt x="65720" y="38835"/>
                  </a:lnTo>
                  <a:close/>
                  <a:moveTo>
                    <a:pt x="52277" y="47796"/>
                  </a:moveTo>
                  <a:lnTo>
                    <a:pt x="62733" y="53771"/>
                  </a:lnTo>
                  <a:lnTo>
                    <a:pt x="50783" y="61239"/>
                  </a:lnTo>
                  <a:lnTo>
                    <a:pt x="40328" y="55265"/>
                  </a:lnTo>
                  <a:lnTo>
                    <a:pt x="52277" y="47796"/>
                  </a:lnTo>
                  <a:close/>
                  <a:moveTo>
                    <a:pt x="38835" y="55265"/>
                  </a:moveTo>
                  <a:lnTo>
                    <a:pt x="49290" y="61239"/>
                  </a:lnTo>
                  <a:lnTo>
                    <a:pt x="37341" y="68707"/>
                  </a:lnTo>
                  <a:lnTo>
                    <a:pt x="26885" y="62733"/>
                  </a:lnTo>
                  <a:lnTo>
                    <a:pt x="38835" y="55265"/>
                  </a:lnTo>
                  <a:close/>
                  <a:moveTo>
                    <a:pt x="25392" y="62733"/>
                  </a:moveTo>
                  <a:lnTo>
                    <a:pt x="35847" y="68707"/>
                  </a:lnTo>
                  <a:lnTo>
                    <a:pt x="23898" y="76175"/>
                  </a:lnTo>
                  <a:lnTo>
                    <a:pt x="13443" y="70201"/>
                  </a:lnTo>
                  <a:lnTo>
                    <a:pt x="25392" y="62733"/>
                  </a:lnTo>
                  <a:close/>
                  <a:moveTo>
                    <a:pt x="46303" y="88124"/>
                  </a:moveTo>
                  <a:lnTo>
                    <a:pt x="35847" y="82150"/>
                  </a:lnTo>
                  <a:lnTo>
                    <a:pt x="47796" y="74682"/>
                  </a:lnTo>
                  <a:lnTo>
                    <a:pt x="58252" y="80656"/>
                  </a:lnTo>
                  <a:lnTo>
                    <a:pt x="46303" y="88124"/>
                  </a:lnTo>
                  <a:close/>
                  <a:moveTo>
                    <a:pt x="59745" y="80656"/>
                  </a:moveTo>
                  <a:lnTo>
                    <a:pt x="49290" y="74682"/>
                  </a:lnTo>
                  <a:lnTo>
                    <a:pt x="61239" y="67214"/>
                  </a:lnTo>
                  <a:lnTo>
                    <a:pt x="71694" y="73188"/>
                  </a:lnTo>
                  <a:lnTo>
                    <a:pt x="59745" y="80656"/>
                  </a:lnTo>
                  <a:close/>
                  <a:moveTo>
                    <a:pt x="116504" y="47796"/>
                  </a:moveTo>
                  <a:lnTo>
                    <a:pt x="113516" y="49290"/>
                  </a:lnTo>
                  <a:lnTo>
                    <a:pt x="112023" y="50783"/>
                  </a:lnTo>
                  <a:lnTo>
                    <a:pt x="100073" y="58252"/>
                  </a:lnTo>
                  <a:lnTo>
                    <a:pt x="98580" y="59745"/>
                  </a:lnTo>
                  <a:lnTo>
                    <a:pt x="86631" y="67214"/>
                  </a:lnTo>
                  <a:lnTo>
                    <a:pt x="73188" y="74682"/>
                  </a:lnTo>
                  <a:lnTo>
                    <a:pt x="62733" y="68707"/>
                  </a:lnTo>
                  <a:lnTo>
                    <a:pt x="76175" y="61239"/>
                  </a:lnTo>
                  <a:lnTo>
                    <a:pt x="88124" y="53771"/>
                  </a:lnTo>
                  <a:lnTo>
                    <a:pt x="89618" y="52277"/>
                  </a:lnTo>
                  <a:lnTo>
                    <a:pt x="101567" y="44809"/>
                  </a:lnTo>
                  <a:lnTo>
                    <a:pt x="103061" y="43315"/>
                  </a:lnTo>
                  <a:lnTo>
                    <a:pt x="106048" y="41822"/>
                  </a:lnTo>
                  <a:lnTo>
                    <a:pt x="115010" y="37341"/>
                  </a:lnTo>
                  <a:lnTo>
                    <a:pt x="125465" y="43315"/>
                  </a:lnTo>
                  <a:lnTo>
                    <a:pt x="116504" y="47796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3" name="任意多边形: 形状 10232"/>
            <p:cNvSpPr/>
            <p:nvPr/>
          </p:nvSpPr>
          <p:spPr>
            <a:xfrm>
              <a:off x="6819513" y="4845409"/>
              <a:ext cx="14936" cy="14936"/>
            </a:xfrm>
            <a:custGeom>
              <a:avLst/>
              <a:gdLst>
                <a:gd name="connsiteX0" fmla="*/ 8962 w 14936"/>
                <a:gd name="connsiteY0" fmla="*/ 13443 h 0"/>
                <a:gd name="connsiteX1" fmla="*/ 20911 w 14936"/>
                <a:gd name="connsiteY1" fmla="*/ 5974 h 0"/>
                <a:gd name="connsiteX2" fmla="*/ 11949 w 14936"/>
                <a:gd name="connsiteY2" fmla="*/ 0 h 0"/>
                <a:gd name="connsiteX3" fmla="*/ 11949 w 14936"/>
                <a:gd name="connsiteY3" fmla="*/ 0 h 0"/>
                <a:gd name="connsiteX4" fmla="*/ 0 w 14936"/>
                <a:gd name="connsiteY4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>
                  <a:moveTo>
                    <a:pt x="8962" y="13443"/>
                  </a:moveTo>
                  <a:lnTo>
                    <a:pt x="20911" y="5974"/>
                  </a:lnTo>
                  <a:lnTo>
                    <a:pt x="11949" y="0"/>
                  </a:lnTo>
                  <a:lnTo>
                    <a:pt x="11949" y="0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4" name="任意多边形: 形状 10233"/>
            <p:cNvSpPr/>
            <p:nvPr/>
          </p:nvSpPr>
          <p:spPr>
            <a:xfrm>
              <a:off x="6832956" y="4837941"/>
              <a:ext cx="14936" cy="14936"/>
            </a:xfrm>
            <a:custGeom>
              <a:avLst/>
              <a:gdLst>
                <a:gd name="connsiteX0" fmla="*/ 8962 w 14936"/>
                <a:gd name="connsiteY0" fmla="*/ 13443 h 0"/>
                <a:gd name="connsiteX1" fmla="*/ 20911 w 14936"/>
                <a:gd name="connsiteY1" fmla="*/ 5974 h 0"/>
                <a:gd name="connsiteX2" fmla="*/ 10455 w 14936"/>
                <a:gd name="connsiteY2" fmla="*/ 0 h 0"/>
                <a:gd name="connsiteX3" fmla="*/ 10455 w 14936"/>
                <a:gd name="connsiteY3" fmla="*/ 0 h 0"/>
                <a:gd name="connsiteX4" fmla="*/ 0 w 14936"/>
                <a:gd name="connsiteY4" fmla="*/ 7468 h 0"/>
                <a:gd name="connsiteX5" fmla="*/ 0 w 14936"/>
                <a:gd name="connsiteY5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>
                  <a:moveTo>
                    <a:pt x="8962" y="13443"/>
                  </a:moveTo>
                  <a:lnTo>
                    <a:pt x="20911" y="5974"/>
                  </a:lnTo>
                  <a:lnTo>
                    <a:pt x="10455" y="0"/>
                  </a:lnTo>
                  <a:lnTo>
                    <a:pt x="10455" y="0"/>
                  </a:lnTo>
                  <a:lnTo>
                    <a:pt x="0" y="7468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5" name="任意多边形: 形状 10234"/>
            <p:cNvSpPr/>
            <p:nvPr/>
          </p:nvSpPr>
          <p:spPr>
            <a:xfrm>
              <a:off x="6846399" y="4830472"/>
              <a:ext cx="14936" cy="14936"/>
            </a:xfrm>
            <a:custGeom>
              <a:avLst/>
              <a:gdLst>
                <a:gd name="connsiteX0" fmla="*/ 8962 w 14936"/>
                <a:gd name="connsiteY0" fmla="*/ 11949 h 0"/>
                <a:gd name="connsiteX1" fmla="*/ 20911 w 14936"/>
                <a:gd name="connsiteY1" fmla="*/ 5974 h 0"/>
                <a:gd name="connsiteX2" fmla="*/ 10455 w 14936"/>
                <a:gd name="connsiteY2" fmla="*/ 0 h 0"/>
                <a:gd name="connsiteX3" fmla="*/ 10455 w 14936"/>
                <a:gd name="connsiteY3" fmla="*/ 0 h 0"/>
                <a:gd name="connsiteX4" fmla="*/ 0 w 14936"/>
                <a:gd name="connsiteY4" fmla="*/ 7468 h 0"/>
                <a:gd name="connsiteX5" fmla="*/ 0 w 14936"/>
                <a:gd name="connsiteY5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>
                  <a:moveTo>
                    <a:pt x="8962" y="11949"/>
                  </a:moveTo>
                  <a:lnTo>
                    <a:pt x="20911" y="5974"/>
                  </a:lnTo>
                  <a:lnTo>
                    <a:pt x="10455" y="0"/>
                  </a:lnTo>
                  <a:lnTo>
                    <a:pt x="10455" y="0"/>
                  </a:lnTo>
                  <a:lnTo>
                    <a:pt x="0" y="7468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6" name="任意多边形: 形状 10235"/>
            <p:cNvSpPr/>
            <p:nvPr/>
          </p:nvSpPr>
          <p:spPr>
            <a:xfrm>
              <a:off x="6859841" y="4823004"/>
              <a:ext cx="14936" cy="14936"/>
            </a:xfrm>
            <a:custGeom>
              <a:avLst/>
              <a:gdLst>
                <a:gd name="connsiteX0" fmla="*/ 8962 w 14936"/>
                <a:gd name="connsiteY0" fmla="*/ 11949 h 0"/>
                <a:gd name="connsiteX1" fmla="*/ 20911 w 14936"/>
                <a:gd name="connsiteY1" fmla="*/ 5974 h 0"/>
                <a:gd name="connsiteX2" fmla="*/ 10456 w 14936"/>
                <a:gd name="connsiteY2" fmla="*/ 0 h 0"/>
                <a:gd name="connsiteX3" fmla="*/ 10456 w 14936"/>
                <a:gd name="connsiteY3" fmla="*/ 0 h 0"/>
                <a:gd name="connsiteX4" fmla="*/ 0 w 14936"/>
                <a:gd name="connsiteY4" fmla="*/ 7468 h 0"/>
                <a:gd name="connsiteX5" fmla="*/ 0 w 14936"/>
                <a:gd name="connsiteY5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>
                  <a:moveTo>
                    <a:pt x="8962" y="11949"/>
                  </a:moveTo>
                  <a:lnTo>
                    <a:pt x="20911" y="5974"/>
                  </a:lnTo>
                  <a:lnTo>
                    <a:pt x="10456" y="0"/>
                  </a:lnTo>
                  <a:lnTo>
                    <a:pt x="10456" y="0"/>
                  </a:lnTo>
                  <a:lnTo>
                    <a:pt x="0" y="7468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7" name="任意多边形: 形状 10236"/>
            <p:cNvSpPr/>
            <p:nvPr/>
          </p:nvSpPr>
          <p:spPr>
            <a:xfrm>
              <a:off x="6871790" y="4815536"/>
              <a:ext cx="14936" cy="14936"/>
            </a:xfrm>
            <a:custGeom>
              <a:avLst/>
              <a:gdLst>
                <a:gd name="connsiteX0" fmla="*/ 10455 w 14936"/>
                <a:gd name="connsiteY0" fmla="*/ 11949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11949 w 14936"/>
                <a:gd name="connsiteY3" fmla="*/ 0 h 0"/>
                <a:gd name="connsiteX4" fmla="*/ 1494 w 14936"/>
                <a:gd name="connsiteY4" fmla="*/ 5974 h 0"/>
                <a:gd name="connsiteX5" fmla="*/ 0 w 14936"/>
                <a:gd name="connsiteY5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>
                  <a:moveTo>
                    <a:pt x="10455" y="11949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11949" y="0"/>
                  </a:lnTo>
                  <a:lnTo>
                    <a:pt x="1494" y="5974"/>
                  </a:lnTo>
                  <a:lnTo>
                    <a:pt x="0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8" name="任意多边形: 形状 10237"/>
            <p:cNvSpPr/>
            <p:nvPr/>
          </p:nvSpPr>
          <p:spPr>
            <a:xfrm>
              <a:off x="6885233" y="4808068"/>
              <a:ext cx="14936" cy="14936"/>
            </a:xfrm>
            <a:custGeom>
              <a:avLst/>
              <a:gdLst>
                <a:gd name="connsiteX0" fmla="*/ 10455 w 14936"/>
                <a:gd name="connsiteY0" fmla="*/ 11949 h 0"/>
                <a:gd name="connsiteX1" fmla="*/ 22405 w 14936"/>
                <a:gd name="connsiteY1" fmla="*/ 4481 h 0"/>
                <a:gd name="connsiteX2" fmla="*/ 11949 w 14936"/>
                <a:gd name="connsiteY2" fmla="*/ 0 h 0"/>
                <a:gd name="connsiteX3" fmla="*/ 11949 w 14936"/>
                <a:gd name="connsiteY3" fmla="*/ 0 h 0"/>
                <a:gd name="connsiteX4" fmla="*/ 0 w 14936"/>
                <a:gd name="connsiteY4" fmla="*/ 5974 h 0"/>
                <a:gd name="connsiteX5" fmla="*/ 0 w 14936"/>
                <a:gd name="connsiteY5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>
                  <a:moveTo>
                    <a:pt x="10455" y="11949"/>
                  </a:moveTo>
                  <a:lnTo>
                    <a:pt x="22405" y="4481"/>
                  </a:lnTo>
                  <a:lnTo>
                    <a:pt x="11949" y="0"/>
                  </a:lnTo>
                  <a:lnTo>
                    <a:pt x="11949" y="0"/>
                  </a:lnTo>
                  <a:lnTo>
                    <a:pt x="0" y="5974"/>
                  </a:lnTo>
                  <a:lnTo>
                    <a:pt x="0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9" name="任意多边形: 形状 10238"/>
            <p:cNvSpPr/>
            <p:nvPr/>
          </p:nvSpPr>
          <p:spPr>
            <a:xfrm>
              <a:off x="6898676" y="4799106"/>
              <a:ext cx="14936" cy="14936"/>
            </a:xfrm>
            <a:custGeom>
              <a:avLst/>
              <a:gdLst>
                <a:gd name="connsiteX0" fmla="*/ 10455 w 14936"/>
                <a:gd name="connsiteY0" fmla="*/ 13443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11949 w 14936"/>
                <a:gd name="connsiteY3" fmla="*/ 0 h 0"/>
                <a:gd name="connsiteX4" fmla="*/ 0 w 14936"/>
                <a:gd name="connsiteY4" fmla="*/ 7468 h 0"/>
                <a:gd name="connsiteX5" fmla="*/ 0 w 14936"/>
                <a:gd name="connsiteY5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>
                  <a:moveTo>
                    <a:pt x="10455" y="13443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11949" y="0"/>
                  </a:lnTo>
                  <a:lnTo>
                    <a:pt x="0" y="7468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0" name="任意多边形: 形状 10239"/>
            <p:cNvSpPr/>
            <p:nvPr/>
          </p:nvSpPr>
          <p:spPr>
            <a:xfrm>
              <a:off x="6912118" y="4791638"/>
              <a:ext cx="14936" cy="14936"/>
            </a:xfrm>
            <a:custGeom>
              <a:avLst/>
              <a:gdLst>
                <a:gd name="connsiteX0" fmla="*/ 10456 w 14936"/>
                <a:gd name="connsiteY0" fmla="*/ 13443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0 w 14936"/>
                <a:gd name="connsiteY3" fmla="*/ 7468 h 0"/>
                <a:gd name="connsiteX4" fmla="*/ 0 w 14936"/>
                <a:gd name="connsiteY4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>
                  <a:moveTo>
                    <a:pt x="10456" y="13443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0" y="7468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1" name="任意多边形: 形状 10240"/>
            <p:cNvSpPr/>
            <p:nvPr/>
          </p:nvSpPr>
          <p:spPr>
            <a:xfrm>
              <a:off x="6829968" y="4852877"/>
              <a:ext cx="14936" cy="14936"/>
            </a:xfrm>
            <a:custGeom>
              <a:avLst/>
              <a:gdLst>
                <a:gd name="connsiteX0" fmla="*/ 10456 w 14936"/>
                <a:gd name="connsiteY0" fmla="*/ 11949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0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0456" y="11949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0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2" name="任意多边形: 形状 10241"/>
            <p:cNvSpPr/>
            <p:nvPr/>
          </p:nvSpPr>
          <p:spPr>
            <a:xfrm>
              <a:off x="6843411" y="4845409"/>
              <a:ext cx="14936" cy="14936"/>
            </a:xfrm>
            <a:custGeom>
              <a:avLst/>
              <a:gdLst>
                <a:gd name="connsiteX0" fmla="*/ 10455 w 14936"/>
                <a:gd name="connsiteY0" fmla="*/ 11949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0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0455" y="11949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0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3" name="任意多边形: 形状 10242"/>
            <p:cNvSpPr/>
            <p:nvPr/>
          </p:nvSpPr>
          <p:spPr>
            <a:xfrm>
              <a:off x="6856854" y="4837941"/>
              <a:ext cx="14936" cy="14936"/>
            </a:xfrm>
            <a:custGeom>
              <a:avLst/>
              <a:gdLst>
                <a:gd name="connsiteX0" fmla="*/ 10455 w 14936"/>
                <a:gd name="connsiteY0" fmla="*/ 11949 h 0"/>
                <a:gd name="connsiteX1" fmla="*/ 22405 w 14936"/>
                <a:gd name="connsiteY1" fmla="*/ 4481 h 0"/>
                <a:gd name="connsiteX2" fmla="*/ 11949 w 14936"/>
                <a:gd name="connsiteY2" fmla="*/ 0 h 0"/>
                <a:gd name="connsiteX3" fmla="*/ 0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0455" y="11949"/>
                  </a:moveTo>
                  <a:lnTo>
                    <a:pt x="22405" y="4481"/>
                  </a:lnTo>
                  <a:lnTo>
                    <a:pt x="11949" y="0"/>
                  </a:lnTo>
                  <a:lnTo>
                    <a:pt x="0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4" name="任意多边形: 形状 10243"/>
            <p:cNvSpPr/>
            <p:nvPr/>
          </p:nvSpPr>
          <p:spPr>
            <a:xfrm>
              <a:off x="6870297" y="4828979"/>
              <a:ext cx="14936" cy="14936"/>
            </a:xfrm>
            <a:custGeom>
              <a:avLst/>
              <a:gdLst>
                <a:gd name="connsiteX0" fmla="*/ 10455 w 14936"/>
                <a:gd name="connsiteY0" fmla="*/ 13443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0 w 14936"/>
                <a:gd name="connsiteY3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0455" y="13443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5" name="任意多边形: 形状 10244"/>
            <p:cNvSpPr/>
            <p:nvPr/>
          </p:nvSpPr>
          <p:spPr>
            <a:xfrm>
              <a:off x="6883739" y="4821510"/>
              <a:ext cx="14936" cy="14936"/>
            </a:xfrm>
            <a:custGeom>
              <a:avLst/>
              <a:gdLst>
                <a:gd name="connsiteX0" fmla="*/ 10455 w 14936"/>
                <a:gd name="connsiteY0" fmla="*/ 13443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0 w 14936"/>
                <a:gd name="connsiteY3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0455" y="13443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6" name="任意多边形: 形状 10245"/>
            <p:cNvSpPr/>
            <p:nvPr/>
          </p:nvSpPr>
          <p:spPr>
            <a:xfrm>
              <a:off x="6897182" y="4814042"/>
              <a:ext cx="14936" cy="14936"/>
            </a:xfrm>
            <a:custGeom>
              <a:avLst/>
              <a:gdLst>
                <a:gd name="connsiteX0" fmla="*/ 10456 w 14936"/>
                <a:gd name="connsiteY0" fmla="*/ 11949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0 w 14936"/>
                <a:gd name="connsiteY3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0456" y="11949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7" name="任意多边形: 形状 10246"/>
            <p:cNvSpPr/>
            <p:nvPr/>
          </p:nvSpPr>
          <p:spPr>
            <a:xfrm>
              <a:off x="6910625" y="4806574"/>
              <a:ext cx="14936" cy="14936"/>
            </a:xfrm>
            <a:custGeom>
              <a:avLst/>
              <a:gdLst>
                <a:gd name="connsiteX0" fmla="*/ 10455 w 14936"/>
                <a:gd name="connsiteY0" fmla="*/ 11949 h 0"/>
                <a:gd name="connsiteX1" fmla="*/ 20911 w 14936"/>
                <a:gd name="connsiteY1" fmla="*/ 5974 h 0"/>
                <a:gd name="connsiteX2" fmla="*/ 11949 w 14936"/>
                <a:gd name="connsiteY2" fmla="*/ 0 h 0"/>
                <a:gd name="connsiteX3" fmla="*/ 0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0455" y="11949"/>
                  </a:moveTo>
                  <a:lnTo>
                    <a:pt x="20911" y="5974"/>
                  </a:lnTo>
                  <a:lnTo>
                    <a:pt x="11949" y="0"/>
                  </a:lnTo>
                  <a:lnTo>
                    <a:pt x="0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8" name="任意多边形: 形状 10247"/>
            <p:cNvSpPr/>
            <p:nvPr/>
          </p:nvSpPr>
          <p:spPr>
            <a:xfrm>
              <a:off x="6841918" y="4858851"/>
              <a:ext cx="14936" cy="14936"/>
            </a:xfrm>
            <a:custGeom>
              <a:avLst/>
              <a:gdLst>
                <a:gd name="connsiteX0" fmla="*/ 11949 w 14936"/>
                <a:gd name="connsiteY0" fmla="*/ 0 h 0"/>
                <a:gd name="connsiteX1" fmla="*/ 0 w 14936"/>
                <a:gd name="connsiteY1" fmla="*/ 7468 h 0"/>
                <a:gd name="connsiteX2" fmla="*/ 10455 w 14936"/>
                <a:gd name="connsiteY2" fmla="*/ 13443 h 0"/>
                <a:gd name="connsiteX3" fmla="*/ 20911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0" y="7468"/>
                  </a:lnTo>
                  <a:lnTo>
                    <a:pt x="10455" y="13443"/>
                  </a:lnTo>
                  <a:lnTo>
                    <a:pt x="20911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9" name="任意多边形: 形状 10248"/>
            <p:cNvSpPr/>
            <p:nvPr/>
          </p:nvSpPr>
          <p:spPr>
            <a:xfrm>
              <a:off x="6855360" y="4851383"/>
              <a:ext cx="14936" cy="14936"/>
            </a:xfrm>
            <a:custGeom>
              <a:avLst/>
              <a:gdLst>
                <a:gd name="connsiteX0" fmla="*/ 11949 w 14936"/>
                <a:gd name="connsiteY0" fmla="*/ 0 h 0"/>
                <a:gd name="connsiteX1" fmla="*/ 0 w 14936"/>
                <a:gd name="connsiteY1" fmla="*/ 7468 h 0"/>
                <a:gd name="connsiteX2" fmla="*/ 10455 w 14936"/>
                <a:gd name="connsiteY2" fmla="*/ 13443 h 0"/>
                <a:gd name="connsiteX3" fmla="*/ 20911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0" y="7468"/>
                  </a:lnTo>
                  <a:lnTo>
                    <a:pt x="10455" y="13443"/>
                  </a:lnTo>
                  <a:lnTo>
                    <a:pt x="20911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0" name="任意多边形: 形状 10249"/>
            <p:cNvSpPr/>
            <p:nvPr/>
          </p:nvSpPr>
          <p:spPr>
            <a:xfrm>
              <a:off x="6868803" y="4843915"/>
              <a:ext cx="14936" cy="14936"/>
            </a:xfrm>
            <a:custGeom>
              <a:avLst/>
              <a:gdLst>
                <a:gd name="connsiteX0" fmla="*/ 11949 w 14936"/>
                <a:gd name="connsiteY0" fmla="*/ 0 h 0"/>
                <a:gd name="connsiteX1" fmla="*/ 0 w 14936"/>
                <a:gd name="connsiteY1" fmla="*/ 7468 h 0"/>
                <a:gd name="connsiteX2" fmla="*/ 8962 w 14936"/>
                <a:gd name="connsiteY2" fmla="*/ 11949 h 0"/>
                <a:gd name="connsiteX3" fmla="*/ 20911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0" y="7468"/>
                  </a:lnTo>
                  <a:lnTo>
                    <a:pt x="8962" y="11949"/>
                  </a:lnTo>
                  <a:lnTo>
                    <a:pt x="20911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1" name="任意多边形: 形状 10250"/>
            <p:cNvSpPr/>
            <p:nvPr/>
          </p:nvSpPr>
          <p:spPr>
            <a:xfrm>
              <a:off x="6882246" y="4836447"/>
              <a:ext cx="14936" cy="14936"/>
            </a:xfrm>
            <a:custGeom>
              <a:avLst/>
              <a:gdLst>
                <a:gd name="connsiteX0" fmla="*/ 11949 w 14936"/>
                <a:gd name="connsiteY0" fmla="*/ 0 h 0"/>
                <a:gd name="connsiteX1" fmla="*/ 0 w 14936"/>
                <a:gd name="connsiteY1" fmla="*/ 5974 h 0"/>
                <a:gd name="connsiteX2" fmla="*/ 8962 w 14936"/>
                <a:gd name="connsiteY2" fmla="*/ 11949 h 0"/>
                <a:gd name="connsiteX3" fmla="*/ 20911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0" y="5974"/>
                  </a:lnTo>
                  <a:lnTo>
                    <a:pt x="8962" y="11949"/>
                  </a:lnTo>
                  <a:lnTo>
                    <a:pt x="20911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2" name="任意多边形: 形状 10251"/>
            <p:cNvSpPr/>
            <p:nvPr/>
          </p:nvSpPr>
          <p:spPr>
            <a:xfrm>
              <a:off x="6895688" y="4828979"/>
              <a:ext cx="14936" cy="14936"/>
            </a:xfrm>
            <a:custGeom>
              <a:avLst/>
              <a:gdLst>
                <a:gd name="connsiteX0" fmla="*/ 11949 w 14936"/>
                <a:gd name="connsiteY0" fmla="*/ 0 h 0"/>
                <a:gd name="connsiteX1" fmla="*/ 0 w 14936"/>
                <a:gd name="connsiteY1" fmla="*/ 5974 h 0"/>
                <a:gd name="connsiteX2" fmla="*/ 8962 w 14936"/>
                <a:gd name="connsiteY2" fmla="*/ 11949 h 0"/>
                <a:gd name="connsiteX3" fmla="*/ 20911 w 14936"/>
                <a:gd name="connsiteY3" fmla="*/ 448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0" y="5974"/>
                  </a:lnTo>
                  <a:lnTo>
                    <a:pt x="8962" y="11949"/>
                  </a:lnTo>
                  <a:lnTo>
                    <a:pt x="20911" y="4481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3" name="任意多边形: 形状 10252"/>
            <p:cNvSpPr/>
            <p:nvPr/>
          </p:nvSpPr>
          <p:spPr>
            <a:xfrm>
              <a:off x="6909131" y="4821510"/>
              <a:ext cx="14936" cy="14936"/>
            </a:xfrm>
            <a:custGeom>
              <a:avLst/>
              <a:gdLst>
                <a:gd name="connsiteX0" fmla="*/ 0 w 14936"/>
                <a:gd name="connsiteY0" fmla="*/ 5974 h 0"/>
                <a:gd name="connsiteX1" fmla="*/ 8962 w 14936"/>
                <a:gd name="connsiteY1" fmla="*/ 11949 h 0"/>
                <a:gd name="connsiteX2" fmla="*/ 20911 w 14936"/>
                <a:gd name="connsiteY2" fmla="*/ 4481 h 0"/>
                <a:gd name="connsiteX3" fmla="*/ 11949 w 14936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0" y="5974"/>
                  </a:moveTo>
                  <a:lnTo>
                    <a:pt x="8962" y="11949"/>
                  </a:lnTo>
                  <a:lnTo>
                    <a:pt x="20911" y="4481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4" name="任意多边形: 形状 10253"/>
            <p:cNvSpPr/>
            <p:nvPr/>
          </p:nvSpPr>
          <p:spPr>
            <a:xfrm>
              <a:off x="6922574" y="4799106"/>
              <a:ext cx="29873" cy="14936"/>
            </a:xfrm>
            <a:custGeom>
              <a:avLst/>
              <a:gdLst>
                <a:gd name="connsiteX0" fmla="*/ 1493 w 29872"/>
                <a:gd name="connsiteY0" fmla="*/ 5974 h 14936"/>
                <a:gd name="connsiteX1" fmla="*/ 13443 w 29872"/>
                <a:gd name="connsiteY1" fmla="*/ 13443 h 14936"/>
                <a:gd name="connsiteX2" fmla="*/ 0 w 29872"/>
                <a:gd name="connsiteY2" fmla="*/ 20911 h 14936"/>
                <a:gd name="connsiteX3" fmla="*/ 8962 w 29872"/>
                <a:gd name="connsiteY3" fmla="*/ 26885 h 14936"/>
                <a:gd name="connsiteX4" fmla="*/ 22405 w 29872"/>
                <a:gd name="connsiteY4" fmla="*/ 19417 h 14936"/>
                <a:gd name="connsiteX5" fmla="*/ 25392 w 29872"/>
                <a:gd name="connsiteY5" fmla="*/ 16430 h 14936"/>
                <a:gd name="connsiteX6" fmla="*/ 34353 w 29872"/>
                <a:gd name="connsiteY6" fmla="*/ 11949 h 14936"/>
                <a:gd name="connsiteX7" fmla="*/ 34353 w 29872"/>
                <a:gd name="connsiteY7" fmla="*/ 11949 h 14936"/>
                <a:gd name="connsiteX8" fmla="*/ 26885 w 29872"/>
                <a:gd name="connsiteY8" fmla="*/ 7468 h 14936"/>
                <a:gd name="connsiteX9" fmla="*/ 25392 w 29872"/>
                <a:gd name="connsiteY9" fmla="*/ 5974 h 14936"/>
                <a:gd name="connsiteX10" fmla="*/ 13443 w 29872"/>
                <a:gd name="connsiteY10" fmla="*/ 0 h 14936"/>
                <a:gd name="connsiteX11" fmla="*/ 13443 w 29872"/>
                <a:gd name="connsiteY11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872" h="14936">
                  <a:moveTo>
                    <a:pt x="1493" y="5974"/>
                  </a:moveTo>
                  <a:lnTo>
                    <a:pt x="13443" y="13443"/>
                  </a:lnTo>
                  <a:lnTo>
                    <a:pt x="0" y="20911"/>
                  </a:lnTo>
                  <a:lnTo>
                    <a:pt x="8962" y="26885"/>
                  </a:lnTo>
                  <a:lnTo>
                    <a:pt x="22405" y="19417"/>
                  </a:lnTo>
                  <a:lnTo>
                    <a:pt x="25392" y="16430"/>
                  </a:lnTo>
                  <a:lnTo>
                    <a:pt x="34353" y="11949"/>
                  </a:lnTo>
                  <a:lnTo>
                    <a:pt x="34353" y="11949"/>
                  </a:lnTo>
                  <a:lnTo>
                    <a:pt x="26885" y="7468"/>
                  </a:lnTo>
                  <a:lnTo>
                    <a:pt x="25392" y="5974"/>
                  </a:lnTo>
                  <a:lnTo>
                    <a:pt x="13443" y="0"/>
                  </a:lnTo>
                  <a:lnTo>
                    <a:pt x="13443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5" name="任意多边形: 形状 10254"/>
            <p:cNvSpPr/>
            <p:nvPr/>
          </p:nvSpPr>
          <p:spPr>
            <a:xfrm>
              <a:off x="6853867" y="4866320"/>
              <a:ext cx="14936" cy="14936"/>
            </a:xfrm>
            <a:custGeom>
              <a:avLst/>
              <a:gdLst>
                <a:gd name="connsiteX0" fmla="*/ 11949 w 14936"/>
                <a:gd name="connsiteY0" fmla="*/ 0 h 0"/>
                <a:gd name="connsiteX1" fmla="*/ 0 w 14936"/>
                <a:gd name="connsiteY1" fmla="*/ 5974 h 0"/>
                <a:gd name="connsiteX2" fmla="*/ 8962 w 14936"/>
                <a:gd name="connsiteY2" fmla="*/ 11949 h 0"/>
                <a:gd name="connsiteX3" fmla="*/ 20911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0" y="5974"/>
                  </a:lnTo>
                  <a:lnTo>
                    <a:pt x="8962" y="11949"/>
                  </a:lnTo>
                  <a:lnTo>
                    <a:pt x="20911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6" name="任意多边形: 形状 10255"/>
            <p:cNvSpPr/>
            <p:nvPr/>
          </p:nvSpPr>
          <p:spPr>
            <a:xfrm>
              <a:off x="6867309" y="4858851"/>
              <a:ext cx="14936" cy="14936"/>
            </a:xfrm>
            <a:custGeom>
              <a:avLst/>
              <a:gdLst>
                <a:gd name="connsiteX0" fmla="*/ 20911 w 14936"/>
                <a:gd name="connsiteY0" fmla="*/ 4481 h 0"/>
                <a:gd name="connsiteX1" fmla="*/ 10456 w 14936"/>
                <a:gd name="connsiteY1" fmla="*/ 0 h 0"/>
                <a:gd name="connsiteX2" fmla="*/ 0 w 14936"/>
                <a:gd name="connsiteY2" fmla="*/ 5974 h 0"/>
                <a:gd name="connsiteX3" fmla="*/ 8962 w 14936"/>
                <a:gd name="connsiteY3" fmla="*/ 1194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20911" y="4481"/>
                  </a:moveTo>
                  <a:lnTo>
                    <a:pt x="10456" y="0"/>
                  </a:lnTo>
                  <a:lnTo>
                    <a:pt x="0" y="5974"/>
                  </a:lnTo>
                  <a:lnTo>
                    <a:pt x="8962" y="11949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7" name="任意多边形: 形状 10256"/>
            <p:cNvSpPr/>
            <p:nvPr/>
          </p:nvSpPr>
          <p:spPr>
            <a:xfrm>
              <a:off x="6880752" y="4827485"/>
              <a:ext cx="59745" cy="29873"/>
            </a:xfrm>
            <a:custGeom>
              <a:avLst/>
              <a:gdLst>
                <a:gd name="connsiteX0" fmla="*/ 50783 w 59745"/>
                <a:gd name="connsiteY0" fmla="*/ 0 h 29872"/>
                <a:gd name="connsiteX1" fmla="*/ 43315 w 59745"/>
                <a:gd name="connsiteY1" fmla="*/ 4481 h 29872"/>
                <a:gd name="connsiteX2" fmla="*/ 38834 w 59745"/>
                <a:gd name="connsiteY2" fmla="*/ 5974 h 29872"/>
                <a:gd name="connsiteX3" fmla="*/ 37341 w 59745"/>
                <a:gd name="connsiteY3" fmla="*/ 7468 h 29872"/>
                <a:gd name="connsiteX4" fmla="*/ 25392 w 59745"/>
                <a:gd name="connsiteY4" fmla="*/ 14936 h 29872"/>
                <a:gd name="connsiteX5" fmla="*/ 23898 w 59745"/>
                <a:gd name="connsiteY5" fmla="*/ 14936 h 29872"/>
                <a:gd name="connsiteX6" fmla="*/ 13443 w 59745"/>
                <a:gd name="connsiteY6" fmla="*/ 22405 h 29872"/>
                <a:gd name="connsiteX7" fmla="*/ 0 w 59745"/>
                <a:gd name="connsiteY7" fmla="*/ 29873 h 29872"/>
                <a:gd name="connsiteX8" fmla="*/ 8962 w 59745"/>
                <a:gd name="connsiteY8" fmla="*/ 35847 h 29872"/>
                <a:gd name="connsiteX9" fmla="*/ 22405 w 59745"/>
                <a:gd name="connsiteY9" fmla="*/ 28379 h 29872"/>
                <a:gd name="connsiteX10" fmla="*/ 34354 w 59745"/>
                <a:gd name="connsiteY10" fmla="*/ 20911 h 29872"/>
                <a:gd name="connsiteX11" fmla="*/ 35847 w 59745"/>
                <a:gd name="connsiteY11" fmla="*/ 19418 h 29872"/>
                <a:gd name="connsiteX12" fmla="*/ 47796 w 59745"/>
                <a:gd name="connsiteY12" fmla="*/ 13443 h 29872"/>
                <a:gd name="connsiteX13" fmla="*/ 49290 w 59745"/>
                <a:gd name="connsiteY13" fmla="*/ 11949 h 29872"/>
                <a:gd name="connsiteX14" fmla="*/ 52277 w 59745"/>
                <a:gd name="connsiteY14" fmla="*/ 10456 h 29872"/>
                <a:gd name="connsiteX15" fmla="*/ 61239 w 59745"/>
                <a:gd name="connsiteY15" fmla="*/ 5974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745" h="29872">
                  <a:moveTo>
                    <a:pt x="50783" y="0"/>
                  </a:moveTo>
                  <a:lnTo>
                    <a:pt x="43315" y="4481"/>
                  </a:lnTo>
                  <a:lnTo>
                    <a:pt x="38834" y="5974"/>
                  </a:lnTo>
                  <a:lnTo>
                    <a:pt x="37341" y="7468"/>
                  </a:lnTo>
                  <a:lnTo>
                    <a:pt x="25392" y="14936"/>
                  </a:lnTo>
                  <a:lnTo>
                    <a:pt x="23898" y="14936"/>
                  </a:lnTo>
                  <a:lnTo>
                    <a:pt x="13443" y="22405"/>
                  </a:lnTo>
                  <a:lnTo>
                    <a:pt x="0" y="29873"/>
                  </a:lnTo>
                  <a:lnTo>
                    <a:pt x="8962" y="35847"/>
                  </a:lnTo>
                  <a:lnTo>
                    <a:pt x="22405" y="28379"/>
                  </a:lnTo>
                  <a:lnTo>
                    <a:pt x="34354" y="20911"/>
                  </a:lnTo>
                  <a:lnTo>
                    <a:pt x="35847" y="19418"/>
                  </a:lnTo>
                  <a:lnTo>
                    <a:pt x="47796" y="13443"/>
                  </a:lnTo>
                  <a:lnTo>
                    <a:pt x="49290" y="11949"/>
                  </a:lnTo>
                  <a:lnTo>
                    <a:pt x="52277" y="10456"/>
                  </a:lnTo>
                  <a:lnTo>
                    <a:pt x="61239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8" name="任意多边形: 形状 10257"/>
            <p:cNvSpPr/>
            <p:nvPr/>
          </p:nvSpPr>
          <p:spPr>
            <a:xfrm>
              <a:off x="6933029" y="4820017"/>
              <a:ext cx="14936" cy="14936"/>
            </a:xfrm>
            <a:custGeom>
              <a:avLst/>
              <a:gdLst>
                <a:gd name="connsiteX0" fmla="*/ 10455 w 14936"/>
                <a:gd name="connsiteY0" fmla="*/ 11949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0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0455" y="11949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0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9" name="任意多边形: 形状 10258"/>
            <p:cNvSpPr/>
            <p:nvPr/>
          </p:nvSpPr>
          <p:spPr>
            <a:xfrm>
              <a:off x="6946472" y="4812549"/>
              <a:ext cx="14936" cy="14936"/>
            </a:xfrm>
            <a:custGeom>
              <a:avLst/>
              <a:gdLst>
                <a:gd name="connsiteX0" fmla="*/ 11949 w 14936"/>
                <a:gd name="connsiteY0" fmla="*/ 0 h 0"/>
                <a:gd name="connsiteX1" fmla="*/ 0 w 14936"/>
                <a:gd name="connsiteY1" fmla="*/ 5974 h 0"/>
                <a:gd name="connsiteX2" fmla="*/ 10455 w 14936"/>
                <a:gd name="connsiteY2" fmla="*/ 11949 h 0"/>
                <a:gd name="connsiteX3" fmla="*/ 22405 w 14936"/>
                <a:gd name="connsiteY3" fmla="*/ 4481 h 0"/>
                <a:gd name="connsiteX4" fmla="*/ 11949 w 14936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0" y="5974"/>
                  </a:lnTo>
                  <a:lnTo>
                    <a:pt x="10455" y="11949"/>
                  </a:lnTo>
                  <a:lnTo>
                    <a:pt x="22405" y="4481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0" name="任意多边形: 形状 10259"/>
            <p:cNvSpPr/>
            <p:nvPr/>
          </p:nvSpPr>
          <p:spPr>
            <a:xfrm>
              <a:off x="6788147" y="4685590"/>
              <a:ext cx="119491" cy="164300"/>
            </a:xfrm>
            <a:custGeom>
              <a:avLst/>
              <a:gdLst>
                <a:gd name="connsiteX0" fmla="*/ 5974 w 119490"/>
                <a:gd name="connsiteY0" fmla="*/ 167287 h 164299"/>
                <a:gd name="connsiteX1" fmla="*/ 5974 w 119490"/>
                <a:gd name="connsiteY1" fmla="*/ 80656 h 164299"/>
                <a:gd name="connsiteX2" fmla="*/ 5974 w 119490"/>
                <a:gd name="connsiteY2" fmla="*/ 77669 h 164299"/>
                <a:gd name="connsiteX3" fmla="*/ 8962 w 119490"/>
                <a:gd name="connsiteY3" fmla="*/ 73188 h 164299"/>
                <a:gd name="connsiteX4" fmla="*/ 10455 w 119490"/>
                <a:gd name="connsiteY4" fmla="*/ 71695 h 164299"/>
                <a:gd name="connsiteX5" fmla="*/ 129946 w 119490"/>
                <a:gd name="connsiteY5" fmla="*/ 2987 h 164299"/>
                <a:gd name="connsiteX6" fmla="*/ 132933 w 119490"/>
                <a:gd name="connsiteY6" fmla="*/ 2987 h 164299"/>
                <a:gd name="connsiteX7" fmla="*/ 132933 w 119490"/>
                <a:gd name="connsiteY7" fmla="*/ 2987 h 164299"/>
                <a:gd name="connsiteX8" fmla="*/ 126959 w 119490"/>
                <a:gd name="connsiteY8" fmla="*/ 0 h 164299"/>
                <a:gd name="connsiteX9" fmla="*/ 126959 w 119490"/>
                <a:gd name="connsiteY9" fmla="*/ 0 h 164299"/>
                <a:gd name="connsiteX10" fmla="*/ 123971 w 119490"/>
                <a:gd name="connsiteY10" fmla="*/ 0 h 164299"/>
                <a:gd name="connsiteX11" fmla="*/ 4481 w 119490"/>
                <a:gd name="connsiteY11" fmla="*/ 68707 h 164299"/>
                <a:gd name="connsiteX12" fmla="*/ 0 w 119490"/>
                <a:gd name="connsiteY12" fmla="*/ 76175 h 164299"/>
                <a:gd name="connsiteX13" fmla="*/ 0 w 119490"/>
                <a:gd name="connsiteY13" fmla="*/ 77669 h 164299"/>
                <a:gd name="connsiteX14" fmla="*/ 0 w 119490"/>
                <a:gd name="connsiteY14" fmla="*/ 152351 h 164299"/>
                <a:gd name="connsiteX15" fmla="*/ 0 w 119490"/>
                <a:gd name="connsiteY15" fmla="*/ 152351 h 164299"/>
                <a:gd name="connsiteX16" fmla="*/ 0 w 119490"/>
                <a:gd name="connsiteY16" fmla="*/ 152351 h 164299"/>
                <a:gd name="connsiteX17" fmla="*/ 0 w 119490"/>
                <a:gd name="connsiteY17" fmla="*/ 164300 h 164299"/>
                <a:gd name="connsiteX18" fmla="*/ 1493 w 119490"/>
                <a:gd name="connsiteY18" fmla="*/ 167287 h 164299"/>
                <a:gd name="connsiteX19" fmla="*/ 1493 w 119490"/>
                <a:gd name="connsiteY19" fmla="*/ 167287 h 164299"/>
                <a:gd name="connsiteX20" fmla="*/ 7468 w 119490"/>
                <a:gd name="connsiteY20" fmla="*/ 170274 h 164299"/>
                <a:gd name="connsiteX21" fmla="*/ 7468 w 119490"/>
                <a:gd name="connsiteY21" fmla="*/ 170274 h 164299"/>
                <a:gd name="connsiteX22" fmla="*/ 5974 w 119490"/>
                <a:gd name="connsiteY22" fmla="*/ 167287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9490" h="164299">
                  <a:moveTo>
                    <a:pt x="5974" y="167287"/>
                  </a:moveTo>
                  <a:lnTo>
                    <a:pt x="5974" y="80656"/>
                  </a:lnTo>
                  <a:cubicBezTo>
                    <a:pt x="5974" y="79163"/>
                    <a:pt x="5974" y="79163"/>
                    <a:pt x="5974" y="77669"/>
                  </a:cubicBezTo>
                  <a:cubicBezTo>
                    <a:pt x="5974" y="76175"/>
                    <a:pt x="7468" y="74682"/>
                    <a:pt x="8962" y="73188"/>
                  </a:cubicBezTo>
                  <a:cubicBezTo>
                    <a:pt x="8962" y="73188"/>
                    <a:pt x="10455" y="71695"/>
                    <a:pt x="10455" y="71695"/>
                  </a:cubicBezTo>
                  <a:lnTo>
                    <a:pt x="129946" y="2987"/>
                  </a:lnTo>
                  <a:cubicBezTo>
                    <a:pt x="131440" y="2987"/>
                    <a:pt x="131440" y="1494"/>
                    <a:pt x="132933" y="2987"/>
                  </a:cubicBezTo>
                  <a:cubicBezTo>
                    <a:pt x="132933" y="2987"/>
                    <a:pt x="132933" y="2987"/>
                    <a:pt x="132933" y="2987"/>
                  </a:cubicBezTo>
                  <a:lnTo>
                    <a:pt x="126959" y="0"/>
                  </a:lnTo>
                  <a:lnTo>
                    <a:pt x="126959" y="0"/>
                  </a:lnTo>
                  <a:cubicBezTo>
                    <a:pt x="125465" y="0"/>
                    <a:pt x="125465" y="0"/>
                    <a:pt x="123971" y="0"/>
                  </a:cubicBezTo>
                  <a:lnTo>
                    <a:pt x="4481" y="68707"/>
                  </a:lnTo>
                  <a:cubicBezTo>
                    <a:pt x="1493" y="70201"/>
                    <a:pt x="0" y="73188"/>
                    <a:pt x="0" y="76175"/>
                  </a:cubicBezTo>
                  <a:cubicBezTo>
                    <a:pt x="0" y="76175"/>
                    <a:pt x="0" y="77669"/>
                    <a:pt x="0" y="77669"/>
                  </a:cubicBezTo>
                  <a:lnTo>
                    <a:pt x="0" y="152351"/>
                  </a:lnTo>
                  <a:lnTo>
                    <a:pt x="0" y="152351"/>
                  </a:lnTo>
                  <a:lnTo>
                    <a:pt x="0" y="152351"/>
                  </a:lnTo>
                  <a:lnTo>
                    <a:pt x="0" y="164300"/>
                  </a:lnTo>
                  <a:cubicBezTo>
                    <a:pt x="0" y="165793"/>
                    <a:pt x="0" y="165793"/>
                    <a:pt x="1493" y="167287"/>
                  </a:cubicBezTo>
                  <a:cubicBezTo>
                    <a:pt x="1493" y="167287"/>
                    <a:pt x="1493" y="167287"/>
                    <a:pt x="1493" y="167287"/>
                  </a:cubicBezTo>
                  <a:lnTo>
                    <a:pt x="7468" y="170274"/>
                  </a:lnTo>
                  <a:lnTo>
                    <a:pt x="7468" y="170274"/>
                  </a:lnTo>
                  <a:cubicBezTo>
                    <a:pt x="5974" y="168781"/>
                    <a:pt x="5974" y="168781"/>
                    <a:pt x="5974" y="1672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1" name="任意多边形: 形状 10260"/>
            <p:cNvSpPr/>
            <p:nvPr/>
          </p:nvSpPr>
          <p:spPr>
            <a:xfrm>
              <a:off x="6921080" y="4687083"/>
              <a:ext cx="14936" cy="14936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2" name="任意多边形: 形状 10261"/>
            <p:cNvSpPr/>
            <p:nvPr/>
          </p:nvSpPr>
          <p:spPr>
            <a:xfrm>
              <a:off x="6922574" y="4779689"/>
              <a:ext cx="14936" cy="14936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9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1493"/>
                    <a:pt x="0" y="1493"/>
                    <a:pt x="0" y="2987"/>
                  </a:cubicBezTo>
                  <a:cubicBezTo>
                    <a:pt x="0" y="149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3" name="任意多边形: 形状 10262"/>
            <p:cNvSpPr/>
            <p:nvPr/>
          </p:nvSpPr>
          <p:spPr>
            <a:xfrm>
              <a:off x="6794121" y="4758778"/>
              <a:ext cx="14936" cy="14936"/>
            </a:xfrm>
            <a:custGeom>
              <a:avLst/>
              <a:gdLst>
                <a:gd name="connsiteX0" fmla="*/ 2987 w 0"/>
                <a:gd name="connsiteY0" fmla="*/ 0 h 0"/>
                <a:gd name="connsiteX1" fmla="*/ 0 w 0"/>
                <a:gd name="connsiteY1" fmla="*/ 4481 h 0"/>
                <a:gd name="connsiteX2" fmla="*/ 29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987" y="0"/>
                  </a:moveTo>
                  <a:cubicBezTo>
                    <a:pt x="1494" y="1494"/>
                    <a:pt x="1494" y="2987"/>
                    <a:pt x="0" y="4481"/>
                  </a:cubicBezTo>
                  <a:cubicBezTo>
                    <a:pt x="0" y="2987"/>
                    <a:pt x="1494" y="1494"/>
                    <a:pt x="2987" y="0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4" name="任意多边形: 形状 10263"/>
            <p:cNvSpPr/>
            <p:nvPr/>
          </p:nvSpPr>
          <p:spPr>
            <a:xfrm>
              <a:off x="6794121" y="4688577"/>
              <a:ext cx="119491" cy="164300"/>
            </a:xfrm>
            <a:custGeom>
              <a:avLst/>
              <a:gdLst>
                <a:gd name="connsiteX0" fmla="*/ 25392 w 119490"/>
                <a:gd name="connsiteY0" fmla="*/ 155338 h 164299"/>
                <a:gd name="connsiteX1" fmla="*/ 25392 w 119490"/>
                <a:gd name="connsiteY1" fmla="*/ 155338 h 164299"/>
                <a:gd name="connsiteX2" fmla="*/ 37341 w 119490"/>
                <a:gd name="connsiteY2" fmla="*/ 147870 h 164299"/>
                <a:gd name="connsiteX3" fmla="*/ 37341 w 119490"/>
                <a:gd name="connsiteY3" fmla="*/ 149363 h 164299"/>
                <a:gd name="connsiteX4" fmla="*/ 98580 w 119490"/>
                <a:gd name="connsiteY4" fmla="*/ 113516 h 164299"/>
                <a:gd name="connsiteX5" fmla="*/ 97086 w 119490"/>
                <a:gd name="connsiteY5" fmla="*/ 112023 h 164299"/>
                <a:gd name="connsiteX6" fmla="*/ 109035 w 119490"/>
                <a:gd name="connsiteY6" fmla="*/ 104554 h 164299"/>
                <a:gd name="connsiteX7" fmla="*/ 110529 w 119490"/>
                <a:gd name="connsiteY7" fmla="*/ 106048 h 164299"/>
                <a:gd name="connsiteX8" fmla="*/ 123972 w 119490"/>
                <a:gd name="connsiteY8" fmla="*/ 98580 h 164299"/>
                <a:gd name="connsiteX9" fmla="*/ 125465 w 119490"/>
                <a:gd name="connsiteY9" fmla="*/ 98580 h 164299"/>
                <a:gd name="connsiteX10" fmla="*/ 126959 w 119490"/>
                <a:gd name="connsiteY10" fmla="*/ 97086 h 164299"/>
                <a:gd name="connsiteX11" fmla="*/ 128453 w 119490"/>
                <a:gd name="connsiteY11" fmla="*/ 94099 h 164299"/>
                <a:gd name="connsiteX12" fmla="*/ 128453 w 119490"/>
                <a:gd name="connsiteY12" fmla="*/ 91112 h 164299"/>
                <a:gd name="connsiteX13" fmla="*/ 128453 w 119490"/>
                <a:gd name="connsiteY13" fmla="*/ 89618 h 164299"/>
                <a:gd name="connsiteX14" fmla="*/ 128453 w 119490"/>
                <a:gd name="connsiteY14" fmla="*/ 2987 h 164299"/>
                <a:gd name="connsiteX15" fmla="*/ 128453 w 119490"/>
                <a:gd name="connsiteY15" fmla="*/ 1494 h 164299"/>
                <a:gd name="connsiteX16" fmla="*/ 126959 w 119490"/>
                <a:gd name="connsiteY16" fmla="*/ 0 h 164299"/>
                <a:gd name="connsiteX17" fmla="*/ 126959 w 119490"/>
                <a:gd name="connsiteY17" fmla="*/ 0 h 164299"/>
                <a:gd name="connsiteX18" fmla="*/ 126959 w 119490"/>
                <a:gd name="connsiteY18" fmla="*/ 0 h 164299"/>
                <a:gd name="connsiteX19" fmla="*/ 126959 w 119490"/>
                <a:gd name="connsiteY19" fmla="*/ 0 h 164299"/>
                <a:gd name="connsiteX20" fmla="*/ 123972 w 119490"/>
                <a:gd name="connsiteY20" fmla="*/ 0 h 164299"/>
                <a:gd name="connsiteX21" fmla="*/ 4481 w 119490"/>
                <a:gd name="connsiteY21" fmla="*/ 68707 h 164299"/>
                <a:gd name="connsiteX22" fmla="*/ 2987 w 119490"/>
                <a:gd name="connsiteY22" fmla="*/ 70201 h 164299"/>
                <a:gd name="connsiteX23" fmla="*/ 0 w 119490"/>
                <a:gd name="connsiteY23" fmla="*/ 74682 h 164299"/>
                <a:gd name="connsiteX24" fmla="*/ 0 w 119490"/>
                <a:gd name="connsiteY24" fmla="*/ 77669 h 164299"/>
                <a:gd name="connsiteX25" fmla="*/ 0 w 119490"/>
                <a:gd name="connsiteY25" fmla="*/ 164300 h 164299"/>
                <a:gd name="connsiteX26" fmla="*/ 1494 w 119490"/>
                <a:gd name="connsiteY26" fmla="*/ 167287 h 164299"/>
                <a:gd name="connsiteX27" fmla="*/ 4481 w 119490"/>
                <a:gd name="connsiteY27" fmla="*/ 167287 h 164299"/>
                <a:gd name="connsiteX28" fmla="*/ 5974 w 119490"/>
                <a:gd name="connsiteY28" fmla="*/ 167287 h 164299"/>
                <a:gd name="connsiteX29" fmla="*/ 25392 w 119490"/>
                <a:gd name="connsiteY29" fmla="*/ 155338 h 164299"/>
                <a:gd name="connsiteX30" fmla="*/ 64226 w 119490"/>
                <a:gd name="connsiteY30" fmla="*/ 35847 h 164299"/>
                <a:gd name="connsiteX31" fmla="*/ 65720 w 119490"/>
                <a:gd name="connsiteY31" fmla="*/ 37341 h 164299"/>
                <a:gd name="connsiteX32" fmla="*/ 64226 w 119490"/>
                <a:gd name="connsiteY32" fmla="*/ 40328 h 164299"/>
                <a:gd name="connsiteX33" fmla="*/ 62733 w 119490"/>
                <a:gd name="connsiteY33" fmla="*/ 38835 h 164299"/>
                <a:gd name="connsiteX34" fmla="*/ 64226 w 119490"/>
                <a:gd name="connsiteY34" fmla="*/ 35847 h 164299"/>
                <a:gd name="connsiteX35" fmla="*/ 8962 w 119490"/>
                <a:gd name="connsiteY35" fmla="*/ 74682 h 164299"/>
                <a:gd name="connsiteX36" fmla="*/ 119491 w 119490"/>
                <a:gd name="connsiteY36" fmla="*/ 10455 h 164299"/>
                <a:gd name="connsiteX37" fmla="*/ 122478 w 119490"/>
                <a:gd name="connsiteY37" fmla="*/ 11949 h 164299"/>
                <a:gd name="connsiteX38" fmla="*/ 122478 w 119490"/>
                <a:gd name="connsiteY38" fmla="*/ 86631 h 164299"/>
                <a:gd name="connsiteX39" fmla="*/ 119491 w 119490"/>
                <a:gd name="connsiteY39" fmla="*/ 91112 h 164299"/>
                <a:gd name="connsiteX40" fmla="*/ 8962 w 119490"/>
                <a:gd name="connsiteY40" fmla="*/ 155338 h 164299"/>
                <a:gd name="connsiteX41" fmla="*/ 5974 w 119490"/>
                <a:gd name="connsiteY41" fmla="*/ 153844 h 164299"/>
                <a:gd name="connsiteX42" fmla="*/ 5974 w 119490"/>
                <a:gd name="connsiteY42" fmla="*/ 79162 h 164299"/>
                <a:gd name="connsiteX43" fmla="*/ 8962 w 119490"/>
                <a:gd name="connsiteY43" fmla="*/ 74682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19490" h="164299">
                  <a:moveTo>
                    <a:pt x="25392" y="155338"/>
                  </a:moveTo>
                  <a:lnTo>
                    <a:pt x="25392" y="155338"/>
                  </a:lnTo>
                  <a:lnTo>
                    <a:pt x="37341" y="147870"/>
                  </a:lnTo>
                  <a:lnTo>
                    <a:pt x="37341" y="149363"/>
                  </a:lnTo>
                  <a:lnTo>
                    <a:pt x="98580" y="113516"/>
                  </a:lnTo>
                  <a:lnTo>
                    <a:pt x="97086" y="112023"/>
                  </a:lnTo>
                  <a:lnTo>
                    <a:pt x="109035" y="104554"/>
                  </a:lnTo>
                  <a:lnTo>
                    <a:pt x="110529" y="106048"/>
                  </a:lnTo>
                  <a:lnTo>
                    <a:pt x="123972" y="98580"/>
                  </a:lnTo>
                  <a:cubicBezTo>
                    <a:pt x="123972" y="98580"/>
                    <a:pt x="123972" y="98580"/>
                    <a:pt x="125465" y="98580"/>
                  </a:cubicBezTo>
                  <a:cubicBezTo>
                    <a:pt x="125465" y="98580"/>
                    <a:pt x="126959" y="97086"/>
                    <a:pt x="126959" y="97086"/>
                  </a:cubicBezTo>
                  <a:cubicBezTo>
                    <a:pt x="126959" y="97086"/>
                    <a:pt x="128453" y="95593"/>
                    <a:pt x="128453" y="94099"/>
                  </a:cubicBezTo>
                  <a:cubicBezTo>
                    <a:pt x="128453" y="92605"/>
                    <a:pt x="128453" y="92605"/>
                    <a:pt x="128453" y="91112"/>
                  </a:cubicBezTo>
                  <a:cubicBezTo>
                    <a:pt x="128453" y="91112"/>
                    <a:pt x="128453" y="89618"/>
                    <a:pt x="128453" y="89618"/>
                  </a:cubicBezTo>
                  <a:lnTo>
                    <a:pt x="128453" y="2987"/>
                  </a:lnTo>
                  <a:cubicBezTo>
                    <a:pt x="128453" y="2987"/>
                    <a:pt x="128453" y="2987"/>
                    <a:pt x="128453" y="1494"/>
                  </a:cubicBezTo>
                  <a:cubicBezTo>
                    <a:pt x="128453" y="0"/>
                    <a:pt x="128453" y="0"/>
                    <a:pt x="126959" y="0"/>
                  </a:cubicBezTo>
                  <a:cubicBezTo>
                    <a:pt x="126959" y="0"/>
                    <a:pt x="126959" y="0"/>
                    <a:pt x="126959" y="0"/>
                  </a:cubicBezTo>
                  <a:cubicBezTo>
                    <a:pt x="126959" y="0"/>
                    <a:pt x="126959" y="0"/>
                    <a:pt x="126959" y="0"/>
                  </a:cubicBezTo>
                  <a:cubicBezTo>
                    <a:pt x="126959" y="0"/>
                    <a:pt x="126959" y="0"/>
                    <a:pt x="126959" y="0"/>
                  </a:cubicBezTo>
                  <a:cubicBezTo>
                    <a:pt x="125465" y="0"/>
                    <a:pt x="125465" y="0"/>
                    <a:pt x="123972" y="0"/>
                  </a:cubicBezTo>
                  <a:lnTo>
                    <a:pt x="4481" y="68707"/>
                  </a:lnTo>
                  <a:cubicBezTo>
                    <a:pt x="4481" y="68707"/>
                    <a:pt x="2987" y="70201"/>
                    <a:pt x="2987" y="70201"/>
                  </a:cubicBezTo>
                  <a:cubicBezTo>
                    <a:pt x="1494" y="71694"/>
                    <a:pt x="1494" y="73188"/>
                    <a:pt x="0" y="74682"/>
                  </a:cubicBezTo>
                  <a:cubicBezTo>
                    <a:pt x="0" y="76175"/>
                    <a:pt x="0" y="76175"/>
                    <a:pt x="0" y="77669"/>
                  </a:cubicBezTo>
                  <a:lnTo>
                    <a:pt x="0" y="164300"/>
                  </a:lnTo>
                  <a:cubicBezTo>
                    <a:pt x="0" y="165793"/>
                    <a:pt x="0" y="167287"/>
                    <a:pt x="1494" y="167287"/>
                  </a:cubicBezTo>
                  <a:cubicBezTo>
                    <a:pt x="2987" y="167287"/>
                    <a:pt x="2987" y="167287"/>
                    <a:pt x="4481" y="167287"/>
                  </a:cubicBezTo>
                  <a:lnTo>
                    <a:pt x="5974" y="167287"/>
                  </a:lnTo>
                  <a:lnTo>
                    <a:pt x="25392" y="155338"/>
                  </a:lnTo>
                  <a:close/>
                  <a:moveTo>
                    <a:pt x="64226" y="35847"/>
                  </a:moveTo>
                  <a:cubicBezTo>
                    <a:pt x="65720" y="35847"/>
                    <a:pt x="65720" y="35847"/>
                    <a:pt x="65720" y="37341"/>
                  </a:cubicBezTo>
                  <a:cubicBezTo>
                    <a:pt x="65720" y="38835"/>
                    <a:pt x="64226" y="40328"/>
                    <a:pt x="64226" y="40328"/>
                  </a:cubicBezTo>
                  <a:cubicBezTo>
                    <a:pt x="62733" y="40328"/>
                    <a:pt x="62733" y="40328"/>
                    <a:pt x="62733" y="38835"/>
                  </a:cubicBezTo>
                  <a:cubicBezTo>
                    <a:pt x="62733" y="37341"/>
                    <a:pt x="62733" y="37341"/>
                    <a:pt x="64226" y="35847"/>
                  </a:cubicBezTo>
                  <a:close/>
                  <a:moveTo>
                    <a:pt x="8962" y="74682"/>
                  </a:moveTo>
                  <a:lnTo>
                    <a:pt x="119491" y="10455"/>
                  </a:lnTo>
                  <a:cubicBezTo>
                    <a:pt x="120984" y="8962"/>
                    <a:pt x="122478" y="10455"/>
                    <a:pt x="122478" y="11949"/>
                  </a:cubicBezTo>
                  <a:lnTo>
                    <a:pt x="122478" y="86631"/>
                  </a:lnTo>
                  <a:cubicBezTo>
                    <a:pt x="122478" y="88124"/>
                    <a:pt x="120984" y="91112"/>
                    <a:pt x="119491" y="91112"/>
                  </a:cubicBezTo>
                  <a:lnTo>
                    <a:pt x="8962" y="155338"/>
                  </a:lnTo>
                  <a:cubicBezTo>
                    <a:pt x="7468" y="156832"/>
                    <a:pt x="5974" y="155338"/>
                    <a:pt x="5974" y="153844"/>
                  </a:cubicBezTo>
                  <a:lnTo>
                    <a:pt x="5974" y="79162"/>
                  </a:lnTo>
                  <a:cubicBezTo>
                    <a:pt x="5974" y="77669"/>
                    <a:pt x="7468" y="74682"/>
                    <a:pt x="8962" y="74682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5" name="任意多边形: 形状 10264"/>
            <p:cNvSpPr/>
            <p:nvPr/>
          </p:nvSpPr>
          <p:spPr>
            <a:xfrm>
              <a:off x="6800096" y="4698414"/>
              <a:ext cx="104554" cy="134427"/>
            </a:xfrm>
            <a:custGeom>
              <a:avLst/>
              <a:gdLst>
                <a:gd name="connsiteX0" fmla="*/ 2987 w 104554"/>
                <a:gd name="connsiteY0" fmla="*/ 145501 h 134427"/>
                <a:gd name="connsiteX1" fmla="*/ 113516 w 104554"/>
                <a:gd name="connsiteY1" fmla="*/ 81275 h 134427"/>
                <a:gd name="connsiteX2" fmla="*/ 116504 w 104554"/>
                <a:gd name="connsiteY2" fmla="*/ 76794 h 134427"/>
                <a:gd name="connsiteX3" fmla="*/ 116504 w 104554"/>
                <a:gd name="connsiteY3" fmla="*/ 2112 h 134427"/>
                <a:gd name="connsiteX4" fmla="*/ 113516 w 104554"/>
                <a:gd name="connsiteY4" fmla="*/ 619 h 134427"/>
                <a:gd name="connsiteX5" fmla="*/ 2987 w 104554"/>
                <a:gd name="connsiteY5" fmla="*/ 64845 h 134427"/>
                <a:gd name="connsiteX6" fmla="*/ 0 w 104554"/>
                <a:gd name="connsiteY6" fmla="*/ 69326 h 134427"/>
                <a:gd name="connsiteX7" fmla="*/ 0 w 104554"/>
                <a:gd name="connsiteY7" fmla="*/ 144008 h 134427"/>
                <a:gd name="connsiteX8" fmla="*/ 2987 w 104554"/>
                <a:gd name="connsiteY8" fmla="*/ 145501 h 134427"/>
                <a:gd name="connsiteX9" fmla="*/ 17924 w 104554"/>
                <a:gd name="connsiteY9" fmla="*/ 69326 h 134427"/>
                <a:gd name="connsiteX10" fmla="*/ 92606 w 104554"/>
                <a:gd name="connsiteY10" fmla="*/ 26010 h 134427"/>
                <a:gd name="connsiteX11" fmla="*/ 92606 w 104554"/>
                <a:gd name="connsiteY11" fmla="*/ 26010 h 134427"/>
                <a:gd name="connsiteX12" fmla="*/ 98580 w 104554"/>
                <a:gd name="connsiteY12" fmla="*/ 21530 h 134427"/>
                <a:gd name="connsiteX13" fmla="*/ 98580 w 104554"/>
                <a:gd name="connsiteY13" fmla="*/ 75300 h 134427"/>
                <a:gd name="connsiteX14" fmla="*/ 16430 w 104554"/>
                <a:gd name="connsiteY14" fmla="*/ 123097 h 134427"/>
                <a:gd name="connsiteX15" fmla="*/ 16430 w 104554"/>
                <a:gd name="connsiteY15" fmla="*/ 99198 h 134427"/>
                <a:gd name="connsiteX16" fmla="*/ 16430 w 104554"/>
                <a:gd name="connsiteY16" fmla="*/ 99198 h 134427"/>
                <a:gd name="connsiteX17" fmla="*/ 16430 w 104554"/>
                <a:gd name="connsiteY17" fmla="*/ 97705 h 134427"/>
                <a:gd name="connsiteX18" fmla="*/ 16430 w 104554"/>
                <a:gd name="connsiteY18" fmla="*/ 97705 h 134427"/>
                <a:gd name="connsiteX19" fmla="*/ 16430 w 104554"/>
                <a:gd name="connsiteY19" fmla="*/ 78288 h 134427"/>
                <a:gd name="connsiteX20" fmla="*/ 16430 w 104554"/>
                <a:gd name="connsiteY20" fmla="*/ 78288 h 134427"/>
                <a:gd name="connsiteX21" fmla="*/ 16430 w 104554"/>
                <a:gd name="connsiteY21" fmla="*/ 69326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4554" h="134427">
                  <a:moveTo>
                    <a:pt x="2987" y="145501"/>
                  </a:moveTo>
                  <a:lnTo>
                    <a:pt x="113516" y="81275"/>
                  </a:lnTo>
                  <a:cubicBezTo>
                    <a:pt x="115010" y="79781"/>
                    <a:pt x="116504" y="78288"/>
                    <a:pt x="116504" y="76794"/>
                  </a:cubicBezTo>
                  <a:lnTo>
                    <a:pt x="116504" y="2112"/>
                  </a:lnTo>
                  <a:cubicBezTo>
                    <a:pt x="116504" y="619"/>
                    <a:pt x="115010" y="-875"/>
                    <a:pt x="113516" y="619"/>
                  </a:cubicBezTo>
                  <a:lnTo>
                    <a:pt x="2987" y="64845"/>
                  </a:lnTo>
                  <a:cubicBezTo>
                    <a:pt x="1494" y="66339"/>
                    <a:pt x="0" y="67832"/>
                    <a:pt x="0" y="69326"/>
                  </a:cubicBezTo>
                  <a:lnTo>
                    <a:pt x="0" y="144008"/>
                  </a:lnTo>
                  <a:cubicBezTo>
                    <a:pt x="0" y="146995"/>
                    <a:pt x="1494" y="146995"/>
                    <a:pt x="2987" y="145501"/>
                  </a:cubicBezTo>
                  <a:close/>
                  <a:moveTo>
                    <a:pt x="17924" y="69326"/>
                  </a:moveTo>
                  <a:lnTo>
                    <a:pt x="92606" y="26010"/>
                  </a:lnTo>
                  <a:lnTo>
                    <a:pt x="92606" y="26010"/>
                  </a:lnTo>
                  <a:lnTo>
                    <a:pt x="98580" y="21530"/>
                  </a:lnTo>
                  <a:lnTo>
                    <a:pt x="98580" y="75300"/>
                  </a:lnTo>
                  <a:lnTo>
                    <a:pt x="16430" y="123097"/>
                  </a:lnTo>
                  <a:lnTo>
                    <a:pt x="16430" y="99198"/>
                  </a:lnTo>
                  <a:lnTo>
                    <a:pt x="16430" y="99198"/>
                  </a:lnTo>
                  <a:lnTo>
                    <a:pt x="16430" y="97705"/>
                  </a:lnTo>
                  <a:lnTo>
                    <a:pt x="16430" y="97705"/>
                  </a:lnTo>
                  <a:lnTo>
                    <a:pt x="16430" y="78288"/>
                  </a:lnTo>
                  <a:lnTo>
                    <a:pt x="16430" y="78288"/>
                  </a:lnTo>
                  <a:lnTo>
                    <a:pt x="16430" y="69326"/>
                  </a:lnTo>
                  <a:close/>
                </a:path>
              </a:pathLst>
            </a:custGeom>
            <a:solidFill>
              <a:srgbClr val="296AAE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6" name="任意多边形: 形状 10265"/>
            <p:cNvSpPr/>
            <p:nvPr/>
          </p:nvSpPr>
          <p:spPr>
            <a:xfrm>
              <a:off x="6856854" y="4724424"/>
              <a:ext cx="14936" cy="14936"/>
            </a:xfrm>
            <a:custGeom>
              <a:avLst/>
              <a:gdLst>
                <a:gd name="connsiteX0" fmla="*/ 1494 w 0"/>
                <a:gd name="connsiteY0" fmla="*/ 4481 h 0"/>
                <a:gd name="connsiteX1" fmla="*/ 2987 w 0"/>
                <a:gd name="connsiteY1" fmla="*/ 1494 h 0"/>
                <a:gd name="connsiteX2" fmla="*/ 1494 w 0"/>
                <a:gd name="connsiteY2" fmla="*/ 0 h 0"/>
                <a:gd name="connsiteX3" fmla="*/ 0 w 0"/>
                <a:gd name="connsiteY3" fmla="*/ 2987 h 0"/>
                <a:gd name="connsiteX4" fmla="*/ 1494 w 0"/>
                <a:gd name="connsiteY4" fmla="*/ 448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494" y="4481"/>
                  </a:moveTo>
                  <a:cubicBezTo>
                    <a:pt x="2987" y="4481"/>
                    <a:pt x="2987" y="2987"/>
                    <a:pt x="2987" y="1494"/>
                  </a:cubicBezTo>
                  <a:cubicBezTo>
                    <a:pt x="2987" y="0"/>
                    <a:pt x="1494" y="0"/>
                    <a:pt x="1494" y="0"/>
                  </a:cubicBezTo>
                  <a:cubicBezTo>
                    <a:pt x="0" y="0"/>
                    <a:pt x="0" y="1494"/>
                    <a:pt x="0" y="2987"/>
                  </a:cubicBezTo>
                  <a:cubicBezTo>
                    <a:pt x="0" y="4481"/>
                    <a:pt x="0" y="4481"/>
                    <a:pt x="1494" y="4481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7" name="任意多边形: 形状 10266"/>
            <p:cNvSpPr/>
            <p:nvPr/>
          </p:nvSpPr>
          <p:spPr>
            <a:xfrm>
              <a:off x="6818020" y="4718450"/>
              <a:ext cx="74682" cy="89618"/>
            </a:xfrm>
            <a:custGeom>
              <a:avLst/>
              <a:gdLst>
                <a:gd name="connsiteX0" fmla="*/ 74682 w 74681"/>
                <a:gd name="connsiteY0" fmla="*/ 13443 h 89618"/>
                <a:gd name="connsiteX1" fmla="*/ 74682 w 74681"/>
                <a:gd name="connsiteY1" fmla="*/ 13443 h 89618"/>
                <a:gd name="connsiteX2" fmla="*/ 0 w 74681"/>
                <a:gd name="connsiteY2" fmla="*/ 56758 h 89618"/>
                <a:gd name="connsiteX3" fmla="*/ 0 w 74681"/>
                <a:gd name="connsiteY3" fmla="*/ 76175 h 89618"/>
                <a:gd name="connsiteX4" fmla="*/ 82150 w 74681"/>
                <a:gd name="connsiteY4" fmla="*/ 28379 h 89618"/>
                <a:gd name="connsiteX5" fmla="*/ 82150 w 74681"/>
                <a:gd name="connsiteY5" fmla="*/ 29873 h 89618"/>
                <a:gd name="connsiteX6" fmla="*/ 0 w 74681"/>
                <a:gd name="connsiteY6" fmla="*/ 77669 h 89618"/>
                <a:gd name="connsiteX7" fmla="*/ 0 w 74681"/>
                <a:gd name="connsiteY7" fmla="*/ 101567 h 89618"/>
                <a:gd name="connsiteX8" fmla="*/ 82150 w 74681"/>
                <a:gd name="connsiteY8" fmla="*/ 53771 h 89618"/>
                <a:gd name="connsiteX9" fmla="*/ 82150 w 74681"/>
                <a:gd name="connsiteY9" fmla="*/ 0 h 89618"/>
                <a:gd name="connsiteX10" fmla="*/ 82150 w 74681"/>
                <a:gd name="connsiteY10" fmla="*/ 7468 h 89618"/>
                <a:gd name="connsiteX11" fmla="*/ 74682 w 74681"/>
                <a:gd name="connsiteY11" fmla="*/ 13443 h 89618"/>
                <a:gd name="connsiteX12" fmla="*/ 35847 w 74681"/>
                <a:gd name="connsiteY12" fmla="*/ 52277 h 89618"/>
                <a:gd name="connsiteX13" fmla="*/ 4481 w 74681"/>
                <a:gd name="connsiteY13" fmla="*/ 70201 h 89618"/>
                <a:gd name="connsiteX14" fmla="*/ 4481 w 74681"/>
                <a:gd name="connsiteY14" fmla="*/ 68707 h 89618"/>
                <a:gd name="connsiteX15" fmla="*/ 35847 w 74681"/>
                <a:gd name="connsiteY15" fmla="*/ 50783 h 89618"/>
                <a:gd name="connsiteX16" fmla="*/ 35847 w 74681"/>
                <a:gd name="connsiteY16" fmla="*/ 52277 h 89618"/>
                <a:gd name="connsiteX17" fmla="*/ 35847 w 74681"/>
                <a:gd name="connsiteY17" fmla="*/ 46303 h 89618"/>
                <a:gd name="connsiteX18" fmla="*/ 4481 w 74681"/>
                <a:gd name="connsiteY18" fmla="*/ 64226 h 89618"/>
                <a:gd name="connsiteX19" fmla="*/ 4481 w 74681"/>
                <a:gd name="connsiteY19" fmla="*/ 62732 h 89618"/>
                <a:gd name="connsiteX20" fmla="*/ 35847 w 74681"/>
                <a:gd name="connsiteY20" fmla="*/ 44809 h 89618"/>
                <a:gd name="connsiteX21" fmla="*/ 35847 w 74681"/>
                <a:gd name="connsiteY21" fmla="*/ 46303 h 89618"/>
                <a:gd name="connsiteX22" fmla="*/ 35847 w 74681"/>
                <a:gd name="connsiteY22" fmla="*/ 41822 h 89618"/>
                <a:gd name="connsiteX23" fmla="*/ 4481 w 74681"/>
                <a:gd name="connsiteY23" fmla="*/ 59745 h 89618"/>
                <a:gd name="connsiteX24" fmla="*/ 4481 w 74681"/>
                <a:gd name="connsiteY24" fmla="*/ 58252 h 89618"/>
                <a:gd name="connsiteX25" fmla="*/ 35847 w 74681"/>
                <a:gd name="connsiteY25" fmla="*/ 40328 h 89618"/>
                <a:gd name="connsiteX26" fmla="*/ 35847 w 74681"/>
                <a:gd name="connsiteY26" fmla="*/ 41822 h 89618"/>
                <a:gd name="connsiteX27" fmla="*/ 76175 w 74681"/>
                <a:gd name="connsiteY27" fmla="*/ 52277 h 89618"/>
                <a:gd name="connsiteX28" fmla="*/ 44809 w 74681"/>
                <a:gd name="connsiteY28" fmla="*/ 70201 h 89618"/>
                <a:gd name="connsiteX29" fmla="*/ 44809 w 74681"/>
                <a:gd name="connsiteY29" fmla="*/ 68707 h 89618"/>
                <a:gd name="connsiteX30" fmla="*/ 76175 w 74681"/>
                <a:gd name="connsiteY30" fmla="*/ 50783 h 89618"/>
                <a:gd name="connsiteX31" fmla="*/ 76175 w 74681"/>
                <a:gd name="connsiteY31" fmla="*/ 52277 h 89618"/>
                <a:gd name="connsiteX32" fmla="*/ 76175 w 74681"/>
                <a:gd name="connsiteY32" fmla="*/ 47796 h 89618"/>
                <a:gd name="connsiteX33" fmla="*/ 41822 w 74681"/>
                <a:gd name="connsiteY33" fmla="*/ 67214 h 89618"/>
                <a:gd name="connsiteX34" fmla="*/ 41822 w 74681"/>
                <a:gd name="connsiteY34" fmla="*/ 65720 h 89618"/>
                <a:gd name="connsiteX35" fmla="*/ 76175 w 74681"/>
                <a:gd name="connsiteY35" fmla="*/ 46303 h 89618"/>
                <a:gd name="connsiteX36" fmla="*/ 76175 w 74681"/>
                <a:gd name="connsiteY36" fmla="*/ 47796 h 89618"/>
                <a:gd name="connsiteX37" fmla="*/ 32860 w 74681"/>
                <a:gd name="connsiteY37" fmla="*/ 67214 h 89618"/>
                <a:gd name="connsiteX38" fmla="*/ 32860 w 74681"/>
                <a:gd name="connsiteY38" fmla="*/ 65720 h 89618"/>
                <a:gd name="connsiteX39" fmla="*/ 76175 w 74681"/>
                <a:gd name="connsiteY39" fmla="*/ 40328 h 89618"/>
                <a:gd name="connsiteX40" fmla="*/ 76175 w 74681"/>
                <a:gd name="connsiteY40" fmla="*/ 41822 h 89618"/>
                <a:gd name="connsiteX41" fmla="*/ 32860 w 74681"/>
                <a:gd name="connsiteY41" fmla="*/ 67214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4681" h="89618">
                  <a:moveTo>
                    <a:pt x="74682" y="13443"/>
                  </a:moveTo>
                  <a:lnTo>
                    <a:pt x="74682" y="13443"/>
                  </a:lnTo>
                  <a:lnTo>
                    <a:pt x="0" y="56758"/>
                  </a:lnTo>
                  <a:lnTo>
                    <a:pt x="0" y="76175"/>
                  </a:lnTo>
                  <a:lnTo>
                    <a:pt x="82150" y="28379"/>
                  </a:lnTo>
                  <a:lnTo>
                    <a:pt x="82150" y="29873"/>
                  </a:lnTo>
                  <a:lnTo>
                    <a:pt x="0" y="77669"/>
                  </a:lnTo>
                  <a:lnTo>
                    <a:pt x="0" y="101567"/>
                  </a:lnTo>
                  <a:lnTo>
                    <a:pt x="82150" y="53771"/>
                  </a:lnTo>
                  <a:lnTo>
                    <a:pt x="82150" y="0"/>
                  </a:lnTo>
                  <a:lnTo>
                    <a:pt x="82150" y="7468"/>
                  </a:lnTo>
                  <a:lnTo>
                    <a:pt x="74682" y="13443"/>
                  </a:lnTo>
                  <a:close/>
                  <a:moveTo>
                    <a:pt x="35847" y="52277"/>
                  </a:moveTo>
                  <a:lnTo>
                    <a:pt x="4481" y="70201"/>
                  </a:lnTo>
                  <a:lnTo>
                    <a:pt x="4481" y="68707"/>
                  </a:lnTo>
                  <a:lnTo>
                    <a:pt x="35847" y="50783"/>
                  </a:lnTo>
                  <a:lnTo>
                    <a:pt x="35847" y="52277"/>
                  </a:lnTo>
                  <a:close/>
                  <a:moveTo>
                    <a:pt x="35847" y="46303"/>
                  </a:moveTo>
                  <a:lnTo>
                    <a:pt x="4481" y="64226"/>
                  </a:lnTo>
                  <a:lnTo>
                    <a:pt x="4481" y="62732"/>
                  </a:lnTo>
                  <a:lnTo>
                    <a:pt x="35847" y="44809"/>
                  </a:lnTo>
                  <a:lnTo>
                    <a:pt x="35847" y="46303"/>
                  </a:lnTo>
                  <a:close/>
                  <a:moveTo>
                    <a:pt x="35847" y="41822"/>
                  </a:moveTo>
                  <a:lnTo>
                    <a:pt x="4481" y="59745"/>
                  </a:lnTo>
                  <a:lnTo>
                    <a:pt x="4481" y="58252"/>
                  </a:lnTo>
                  <a:lnTo>
                    <a:pt x="35847" y="40328"/>
                  </a:lnTo>
                  <a:lnTo>
                    <a:pt x="35847" y="41822"/>
                  </a:lnTo>
                  <a:close/>
                  <a:moveTo>
                    <a:pt x="76175" y="52277"/>
                  </a:moveTo>
                  <a:lnTo>
                    <a:pt x="44809" y="70201"/>
                  </a:lnTo>
                  <a:lnTo>
                    <a:pt x="44809" y="68707"/>
                  </a:lnTo>
                  <a:lnTo>
                    <a:pt x="76175" y="50783"/>
                  </a:lnTo>
                  <a:lnTo>
                    <a:pt x="76175" y="52277"/>
                  </a:lnTo>
                  <a:close/>
                  <a:moveTo>
                    <a:pt x="76175" y="47796"/>
                  </a:moveTo>
                  <a:lnTo>
                    <a:pt x="41822" y="67214"/>
                  </a:lnTo>
                  <a:lnTo>
                    <a:pt x="41822" y="65720"/>
                  </a:lnTo>
                  <a:lnTo>
                    <a:pt x="76175" y="46303"/>
                  </a:lnTo>
                  <a:lnTo>
                    <a:pt x="76175" y="47796"/>
                  </a:lnTo>
                  <a:close/>
                  <a:moveTo>
                    <a:pt x="32860" y="67214"/>
                  </a:moveTo>
                  <a:lnTo>
                    <a:pt x="32860" y="65720"/>
                  </a:lnTo>
                  <a:lnTo>
                    <a:pt x="76175" y="40328"/>
                  </a:lnTo>
                  <a:lnTo>
                    <a:pt x="76175" y="41822"/>
                  </a:lnTo>
                  <a:lnTo>
                    <a:pt x="32860" y="67214"/>
                  </a:lnTo>
                  <a:close/>
                </a:path>
              </a:pathLst>
            </a:custGeom>
            <a:solidFill>
              <a:srgbClr val="F6F6F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8" name="任意多边形: 形状 10267"/>
            <p:cNvSpPr/>
            <p:nvPr/>
          </p:nvSpPr>
          <p:spPr>
            <a:xfrm>
              <a:off x="6818020" y="4724424"/>
              <a:ext cx="74682" cy="44809"/>
            </a:xfrm>
            <a:custGeom>
              <a:avLst/>
              <a:gdLst>
                <a:gd name="connsiteX0" fmla="*/ 74682 w 74681"/>
                <a:gd name="connsiteY0" fmla="*/ 7468 h 44809"/>
                <a:gd name="connsiteX1" fmla="*/ 74682 w 74681"/>
                <a:gd name="connsiteY1" fmla="*/ 0 h 44809"/>
                <a:gd name="connsiteX2" fmla="*/ 0 w 74681"/>
                <a:gd name="connsiteY2" fmla="*/ 43315 h 44809"/>
                <a:gd name="connsiteX3" fmla="*/ 0 w 74681"/>
                <a:gd name="connsiteY3" fmla="*/ 50783 h 44809"/>
                <a:gd name="connsiteX4" fmla="*/ 0 w 74681"/>
                <a:gd name="connsiteY4" fmla="*/ 50783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74682" y="7468"/>
                  </a:moveTo>
                  <a:lnTo>
                    <a:pt x="74682" y="0"/>
                  </a:lnTo>
                  <a:lnTo>
                    <a:pt x="0" y="43315"/>
                  </a:lnTo>
                  <a:lnTo>
                    <a:pt x="0" y="50783"/>
                  </a:lnTo>
                  <a:lnTo>
                    <a:pt x="0" y="50783"/>
                  </a:lnTo>
                  <a:close/>
                </a:path>
              </a:pathLst>
            </a:custGeom>
            <a:solidFill>
              <a:srgbClr val="36A9E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9" name="任意多边形: 形状 10268"/>
            <p:cNvSpPr/>
            <p:nvPr/>
          </p:nvSpPr>
          <p:spPr>
            <a:xfrm>
              <a:off x="6818020" y="4748323"/>
              <a:ext cx="74682" cy="44809"/>
            </a:xfrm>
            <a:custGeom>
              <a:avLst/>
              <a:gdLst>
                <a:gd name="connsiteX0" fmla="*/ 80656 w 74681"/>
                <a:gd name="connsiteY0" fmla="*/ 0 h 44809"/>
                <a:gd name="connsiteX1" fmla="*/ 0 w 74681"/>
                <a:gd name="connsiteY1" fmla="*/ 47796 h 44809"/>
                <a:gd name="connsiteX2" fmla="*/ 0 w 74681"/>
                <a:gd name="connsiteY2" fmla="*/ 47796 h 44809"/>
                <a:gd name="connsiteX3" fmla="*/ 0 w 74681"/>
                <a:gd name="connsiteY3" fmla="*/ 49290 h 44809"/>
                <a:gd name="connsiteX4" fmla="*/ 0 w 74681"/>
                <a:gd name="connsiteY4" fmla="*/ 49290 h 44809"/>
                <a:gd name="connsiteX5" fmla="*/ 80656 w 74681"/>
                <a:gd name="connsiteY5" fmla="*/ 1494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681" h="44809">
                  <a:moveTo>
                    <a:pt x="80656" y="0"/>
                  </a:moveTo>
                  <a:lnTo>
                    <a:pt x="0" y="47796"/>
                  </a:lnTo>
                  <a:lnTo>
                    <a:pt x="0" y="47796"/>
                  </a:lnTo>
                  <a:lnTo>
                    <a:pt x="0" y="49290"/>
                  </a:lnTo>
                  <a:lnTo>
                    <a:pt x="0" y="49290"/>
                  </a:lnTo>
                  <a:lnTo>
                    <a:pt x="80656" y="1494"/>
                  </a:lnTo>
                  <a:close/>
                </a:path>
              </a:pathLst>
            </a:custGeom>
            <a:solidFill>
              <a:srgbClr val="36A9E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0" name="任意多边形: 形状 10269"/>
            <p:cNvSpPr/>
            <p:nvPr/>
          </p:nvSpPr>
          <p:spPr>
            <a:xfrm>
              <a:off x="6892701" y="4721437"/>
              <a:ext cx="14936" cy="14936"/>
            </a:xfrm>
            <a:custGeom>
              <a:avLst/>
              <a:gdLst>
                <a:gd name="connsiteX0" fmla="*/ 0 w 0"/>
                <a:gd name="connsiteY0" fmla="*/ 10456 h 0"/>
                <a:gd name="connsiteX1" fmla="*/ 5974 w 0"/>
                <a:gd name="connsiteY1" fmla="*/ 7468 h 0"/>
                <a:gd name="connsiteX2" fmla="*/ 5974 w 0"/>
                <a:gd name="connsiteY2" fmla="*/ 0 h 0"/>
                <a:gd name="connsiteX3" fmla="*/ 0 w 0"/>
                <a:gd name="connsiteY3" fmla="*/ 2987 h 0"/>
                <a:gd name="connsiteX4" fmla="*/ 0 w 0"/>
                <a:gd name="connsiteY4" fmla="*/ 2987 h 0"/>
                <a:gd name="connsiteX5" fmla="*/ 0 w 0"/>
                <a:gd name="connsiteY5" fmla="*/ 1045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10456"/>
                  </a:moveTo>
                  <a:lnTo>
                    <a:pt x="5974" y="7468"/>
                  </a:lnTo>
                  <a:lnTo>
                    <a:pt x="5974" y="0"/>
                  </a:lnTo>
                  <a:lnTo>
                    <a:pt x="0" y="2987"/>
                  </a:lnTo>
                  <a:lnTo>
                    <a:pt x="0" y="2987"/>
                  </a:lnTo>
                  <a:lnTo>
                    <a:pt x="0" y="10456"/>
                  </a:lnTo>
                  <a:close/>
                </a:path>
              </a:pathLst>
            </a:custGeom>
            <a:solidFill>
              <a:srgbClr val="FF5F5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1" name="任意多边形: 形状 10270"/>
            <p:cNvSpPr/>
            <p:nvPr/>
          </p:nvSpPr>
          <p:spPr>
            <a:xfrm>
              <a:off x="6822500" y="4758778"/>
              <a:ext cx="29873" cy="14936"/>
            </a:xfrm>
            <a:custGeom>
              <a:avLst/>
              <a:gdLst>
                <a:gd name="connsiteX0" fmla="*/ 0 w 29872"/>
                <a:gd name="connsiteY0" fmla="*/ 19418 h 14936"/>
                <a:gd name="connsiteX1" fmla="*/ 31366 w 29872"/>
                <a:gd name="connsiteY1" fmla="*/ 1494 h 14936"/>
                <a:gd name="connsiteX2" fmla="*/ 31366 w 29872"/>
                <a:gd name="connsiteY2" fmla="*/ 0 h 14936"/>
                <a:gd name="connsiteX3" fmla="*/ 0 w 29872"/>
                <a:gd name="connsiteY3" fmla="*/ 17924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0" y="19418"/>
                  </a:moveTo>
                  <a:lnTo>
                    <a:pt x="31366" y="1494"/>
                  </a:lnTo>
                  <a:lnTo>
                    <a:pt x="31366" y="0"/>
                  </a:lnTo>
                  <a:lnTo>
                    <a:pt x="0" y="17924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2" name="任意多边形: 形状 10271"/>
            <p:cNvSpPr/>
            <p:nvPr/>
          </p:nvSpPr>
          <p:spPr>
            <a:xfrm>
              <a:off x="6822500" y="4763259"/>
              <a:ext cx="29873" cy="14936"/>
            </a:xfrm>
            <a:custGeom>
              <a:avLst/>
              <a:gdLst>
                <a:gd name="connsiteX0" fmla="*/ 0 w 29872"/>
                <a:gd name="connsiteY0" fmla="*/ 19417 h 14936"/>
                <a:gd name="connsiteX1" fmla="*/ 31366 w 29872"/>
                <a:gd name="connsiteY1" fmla="*/ 1494 h 14936"/>
                <a:gd name="connsiteX2" fmla="*/ 31366 w 29872"/>
                <a:gd name="connsiteY2" fmla="*/ 0 h 14936"/>
                <a:gd name="connsiteX3" fmla="*/ 0 w 29872"/>
                <a:gd name="connsiteY3" fmla="*/ 17923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0" y="19417"/>
                  </a:moveTo>
                  <a:lnTo>
                    <a:pt x="31366" y="1494"/>
                  </a:lnTo>
                  <a:lnTo>
                    <a:pt x="31366" y="0"/>
                  </a:lnTo>
                  <a:lnTo>
                    <a:pt x="0" y="17923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3" name="任意多边形: 形状 10272"/>
            <p:cNvSpPr/>
            <p:nvPr/>
          </p:nvSpPr>
          <p:spPr>
            <a:xfrm>
              <a:off x="6822500" y="4769233"/>
              <a:ext cx="29873" cy="14936"/>
            </a:xfrm>
            <a:custGeom>
              <a:avLst/>
              <a:gdLst>
                <a:gd name="connsiteX0" fmla="*/ 0 w 29872"/>
                <a:gd name="connsiteY0" fmla="*/ 19417 h 14936"/>
                <a:gd name="connsiteX1" fmla="*/ 31366 w 29872"/>
                <a:gd name="connsiteY1" fmla="*/ 1494 h 14936"/>
                <a:gd name="connsiteX2" fmla="*/ 31366 w 29872"/>
                <a:gd name="connsiteY2" fmla="*/ 0 h 14936"/>
                <a:gd name="connsiteX3" fmla="*/ 0 w 29872"/>
                <a:gd name="connsiteY3" fmla="*/ 17924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0" y="19417"/>
                  </a:moveTo>
                  <a:lnTo>
                    <a:pt x="31366" y="1494"/>
                  </a:lnTo>
                  <a:lnTo>
                    <a:pt x="31366" y="0"/>
                  </a:lnTo>
                  <a:lnTo>
                    <a:pt x="0" y="17924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4" name="任意多边形: 形状 10273"/>
            <p:cNvSpPr/>
            <p:nvPr/>
          </p:nvSpPr>
          <p:spPr>
            <a:xfrm>
              <a:off x="6850879" y="4758778"/>
              <a:ext cx="29873" cy="14936"/>
            </a:xfrm>
            <a:custGeom>
              <a:avLst/>
              <a:gdLst>
                <a:gd name="connsiteX0" fmla="*/ 0 w 29872"/>
                <a:gd name="connsiteY0" fmla="*/ 25392 h 14936"/>
                <a:gd name="connsiteX1" fmla="*/ 0 w 29872"/>
                <a:gd name="connsiteY1" fmla="*/ 26886 h 14936"/>
                <a:gd name="connsiteX2" fmla="*/ 43315 w 29872"/>
                <a:gd name="connsiteY2" fmla="*/ 1494 h 14936"/>
                <a:gd name="connsiteX3" fmla="*/ 43315 w 29872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0" y="25392"/>
                  </a:moveTo>
                  <a:lnTo>
                    <a:pt x="0" y="26886"/>
                  </a:lnTo>
                  <a:lnTo>
                    <a:pt x="43315" y="1494"/>
                  </a:lnTo>
                  <a:lnTo>
                    <a:pt x="43315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5" name="任意多边形: 形状 10274"/>
            <p:cNvSpPr/>
            <p:nvPr/>
          </p:nvSpPr>
          <p:spPr>
            <a:xfrm>
              <a:off x="6859841" y="4764753"/>
              <a:ext cx="29873" cy="14936"/>
            </a:xfrm>
            <a:custGeom>
              <a:avLst/>
              <a:gdLst>
                <a:gd name="connsiteX0" fmla="*/ 0 w 29872"/>
                <a:gd name="connsiteY0" fmla="*/ 20911 h 14936"/>
                <a:gd name="connsiteX1" fmla="*/ 34354 w 29872"/>
                <a:gd name="connsiteY1" fmla="*/ 1493 h 14936"/>
                <a:gd name="connsiteX2" fmla="*/ 34354 w 29872"/>
                <a:gd name="connsiteY2" fmla="*/ 0 h 14936"/>
                <a:gd name="connsiteX3" fmla="*/ 0 w 29872"/>
                <a:gd name="connsiteY3" fmla="*/ 19417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0" y="20911"/>
                  </a:moveTo>
                  <a:lnTo>
                    <a:pt x="34354" y="1493"/>
                  </a:lnTo>
                  <a:lnTo>
                    <a:pt x="34354" y="0"/>
                  </a:lnTo>
                  <a:lnTo>
                    <a:pt x="0" y="19417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6" name="任意多边形: 形状 10275"/>
            <p:cNvSpPr/>
            <p:nvPr/>
          </p:nvSpPr>
          <p:spPr>
            <a:xfrm>
              <a:off x="6862829" y="4769233"/>
              <a:ext cx="29873" cy="14936"/>
            </a:xfrm>
            <a:custGeom>
              <a:avLst/>
              <a:gdLst>
                <a:gd name="connsiteX0" fmla="*/ 0 w 29872"/>
                <a:gd name="connsiteY0" fmla="*/ 19417 h 14936"/>
                <a:gd name="connsiteX1" fmla="*/ 31366 w 29872"/>
                <a:gd name="connsiteY1" fmla="*/ 1494 h 14936"/>
                <a:gd name="connsiteX2" fmla="*/ 31366 w 29872"/>
                <a:gd name="connsiteY2" fmla="*/ 0 h 14936"/>
                <a:gd name="connsiteX3" fmla="*/ 0 w 29872"/>
                <a:gd name="connsiteY3" fmla="*/ 17924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0" y="19417"/>
                  </a:moveTo>
                  <a:lnTo>
                    <a:pt x="31366" y="1494"/>
                  </a:lnTo>
                  <a:lnTo>
                    <a:pt x="31366" y="0"/>
                  </a:lnTo>
                  <a:lnTo>
                    <a:pt x="0" y="17924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7" name="任意多边形: 形状 10276"/>
            <p:cNvSpPr/>
            <p:nvPr/>
          </p:nvSpPr>
          <p:spPr>
            <a:xfrm>
              <a:off x="6818020" y="4834953"/>
              <a:ext cx="14936" cy="14936"/>
            </a:xfrm>
            <a:custGeom>
              <a:avLst/>
              <a:gdLst>
                <a:gd name="connsiteX0" fmla="*/ 13443 w 14936"/>
                <a:gd name="connsiteY0" fmla="*/ 0 h 0"/>
                <a:gd name="connsiteX1" fmla="*/ 0 w 14936"/>
                <a:gd name="connsiteY1" fmla="*/ 7468 h 0"/>
                <a:gd name="connsiteX2" fmla="*/ 1493 w 14936"/>
                <a:gd name="connsiteY2" fmla="*/ 8962 h 0"/>
                <a:gd name="connsiteX3" fmla="*/ 1493 w 14936"/>
                <a:gd name="connsiteY3" fmla="*/ 10456 h 0"/>
                <a:gd name="connsiteX4" fmla="*/ 14936 w 14936"/>
                <a:gd name="connsiteY4" fmla="*/ 2987 h 0"/>
                <a:gd name="connsiteX5" fmla="*/ 13443 w 14936"/>
                <a:gd name="connsiteY5" fmla="*/ 14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>
                  <a:moveTo>
                    <a:pt x="13443" y="0"/>
                  </a:moveTo>
                  <a:lnTo>
                    <a:pt x="0" y="7468"/>
                  </a:lnTo>
                  <a:lnTo>
                    <a:pt x="1493" y="8962"/>
                  </a:lnTo>
                  <a:lnTo>
                    <a:pt x="1493" y="10456"/>
                  </a:lnTo>
                  <a:lnTo>
                    <a:pt x="14936" y="2987"/>
                  </a:lnTo>
                  <a:lnTo>
                    <a:pt x="13443" y="1494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8" name="任意多边形: 形状 10277"/>
            <p:cNvSpPr/>
            <p:nvPr/>
          </p:nvSpPr>
          <p:spPr>
            <a:xfrm>
              <a:off x="6891208" y="4793132"/>
              <a:ext cx="14936" cy="14936"/>
            </a:xfrm>
            <a:custGeom>
              <a:avLst/>
              <a:gdLst>
                <a:gd name="connsiteX0" fmla="*/ 13443 w 14936"/>
                <a:gd name="connsiteY0" fmla="*/ 0 h 0"/>
                <a:gd name="connsiteX1" fmla="*/ 0 w 14936"/>
                <a:gd name="connsiteY1" fmla="*/ 5974 h 0"/>
                <a:gd name="connsiteX2" fmla="*/ 1494 w 14936"/>
                <a:gd name="connsiteY2" fmla="*/ 7468 h 0"/>
                <a:gd name="connsiteX3" fmla="*/ 1494 w 14936"/>
                <a:gd name="connsiteY3" fmla="*/ 8962 h 0"/>
                <a:gd name="connsiteX4" fmla="*/ 14936 w 14936"/>
                <a:gd name="connsiteY4" fmla="*/ 2987 h 0"/>
                <a:gd name="connsiteX5" fmla="*/ 13443 w 14936"/>
                <a:gd name="connsiteY5" fmla="*/ 14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>
                  <a:moveTo>
                    <a:pt x="13443" y="0"/>
                  </a:moveTo>
                  <a:lnTo>
                    <a:pt x="0" y="5974"/>
                  </a:lnTo>
                  <a:lnTo>
                    <a:pt x="1494" y="7468"/>
                  </a:lnTo>
                  <a:lnTo>
                    <a:pt x="1494" y="8962"/>
                  </a:lnTo>
                  <a:lnTo>
                    <a:pt x="14936" y="2987"/>
                  </a:lnTo>
                  <a:lnTo>
                    <a:pt x="13443" y="1494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9" name="任意多边形: 形状 10278"/>
            <p:cNvSpPr/>
            <p:nvPr/>
          </p:nvSpPr>
          <p:spPr>
            <a:xfrm>
              <a:off x="6989684" y="4840928"/>
              <a:ext cx="59745" cy="89618"/>
            </a:xfrm>
            <a:custGeom>
              <a:avLst/>
              <a:gdLst>
                <a:gd name="connsiteX0" fmla="*/ 7571 w 59745"/>
                <a:gd name="connsiteY0" fmla="*/ 0 h 89618"/>
                <a:gd name="connsiteX1" fmla="*/ 103 w 59745"/>
                <a:gd name="connsiteY1" fmla="*/ 67214 h 89618"/>
                <a:gd name="connsiteX2" fmla="*/ 29976 w 59745"/>
                <a:gd name="connsiteY2" fmla="*/ 98580 h 89618"/>
                <a:gd name="connsiteX3" fmla="*/ 55368 w 59745"/>
                <a:gd name="connsiteY3" fmla="*/ 68707 h 89618"/>
                <a:gd name="connsiteX4" fmla="*/ 65823 w 59745"/>
                <a:gd name="connsiteY4" fmla="*/ 10456 h 89618"/>
                <a:gd name="connsiteX5" fmla="*/ 7571 w 59745"/>
                <a:gd name="connsiteY5" fmla="*/ 0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745" h="89618">
                  <a:moveTo>
                    <a:pt x="7571" y="0"/>
                  </a:moveTo>
                  <a:lnTo>
                    <a:pt x="103" y="67214"/>
                  </a:lnTo>
                  <a:cubicBezTo>
                    <a:pt x="-1390" y="83644"/>
                    <a:pt x="13546" y="95593"/>
                    <a:pt x="29976" y="98580"/>
                  </a:cubicBezTo>
                  <a:cubicBezTo>
                    <a:pt x="46406" y="100074"/>
                    <a:pt x="50887" y="85137"/>
                    <a:pt x="55368" y="68707"/>
                  </a:cubicBezTo>
                  <a:lnTo>
                    <a:pt x="65823" y="10456"/>
                  </a:lnTo>
                  <a:lnTo>
                    <a:pt x="7571" y="0"/>
                  </a:lnTo>
                  <a:close/>
                </a:path>
              </a:pathLst>
            </a:custGeom>
            <a:solidFill>
              <a:srgbClr val="254C6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0" name="任意多边形: 形状 10279"/>
            <p:cNvSpPr/>
            <p:nvPr/>
          </p:nvSpPr>
          <p:spPr>
            <a:xfrm>
              <a:off x="6994238" y="4785204"/>
              <a:ext cx="59745" cy="89618"/>
            </a:xfrm>
            <a:custGeom>
              <a:avLst/>
              <a:gdLst>
                <a:gd name="connsiteX0" fmla="*/ 67243 w 59745"/>
                <a:gd name="connsiteY0" fmla="*/ 34813 h 89618"/>
                <a:gd name="connsiteX1" fmla="*/ 59775 w 59745"/>
                <a:gd name="connsiteY1" fmla="*/ 88584 h 89618"/>
                <a:gd name="connsiteX2" fmla="*/ 30 w 59745"/>
                <a:gd name="connsiteY2" fmla="*/ 76635 h 89618"/>
                <a:gd name="connsiteX3" fmla="*/ 3017 w 59745"/>
                <a:gd name="connsiteY3" fmla="*/ 58711 h 89618"/>
                <a:gd name="connsiteX4" fmla="*/ 7498 w 59745"/>
                <a:gd name="connsiteY4" fmla="*/ 28838 h 89618"/>
                <a:gd name="connsiteX5" fmla="*/ 7498 w 59745"/>
                <a:gd name="connsiteY5" fmla="*/ 25851 h 89618"/>
                <a:gd name="connsiteX6" fmla="*/ 41852 w 59745"/>
                <a:gd name="connsiteY6" fmla="*/ 459 h 89618"/>
                <a:gd name="connsiteX7" fmla="*/ 67243 w 59745"/>
                <a:gd name="connsiteY7" fmla="*/ 34813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45" h="89618">
                  <a:moveTo>
                    <a:pt x="67243" y="34813"/>
                  </a:moveTo>
                  <a:lnTo>
                    <a:pt x="59775" y="88584"/>
                  </a:lnTo>
                  <a:cubicBezTo>
                    <a:pt x="53801" y="105014"/>
                    <a:pt x="-1464" y="96052"/>
                    <a:pt x="30" y="76635"/>
                  </a:cubicBezTo>
                  <a:lnTo>
                    <a:pt x="3017" y="58711"/>
                  </a:lnTo>
                  <a:lnTo>
                    <a:pt x="7498" y="28838"/>
                  </a:lnTo>
                  <a:lnTo>
                    <a:pt x="7498" y="25851"/>
                  </a:lnTo>
                  <a:cubicBezTo>
                    <a:pt x="10485" y="9421"/>
                    <a:pt x="25422" y="-2528"/>
                    <a:pt x="41852" y="459"/>
                  </a:cubicBezTo>
                  <a:cubicBezTo>
                    <a:pt x="58282" y="3446"/>
                    <a:pt x="68737" y="18383"/>
                    <a:pt x="67243" y="34813"/>
                  </a:cubicBezTo>
                  <a:close/>
                </a:path>
              </a:pathLst>
            </a:custGeom>
            <a:solidFill>
              <a:srgbClr val="254C6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1" name="任意多边形: 形状 10280"/>
            <p:cNvSpPr/>
            <p:nvPr/>
          </p:nvSpPr>
          <p:spPr>
            <a:xfrm>
              <a:off x="6836258" y="4839151"/>
              <a:ext cx="74682" cy="44809"/>
            </a:xfrm>
            <a:custGeom>
              <a:avLst/>
              <a:gdLst>
                <a:gd name="connsiteX0" fmla="*/ 75860 w 74681"/>
                <a:gd name="connsiteY0" fmla="*/ 46585 h 44809"/>
                <a:gd name="connsiteX1" fmla="*/ 54949 w 74681"/>
                <a:gd name="connsiteY1" fmla="*/ 52560 h 44809"/>
                <a:gd name="connsiteX2" fmla="*/ 34038 w 74681"/>
                <a:gd name="connsiteY2" fmla="*/ 42105 h 44809"/>
                <a:gd name="connsiteX3" fmla="*/ 17608 w 74681"/>
                <a:gd name="connsiteY3" fmla="*/ 34636 h 44809"/>
                <a:gd name="connsiteX4" fmla="*/ 8646 w 74681"/>
                <a:gd name="connsiteY4" fmla="*/ 33143 h 44809"/>
                <a:gd name="connsiteX5" fmla="*/ 8646 w 74681"/>
                <a:gd name="connsiteY5" fmla="*/ 25675 h 44809"/>
                <a:gd name="connsiteX6" fmla="*/ 2672 w 74681"/>
                <a:gd name="connsiteY6" fmla="*/ 15219 h 44809"/>
                <a:gd name="connsiteX7" fmla="*/ 5659 w 74681"/>
                <a:gd name="connsiteY7" fmla="*/ 6258 h 44809"/>
                <a:gd name="connsiteX8" fmla="*/ 8646 w 74681"/>
                <a:gd name="connsiteY8" fmla="*/ 283 h 44809"/>
                <a:gd name="connsiteX9" fmla="*/ 60924 w 74681"/>
                <a:gd name="connsiteY9" fmla="*/ 12232 h 44809"/>
                <a:gd name="connsiteX10" fmla="*/ 75860 w 74681"/>
                <a:gd name="connsiteY10" fmla="*/ 27168 h 44809"/>
                <a:gd name="connsiteX11" fmla="*/ 75860 w 74681"/>
                <a:gd name="connsiteY11" fmla="*/ 46585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44809">
                  <a:moveTo>
                    <a:pt x="75860" y="46585"/>
                  </a:moveTo>
                  <a:cubicBezTo>
                    <a:pt x="71379" y="52560"/>
                    <a:pt x="62417" y="54054"/>
                    <a:pt x="54949" y="52560"/>
                  </a:cubicBezTo>
                  <a:cubicBezTo>
                    <a:pt x="47481" y="51067"/>
                    <a:pt x="40013" y="46585"/>
                    <a:pt x="34038" y="42105"/>
                  </a:cubicBezTo>
                  <a:cubicBezTo>
                    <a:pt x="26570" y="37624"/>
                    <a:pt x="25076" y="37624"/>
                    <a:pt x="17608" y="34636"/>
                  </a:cubicBezTo>
                  <a:cubicBezTo>
                    <a:pt x="13127" y="33143"/>
                    <a:pt x="11634" y="33143"/>
                    <a:pt x="8646" y="33143"/>
                  </a:cubicBezTo>
                  <a:cubicBezTo>
                    <a:pt x="4166" y="31649"/>
                    <a:pt x="2672" y="25675"/>
                    <a:pt x="8646" y="25675"/>
                  </a:cubicBezTo>
                  <a:cubicBezTo>
                    <a:pt x="-3303" y="22688"/>
                    <a:pt x="-315" y="15219"/>
                    <a:pt x="2672" y="15219"/>
                  </a:cubicBezTo>
                  <a:cubicBezTo>
                    <a:pt x="-1809" y="13726"/>
                    <a:pt x="-315" y="6258"/>
                    <a:pt x="5659" y="6258"/>
                  </a:cubicBezTo>
                  <a:cubicBezTo>
                    <a:pt x="-315" y="4764"/>
                    <a:pt x="2672" y="283"/>
                    <a:pt x="8646" y="283"/>
                  </a:cubicBezTo>
                  <a:cubicBezTo>
                    <a:pt x="26570" y="-1211"/>
                    <a:pt x="45987" y="3270"/>
                    <a:pt x="60924" y="12232"/>
                  </a:cubicBezTo>
                  <a:cubicBezTo>
                    <a:pt x="66898" y="15219"/>
                    <a:pt x="72873" y="21194"/>
                    <a:pt x="75860" y="27168"/>
                  </a:cubicBezTo>
                  <a:cubicBezTo>
                    <a:pt x="78847" y="33143"/>
                    <a:pt x="80341" y="40611"/>
                    <a:pt x="75860" y="46585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2" name="任意多边形: 形状 10281"/>
            <p:cNvSpPr/>
            <p:nvPr/>
          </p:nvSpPr>
          <p:spPr>
            <a:xfrm>
              <a:off x="6870101" y="4825991"/>
              <a:ext cx="29873" cy="29873"/>
            </a:xfrm>
            <a:custGeom>
              <a:avLst/>
              <a:gdLst>
                <a:gd name="connsiteX0" fmla="*/ 9157 w 29872"/>
                <a:gd name="connsiteY0" fmla="*/ 2987 h 29872"/>
                <a:gd name="connsiteX1" fmla="*/ 4676 w 29872"/>
                <a:gd name="connsiteY1" fmla="*/ 0 h 29872"/>
                <a:gd name="connsiteX2" fmla="*/ 195 w 29872"/>
                <a:gd name="connsiteY2" fmla="*/ 4481 h 29872"/>
                <a:gd name="connsiteX3" fmla="*/ 9157 w 29872"/>
                <a:gd name="connsiteY3" fmla="*/ 20911 h 29872"/>
                <a:gd name="connsiteX4" fmla="*/ 21106 w 29872"/>
                <a:gd name="connsiteY4" fmla="*/ 26886 h 29872"/>
                <a:gd name="connsiteX5" fmla="*/ 37536 w 29872"/>
                <a:gd name="connsiteY5" fmla="*/ 32860 h 29872"/>
                <a:gd name="connsiteX6" fmla="*/ 9157 w 29872"/>
                <a:gd name="connsiteY6" fmla="*/ 2987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72" h="29872">
                  <a:moveTo>
                    <a:pt x="9157" y="2987"/>
                  </a:moveTo>
                  <a:cubicBezTo>
                    <a:pt x="7664" y="1494"/>
                    <a:pt x="6170" y="0"/>
                    <a:pt x="4676" y="0"/>
                  </a:cubicBezTo>
                  <a:cubicBezTo>
                    <a:pt x="1689" y="0"/>
                    <a:pt x="195" y="2987"/>
                    <a:pt x="195" y="4481"/>
                  </a:cubicBezTo>
                  <a:cubicBezTo>
                    <a:pt x="-1298" y="10456"/>
                    <a:pt x="6170" y="17924"/>
                    <a:pt x="9157" y="20911"/>
                  </a:cubicBezTo>
                  <a:cubicBezTo>
                    <a:pt x="13638" y="25392"/>
                    <a:pt x="15132" y="25392"/>
                    <a:pt x="21106" y="26886"/>
                  </a:cubicBezTo>
                  <a:cubicBezTo>
                    <a:pt x="27081" y="28379"/>
                    <a:pt x="31562" y="29873"/>
                    <a:pt x="37536" y="32860"/>
                  </a:cubicBezTo>
                  <a:cubicBezTo>
                    <a:pt x="24093" y="23898"/>
                    <a:pt x="15132" y="13443"/>
                    <a:pt x="9157" y="298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3" name="任意多边形: 形状 10282"/>
            <p:cNvSpPr/>
            <p:nvPr/>
          </p:nvSpPr>
          <p:spPr>
            <a:xfrm>
              <a:off x="6901267" y="4866320"/>
              <a:ext cx="134427" cy="74682"/>
            </a:xfrm>
            <a:custGeom>
              <a:avLst/>
              <a:gdLst>
                <a:gd name="connsiteX0" fmla="*/ 119886 w 134427"/>
                <a:gd name="connsiteY0" fmla="*/ 28379 h 74681"/>
                <a:gd name="connsiteX1" fmla="*/ 10851 w 134427"/>
                <a:gd name="connsiteY1" fmla="*/ 0 h 74681"/>
                <a:gd name="connsiteX2" fmla="*/ 3383 w 134427"/>
                <a:gd name="connsiteY2" fmla="*/ 25392 h 74681"/>
                <a:gd name="connsiteX3" fmla="*/ 97482 w 134427"/>
                <a:gd name="connsiteY3" fmla="*/ 85137 h 74681"/>
                <a:gd name="connsiteX4" fmla="*/ 136316 w 134427"/>
                <a:gd name="connsiteY4" fmla="*/ 67214 h 74681"/>
                <a:gd name="connsiteX5" fmla="*/ 119886 w 134427"/>
                <a:gd name="connsiteY5" fmla="*/ 28379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427" h="74681">
                  <a:moveTo>
                    <a:pt x="119886" y="28379"/>
                  </a:moveTo>
                  <a:lnTo>
                    <a:pt x="10851" y="0"/>
                  </a:lnTo>
                  <a:cubicBezTo>
                    <a:pt x="1889" y="0"/>
                    <a:pt x="-4085" y="19417"/>
                    <a:pt x="3383" y="25392"/>
                  </a:cubicBezTo>
                  <a:lnTo>
                    <a:pt x="97482" y="85137"/>
                  </a:lnTo>
                  <a:cubicBezTo>
                    <a:pt x="112418" y="91112"/>
                    <a:pt x="130342" y="83644"/>
                    <a:pt x="136316" y="67214"/>
                  </a:cubicBezTo>
                  <a:cubicBezTo>
                    <a:pt x="142291" y="52277"/>
                    <a:pt x="134823" y="34353"/>
                    <a:pt x="119886" y="28379"/>
                  </a:cubicBezTo>
                  <a:close/>
                </a:path>
              </a:pathLst>
            </a:custGeom>
            <a:solidFill>
              <a:srgbClr val="254C6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4" name="任意多边形: 形状 10283"/>
            <p:cNvSpPr/>
            <p:nvPr/>
          </p:nvSpPr>
          <p:spPr>
            <a:xfrm>
              <a:off x="6916599" y="4788650"/>
              <a:ext cx="74682" cy="44809"/>
            </a:xfrm>
            <a:custGeom>
              <a:avLst/>
              <a:gdLst>
                <a:gd name="connsiteX0" fmla="*/ 50784 w 74681"/>
                <a:gd name="connsiteY0" fmla="*/ 2987 h 44809"/>
                <a:gd name="connsiteX1" fmla="*/ 41822 w 74681"/>
                <a:gd name="connsiteY1" fmla="*/ 0 h 44809"/>
                <a:gd name="connsiteX2" fmla="*/ 34354 w 74681"/>
                <a:gd name="connsiteY2" fmla="*/ 1494 h 44809"/>
                <a:gd name="connsiteX3" fmla="*/ 16430 w 74681"/>
                <a:gd name="connsiteY3" fmla="*/ 5975 h 44809"/>
                <a:gd name="connsiteX4" fmla="*/ 10455 w 74681"/>
                <a:gd name="connsiteY4" fmla="*/ 7468 h 44809"/>
                <a:gd name="connsiteX5" fmla="*/ 1494 w 74681"/>
                <a:gd name="connsiteY5" fmla="*/ 14936 h 44809"/>
                <a:gd name="connsiteX6" fmla="*/ 0 w 74681"/>
                <a:gd name="connsiteY6" fmla="*/ 17924 h 44809"/>
                <a:gd name="connsiteX7" fmla="*/ 1494 w 74681"/>
                <a:gd name="connsiteY7" fmla="*/ 19418 h 44809"/>
                <a:gd name="connsiteX8" fmla="*/ 10455 w 74681"/>
                <a:gd name="connsiteY8" fmla="*/ 20911 h 44809"/>
                <a:gd name="connsiteX9" fmla="*/ 26885 w 74681"/>
                <a:gd name="connsiteY9" fmla="*/ 25392 h 44809"/>
                <a:gd name="connsiteX10" fmla="*/ 41822 w 74681"/>
                <a:gd name="connsiteY10" fmla="*/ 32860 h 44809"/>
                <a:gd name="connsiteX11" fmla="*/ 29873 w 74681"/>
                <a:gd name="connsiteY11" fmla="*/ 29873 h 44809"/>
                <a:gd name="connsiteX12" fmla="*/ 19417 w 74681"/>
                <a:gd name="connsiteY12" fmla="*/ 35848 h 44809"/>
                <a:gd name="connsiteX13" fmla="*/ 19417 w 74681"/>
                <a:gd name="connsiteY13" fmla="*/ 37341 h 44809"/>
                <a:gd name="connsiteX14" fmla="*/ 19417 w 74681"/>
                <a:gd name="connsiteY14" fmla="*/ 38835 h 44809"/>
                <a:gd name="connsiteX15" fmla="*/ 25392 w 74681"/>
                <a:gd name="connsiteY15" fmla="*/ 41822 h 44809"/>
                <a:gd name="connsiteX16" fmla="*/ 31366 w 74681"/>
                <a:gd name="connsiteY16" fmla="*/ 41822 h 44809"/>
                <a:gd name="connsiteX17" fmla="*/ 37341 w 74681"/>
                <a:gd name="connsiteY17" fmla="*/ 43316 h 44809"/>
                <a:gd name="connsiteX18" fmla="*/ 64226 w 74681"/>
                <a:gd name="connsiteY18" fmla="*/ 43316 h 44809"/>
                <a:gd name="connsiteX19" fmla="*/ 68707 w 74681"/>
                <a:gd name="connsiteY19" fmla="*/ 40328 h 44809"/>
                <a:gd name="connsiteX20" fmla="*/ 76175 w 74681"/>
                <a:gd name="connsiteY20" fmla="*/ 29873 h 44809"/>
                <a:gd name="connsiteX21" fmla="*/ 76175 w 74681"/>
                <a:gd name="connsiteY21" fmla="*/ 26886 h 44809"/>
                <a:gd name="connsiteX22" fmla="*/ 76175 w 74681"/>
                <a:gd name="connsiteY22" fmla="*/ 25392 h 44809"/>
                <a:gd name="connsiteX23" fmla="*/ 65720 w 74681"/>
                <a:gd name="connsiteY23" fmla="*/ 11949 h 44809"/>
                <a:gd name="connsiteX24" fmla="*/ 50784 w 74681"/>
                <a:gd name="connsiteY24" fmla="*/ 2987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4681" h="44809">
                  <a:moveTo>
                    <a:pt x="50784" y="2987"/>
                  </a:moveTo>
                  <a:cubicBezTo>
                    <a:pt x="47796" y="1494"/>
                    <a:pt x="44809" y="0"/>
                    <a:pt x="41822" y="0"/>
                  </a:cubicBezTo>
                  <a:cubicBezTo>
                    <a:pt x="38835" y="0"/>
                    <a:pt x="37341" y="0"/>
                    <a:pt x="34354" y="1494"/>
                  </a:cubicBezTo>
                  <a:cubicBezTo>
                    <a:pt x="28379" y="2987"/>
                    <a:pt x="22405" y="4481"/>
                    <a:pt x="16430" y="5975"/>
                  </a:cubicBezTo>
                  <a:cubicBezTo>
                    <a:pt x="14936" y="5975"/>
                    <a:pt x="13443" y="7468"/>
                    <a:pt x="10455" y="7468"/>
                  </a:cubicBezTo>
                  <a:cubicBezTo>
                    <a:pt x="5975" y="8962"/>
                    <a:pt x="2987" y="11949"/>
                    <a:pt x="1494" y="14936"/>
                  </a:cubicBezTo>
                  <a:cubicBezTo>
                    <a:pt x="1494" y="16430"/>
                    <a:pt x="0" y="17924"/>
                    <a:pt x="0" y="17924"/>
                  </a:cubicBezTo>
                  <a:cubicBezTo>
                    <a:pt x="0" y="17924"/>
                    <a:pt x="0" y="19418"/>
                    <a:pt x="1494" y="19418"/>
                  </a:cubicBezTo>
                  <a:cubicBezTo>
                    <a:pt x="4481" y="20911"/>
                    <a:pt x="7468" y="20911"/>
                    <a:pt x="10455" y="20911"/>
                  </a:cubicBezTo>
                  <a:cubicBezTo>
                    <a:pt x="16430" y="20911"/>
                    <a:pt x="22405" y="22405"/>
                    <a:pt x="26885" y="25392"/>
                  </a:cubicBezTo>
                  <a:cubicBezTo>
                    <a:pt x="31366" y="28379"/>
                    <a:pt x="37341" y="31366"/>
                    <a:pt x="41822" y="32860"/>
                  </a:cubicBezTo>
                  <a:cubicBezTo>
                    <a:pt x="38835" y="31366"/>
                    <a:pt x="34354" y="29873"/>
                    <a:pt x="29873" y="29873"/>
                  </a:cubicBezTo>
                  <a:cubicBezTo>
                    <a:pt x="25392" y="29873"/>
                    <a:pt x="20911" y="31366"/>
                    <a:pt x="19417" y="35848"/>
                  </a:cubicBezTo>
                  <a:cubicBezTo>
                    <a:pt x="19417" y="35848"/>
                    <a:pt x="19417" y="35848"/>
                    <a:pt x="19417" y="37341"/>
                  </a:cubicBezTo>
                  <a:cubicBezTo>
                    <a:pt x="19417" y="37341"/>
                    <a:pt x="19417" y="37341"/>
                    <a:pt x="19417" y="38835"/>
                  </a:cubicBezTo>
                  <a:cubicBezTo>
                    <a:pt x="20911" y="40328"/>
                    <a:pt x="22405" y="41822"/>
                    <a:pt x="25392" y="41822"/>
                  </a:cubicBezTo>
                  <a:cubicBezTo>
                    <a:pt x="26885" y="41822"/>
                    <a:pt x="28379" y="41822"/>
                    <a:pt x="31366" y="41822"/>
                  </a:cubicBezTo>
                  <a:cubicBezTo>
                    <a:pt x="32860" y="41822"/>
                    <a:pt x="35847" y="43316"/>
                    <a:pt x="37341" y="43316"/>
                  </a:cubicBezTo>
                  <a:cubicBezTo>
                    <a:pt x="46303" y="46303"/>
                    <a:pt x="55264" y="47796"/>
                    <a:pt x="64226" y="43316"/>
                  </a:cubicBezTo>
                  <a:cubicBezTo>
                    <a:pt x="65720" y="43316"/>
                    <a:pt x="67214" y="41822"/>
                    <a:pt x="68707" y="40328"/>
                  </a:cubicBezTo>
                  <a:cubicBezTo>
                    <a:pt x="71694" y="37341"/>
                    <a:pt x="74682" y="34354"/>
                    <a:pt x="76175" y="29873"/>
                  </a:cubicBezTo>
                  <a:cubicBezTo>
                    <a:pt x="76175" y="28379"/>
                    <a:pt x="76175" y="28379"/>
                    <a:pt x="76175" y="26886"/>
                  </a:cubicBezTo>
                  <a:cubicBezTo>
                    <a:pt x="76175" y="26886"/>
                    <a:pt x="76175" y="25392"/>
                    <a:pt x="76175" y="25392"/>
                  </a:cubicBezTo>
                  <a:cubicBezTo>
                    <a:pt x="74682" y="19418"/>
                    <a:pt x="70201" y="14936"/>
                    <a:pt x="65720" y="11949"/>
                  </a:cubicBezTo>
                  <a:cubicBezTo>
                    <a:pt x="61239" y="8962"/>
                    <a:pt x="55264" y="5975"/>
                    <a:pt x="50784" y="298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5" name="任意多边形: 形状 10284"/>
            <p:cNvSpPr/>
            <p:nvPr/>
          </p:nvSpPr>
          <p:spPr>
            <a:xfrm>
              <a:off x="6936880" y="4788650"/>
              <a:ext cx="44809" cy="29873"/>
            </a:xfrm>
            <a:custGeom>
              <a:avLst/>
              <a:gdLst>
                <a:gd name="connsiteX0" fmla="*/ 630 w 44809"/>
                <a:gd name="connsiteY0" fmla="*/ 37341 h 29872"/>
                <a:gd name="connsiteX1" fmla="*/ 6605 w 44809"/>
                <a:gd name="connsiteY1" fmla="*/ 40328 h 29872"/>
                <a:gd name="connsiteX2" fmla="*/ 12579 w 44809"/>
                <a:gd name="connsiteY2" fmla="*/ 40328 h 29872"/>
                <a:gd name="connsiteX3" fmla="*/ 18554 w 44809"/>
                <a:gd name="connsiteY3" fmla="*/ 41822 h 29872"/>
                <a:gd name="connsiteX4" fmla="*/ 45439 w 44809"/>
                <a:gd name="connsiteY4" fmla="*/ 41822 h 29872"/>
                <a:gd name="connsiteX5" fmla="*/ 49920 w 44809"/>
                <a:gd name="connsiteY5" fmla="*/ 38835 h 29872"/>
                <a:gd name="connsiteX6" fmla="*/ 57388 w 44809"/>
                <a:gd name="connsiteY6" fmla="*/ 28379 h 29872"/>
                <a:gd name="connsiteX7" fmla="*/ 57388 w 44809"/>
                <a:gd name="connsiteY7" fmla="*/ 25392 h 29872"/>
                <a:gd name="connsiteX8" fmla="*/ 57388 w 44809"/>
                <a:gd name="connsiteY8" fmla="*/ 23898 h 29872"/>
                <a:gd name="connsiteX9" fmla="*/ 46933 w 44809"/>
                <a:gd name="connsiteY9" fmla="*/ 10456 h 29872"/>
                <a:gd name="connsiteX10" fmla="*/ 30503 w 44809"/>
                <a:gd name="connsiteY10" fmla="*/ 1494 h 29872"/>
                <a:gd name="connsiteX11" fmla="*/ 24528 w 44809"/>
                <a:gd name="connsiteY11" fmla="*/ 0 h 29872"/>
                <a:gd name="connsiteX12" fmla="*/ 20047 w 44809"/>
                <a:gd name="connsiteY12" fmla="*/ 23898 h 29872"/>
                <a:gd name="connsiteX13" fmla="*/ 17060 w 44809"/>
                <a:gd name="connsiteY13" fmla="*/ 29873 h 29872"/>
                <a:gd name="connsiteX14" fmla="*/ 11086 w 44809"/>
                <a:gd name="connsiteY14" fmla="*/ 28379 h 29872"/>
                <a:gd name="connsiteX15" fmla="*/ 630 w 44809"/>
                <a:gd name="connsiteY15" fmla="*/ 37341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29872">
                  <a:moveTo>
                    <a:pt x="630" y="37341"/>
                  </a:moveTo>
                  <a:cubicBezTo>
                    <a:pt x="2124" y="38835"/>
                    <a:pt x="3617" y="40328"/>
                    <a:pt x="6605" y="40328"/>
                  </a:cubicBezTo>
                  <a:cubicBezTo>
                    <a:pt x="8098" y="40328"/>
                    <a:pt x="9592" y="40328"/>
                    <a:pt x="12579" y="40328"/>
                  </a:cubicBezTo>
                  <a:cubicBezTo>
                    <a:pt x="14073" y="40328"/>
                    <a:pt x="17060" y="41822"/>
                    <a:pt x="18554" y="41822"/>
                  </a:cubicBezTo>
                  <a:cubicBezTo>
                    <a:pt x="27515" y="44809"/>
                    <a:pt x="36477" y="46303"/>
                    <a:pt x="45439" y="41822"/>
                  </a:cubicBezTo>
                  <a:cubicBezTo>
                    <a:pt x="46933" y="41822"/>
                    <a:pt x="48426" y="40328"/>
                    <a:pt x="49920" y="38835"/>
                  </a:cubicBezTo>
                  <a:cubicBezTo>
                    <a:pt x="52907" y="35848"/>
                    <a:pt x="55895" y="32860"/>
                    <a:pt x="57388" y="28379"/>
                  </a:cubicBezTo>
                  <a:cubicBezTo>
                    <a:pt x="57388" y="26886"/>
                    <a:pt x="57388" y="26886"/>
                    <a:pt x="57388" y="25392"/>
                  </a:cubicBezTo>
                  <a:cubicBezTo>
                    <a:pt x="57388" y="25392"/>
                    <a:pt x="57388" y="23898"/>
                    <a:pt x="57388" y="23898"/>
                  </a:cubicBezTo>
                  <a:cubicBezTo>
                    <a:pt x="55895" y="17924"/>
                    <a:pt x="51414" y="13443"/>
                    <a:pt x="46933" y="10456"/>
                  </a:cubicBezTo>
                  <a:cubicBezTo>
                    <a:pt x="42452" y="7468"/>
                    <a:pt x="36477" y="4481"/>
                    <a:pt x="30503" y="1494"/>
                  </a:cubicBezTo>
                  <a:cubicBezTo>
                    <a:pt x="29009" y="0"/>
                    <a:pt x="27515" y="0"/>
                    <a:pt x="24528" y="0"/>
                  </a:cubicBezTo>
                  <a:lnTo>
                    <a:pt x="20047" y="23898"/>
                  </a:lnTo>
                  <a:cubicBezTo>
                    <a:pt x="20047" y="23898"/>
                    <a:pt x="18554" y="28379"/>
                    <a:pt x="17060" y="29873"/>
                  </a:cubicBezTo>
                  <a:cubicBezTo>
                    <a:pt x="15566" y="29873"/>
                    <a:pt x="12579" y="28379"/>
                    <a:pt x="11086" y="28379"/>
                  </a:cubicBezTo>
                  <a:cubicBezTo>
                    <a:pt x="-3851" y="29873"/>
                    <a:pt x="630" y="37341"/>
                    <a:pt x="630" y="37341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6" name="任意多边形: 形状 10285"/>
            <p:cNvSpPr/>
            <p:nvPr/>
          </p:nvSpPr>
          <p:spPr>
            <a:xfrm>
              <a:off x="6977838" y="4811055"/>
              <a:ext cx="14936" cy="29873"/>
            </a:xfrm>
            <a:custGeom>
              <a:avLst/>
              <a:gdLst>
                <a:gd name="connsiteX0" fmla="*/ 22405 w 14936"/>
                <a:gd name="connsiteY0" fmla="*/ 2987 h 29872"/>
                <a:gd name="connsiteX1" fmla="*/ 17924 w 14936"/>
                <a:gd name="connsiteY1" fmla="*/ 32860 h 29872"/>
                <a:gd name="connsiteX2" fmla="*/ 0 w 14936"/>
                <a:gd name="connsiteY2" fmla="*/ 20911 h 29872"/>
                <a:gd name="connsiteX3" fmla="*/ 13443 w 14936"/>
                <a:gd name="connsiteY3" fmla="*/ 0 h 29872"/>
                <a:gd name="connsiteX4" fmla="*/ 22405 w 14936"/>
                <a:gd name="connsiteY4" fmla="*/ 2987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29872">
                  <a:moveTo>
                    <a:pt x="22405" y="2987"/>
                  </a:moveTo>
                  <a:lnTo>
                    <a:pt x="17924" y="32860"/>
                  </a:lnTo>
                  <a:lnTo>
                    <a:pt x="0" y="20911"/>
                  </a:lnTo>
                  <a:cubicBezTo>
                    <a:pt x="1493" y="10456"/>
                    <a:pt x="4481" y="2987"/>
                    <a:pt x="13443" y="0"/>
                  </a:cubicBezTo>
                  <a:lnTo>
                    <a:pt x="22405" y="2987"/>
                  </a:lnTo>
                  <a:close/>
                </a:path>
              </a:pathLst>
            </a:custGeom>
            <a:solidFill>
              <a:srgbClr val="254C6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7" name="任意多边形: 形状 10286"/>
            <p:cNvSpPr/>
            <p:nvPr/>
          </p:nvSpPr>
          <p:spPr>
            <a:xfrm>
              <a:off x="4115288" y="6132921"/>
              <a:ext cx="89618" cy="44809"/>
            </a:xfrm>
            <a:custGeom>
              <a:avLst/>
              <a:gdLst>
                <a:gd name="connsiteX0" fmla="*/ 6721 w 89618"/>
                <a:gd name="connsiteY0" fmla="*/ 4481 h 44809"/>
                <a:gd name="connsiteX1" fmla="*/ 6721 w 89618"/>
                <a:gd name="connsiteY1" fmla="*/ 23898 h 44809"/>
                <a:gd name="connsiteX2" fmla="*/ 58999 w 89618"/>
                <a:gd name="connsiteY2" fmla="*/ 53771 h 44809"/>
                <a:gd name="connsiteX3" fmla="*/ 93352 w 89618"/>
                <a:gd name="connsiteY3" fmla="*/ 53771 h 44809"/>
                <a:gd name="connsiteX4" fmla="*/ 93352 w 89618"/>
                <a:gd name="connsiteY4" fmla="*/ 53771 h 44809"/>
                <a:gd name="connsiteX5" fmla="*/ 93352 w 89618"/>
                <a:gd name="connsiteY5" fmla="*/ 34354 h 44809"/>
                <a:gd name="connsiteX6" fmla="*/ 41075 w 89618"/>
                <a:gd name="connsiteY6" fmla="*/ 4481 h 44809"/>
                <a:gd name="connsiteX7" fmla="*/ 6721 w 89618"/>
                <a:gd name="connsiteY7" fmla="*/ 4481 h 44809"/>
                <a:gd name="connsiteX8" fmla="*/ 6721 w 89618"/>
                <a:gd name="connsiteY8" fmla="*/ 448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4481"/>
                  </a:moveTo>
                  <a:cubicBezTo>
                    <a:pt x="-2240" y="10455"/>
                    <a:pt x="-2240" y="17923"/>
                    <a:pt x="6721" y="23898"/>
                  </a:cubicBezTo>
                  <a:lnTo>
                    <a:pt x="58999" y="53771"/>
                  </a:lnTo>
                  <a:cubicBezTo>
                    <a:pt x="67960" y="59745"/>
                    <a:pt x="82897" y="59745"/>
                    <a:pt x="93352" y="53771"/>
                  </a:cubicBezTo>
                  <a:lnTo>
                    <a:pt x="93352" y="53771"/>
                  </a:lnTo>
                  <a:cubicBezTo>
                    <a:pt x="102314" y="47796"/>
                    <a:pt x="102314" y="40328"/>
                    <a:pt x="93352" y="34354"/>
                  </a:cubicBezTo>
                  <a:lnTo>
                    <a:pt x="41075" y="4481"/>
                  </a:lnTo>
                  <a:cubicBezTo>
                    <a:pt x="30620" y="-1494"/>
                    <a:pt x="15683" y="-1494"/>
                    <a:pt x="6721" y="4481"/>
                  </a:cubicBezTo>
                  <a:lnTo>
                    <a:pt x="6721" y="4481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8" name="任意多边形: 形状 10287"/>
            <p:cNvSpPr/>
            <p:nvPr/>
          </p:nvSpPr>
          <p:spPr>
            <a:xfrm>
              <a:off x="4114541" y="6103048"/>
              <a:ext cx="89618" cy="74682"/>
            </a:xfrm>
            <a:custGeom>
              <a:avLst/>
              <a:gdLst>
                <a:gd name="connsiteX0" fmla="*/ 56758 w 89618"/>
                <a:gd name="connsiteY0" fmla="*/ 2987 h 74681"/>
                <a:gd name="connsiteX1" fmla="*/ 17924 w 89618"/>
                <a:gd name="connsiteY1" fmla="*/ 0 h 74681"/>
                <a:gd name="connsiteX2" fmla="*/ 0 w 89618"/>
                <a:gd name="connsiteY2" fmla="*/ 43316 h 74681"/>
                <a:gd name="connsiteX3" fmla="*/ 100074 w 89618"/>
                <a:gd name="connsiteY3" fmla="*/ 76175 h 74681"/>
                <a:gd name="connsiteX4" fmla="*/ 67214 w 89618"/>
                <a:gd name="connsiteY4" fmla="*/ 29873 h 74681"/>
                <a:gd name="connsiteX5" fmla="*/ 56758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56758" y="2987"/>
                  </a:moveTo>
                  <a:lnTo>
                    <a:pt x="17924" y="0"/>
                  </a:lnTo>
                  <a:cubicBezTo>
                    <a:pt x="8962" y="11949"/>
                    <a:pt x="2987" y="23898"/>
                    <a:pt x="0" y="43316"/>
                  </a:cubicBezTo>
                  <a:lnTo>
                    <a:pt x="100074" y="76175"/>
                  </a:lnTo>
                  <a:cubicBezTo>
                    <a:pt x="103061" y="62733"/>
                    <a:pt x="86631" y="43316"/>
                    <a:pt x="67214" y="29873"/>
                  </a:cubicBezTo>
                  <a:cubicBezTo>
                    <a:pt x="59745" y="22405"/>
                    <a:pt x="64226" y="10456"/>
                    <a:pt x="56758" y="2987"/>
                  </a:cubicBez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9" name="任意多边形: 形状 10288"/>
            <p:cNvSpPr/>
            <p:nvPr/>
          </p:nvSpPr>
          <p:spPr>
            <a:xfrm>
              <a:off x="4228804" y="6067201"/>
              <a:ext cx="89618" cy="44809"/>
            </a:xfrm>
            <a:custGeom>
              <a:avLst/>
              <a:gdLst>
                <a:gd name="connsiteX0" fmla="*/ 6721 w 89618"/>
                <a:gd name="connsiteY0" fmla="*/ 4481 h 44809"/>
                <a:gd name="connsiteX1" fmla="*/ 6721 w 89618"/>
                <a:gd name="connsiteY1" fmla="*/ 23898 h 44809"/>
                <a:gd name="connsiteX2" fmla="*/ 58999 w 89618"/>
                <a:gd name="connsiteY2" fmla="*/ 53771 h 44809"/>
                <a:gd name="connsiteX3" fmla="*/ 93352 w 89618"/>
                <a:gd name="connsiteY3" fmla="*/ 53771 h 44809"/>
                <a:gd name="connsiteX4" fmla="*/ 93352 w 89618"/>
                <a:gd name="connsiteY4" fmla="*/ 53771 h 44809"/>
                <a:gd name="connsiteX5" fmla="*/ 93352 w 89618"/>
                <a:gd name="connsiteY5" fmla="*/ 34354 h 44809"/>
                <a:gd name="connsiteX6" fmla="*/ 41075 w 89618"/>
                <a:gd name="connsiteY6" fmla="*/ 4481 h 44809"/>
                <a:gd name="connsiteX7" fmla="*/ 6721 w 89618"/>
                <a:gd name="connsiteY7" fmla="*/ 4481 h 44809"/>
                <a:gd name="connsiteX8" fmla="*/ 6721 w 89618"/>
                <a:gd name="connsiteY8" fmla="*/ 448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4481"/>
                  </a:moveTo>
                  <a:cubicBezTo>
                    <a:pt x="-2240" y="10456"/>
                    <a:pt x="-2240" y="17924"/>
                    <a:pt x="6721" y="23898"/>
                  </a:cubicBezTo>
                  <a:lnTo>
                    <a:pt x="58999" y="53771"/>
                  </a:lnTo>
                  <a:cubicBezTo>
                    <a:pt x="67960" y="59745"/>
                    <a:pt x="82897" y="59745"/>
                    <a:pt x="93352" y="53771"/>
                  </a:cubicBezTo>
                  <a:lnTo>
                    <a:pt x="93352" y="53771"/>
                  </a:lnTo>
                  <a:cubicBezTo>
                    <a:pt x="102314" y="47796"/>
                    <a:pt x="102314" y="40328"/>
                    <a:pt x="93352" y="34354"/>
                  </a:cubicBezTo>
                  <a:lnTo>
                    <a:pt x="41075" y="4481"/>
                  </a:lnTo>
                  <a:cubicBezTo>
                    <a:pt x="30620" y="-1494"/>
                    <a:pt x="15683" y="-1494"/>
                    <a:pt x="6721" y="4481"/>
                  </a:cubicBezTo>
                  <a:lnTo>
                    <a:pt x="6721" y="4481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0" name="任意多边形: 形状 10289"/>
            <p:cNvSpPr/>
            <p:nvPr/>
          </p:nvSpPr>
          <p:spPr>
            <a:xfrm>
              <a:off x="4229551" y="6037329"/>
              <a:ext cx="89618" cy="74682"/>
            </a:xfrm>
            <a:custGeom>
              <a:avLst/>
              <a:gdLst>
                <a:gd name="connsiteX0" fmla="*/ 52277 w 89618"/>
                <a:gd name="connsiteY0" fmla="*/ 0 h 74681"/>
                <a:gd name="connsiteX1" fmla="*/ 17924 w 89618"/>
                <a:gd name="connsiteY1" fmla="*/ 0 h 74681"/>
                <a:gd name="connsiteX2" fmla="*/ 0 w 89618"/>
                <a:gd name="connsiteY2" fmla="*/ 43315 h 74681"/>
                <a:gd name="connsiteX3" fmla="*/ 100074 w 89618"/>
                <a:gd name="connsiteY3" fmla="*/ 76175 h 74681"/>
                <a:gd name="connsiteX4" fmla="*/ 67214 w 89618"/>
                <a:gd name="connsiteY4" fmla="*/ 29873 h 74681"/>
                <a:gd name="connsiteX5" fmla="*/ 52277 w 89618"/>
                <a:gd name="connsiteY5" fmla="*/ 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52277" y="0"/>
                  </a:moveTo>
                  <a:lnTo>
                    <a:pt x="17924" y="0"/>
                  </a:lnTo>
                  <a:cubicBezTo>
                    <a:pt x="8962" y="11949"/>
                    <a:pt x="2987" y="23898"/>
                    <a:pt x="0" y="43315"/>
                  </a:cubicBezTo>
                  <a:lnTo>
                    <a:pt x="100074" y="76175"/>
                  </a:lnTo>
                  <a:cubicBezTo>
                    <a:pt x="103061" y="62733"/>
                    <a:pt x="86631" y="41822"/>
                    <a:pt x="67214" y="29873"/>
                  </a:cubicBezTo>
                  <a:cubicBezTo>
                    <a:pt x="52277" y="19418"/>
                    <a:pt x="58252" y="7468"/>
                    <a:pt x="52277" y="0"/>
                  </a:cubicBez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1" name="任意多边形: 形状 10290"/>
            <p:cNvSpPr/>
            <p:nvPr/>
          </p:nvSpPr>
          <p:spPr>
            <a:xfrm>
              <a:off x="4198185" y="5634047"/>
              <a:ext cx="104554" cy="224045"/>
            </a:xfrm>
            <a:custGeom>
              <a:avLst/>
              <a:gdLst>
                <a:gd name="connsiteX0" fmla="*/ 110529 w 104554"/>
                <a:gd name="connsiteY0" fmla="*/ 216577 h 224045"/>
                <a:gd name="connsiteX1" fmla="*/ 41822 w 104554"/>
                <a:gd name="connsiteY1" fmla="*/ 227033 h 224045"/>
                <a:gd name="connsiteX2" fmla="*/ 29873 w 104554"/>
                <a:gd name="connsiteY2" fmla="*/ 176249 h 224045"/>
                <a:gd name="connsiteX3" fmla="*/ 13443 w 104554"/>
                <a:gd name="connsiteY3" fmla="*/ 109036 h 224045"/>
                <a:gd name="connsiteX4" fmla="*/ 0 w 104554"/>
                <a:gd name="connsiteY4" fmla="*/ 10456 h 224045"/>
                <a:gd name="connsiteX5" fmla="*/ 106048 w 104554"/>
                <a:gd name="connsiteY5" fmla="*/ 0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554" h="224045">
                  <a:moveTo>
                    <a:pt x="110529" y="216577"/>
                  </a:moveTo>
                  <a:lnTo>
                    <a:pt x="41822" y="227033"/>
                  </a:lnTo>
                  <a:lnTo>
                    <a:pt x="29873" y="176249"/>
                  </a:lnTo>
                  <a:lnTo>
                    <a:pt x="13443" y="109036"/>
                  </a:lnTo>
                  <a:lnTo>
                    <a:pt x="0" y="10456"/>
                  </a:lnTo>
                  <a:lnTo>
                    <a:pt x="106048" y="0"/>
                  </a:ln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2" name="任意多边形: 形状 10291"/>
            <p:cNvSpPr/>
            <p:nvPr/>
          </p:nvSpPr>
          <p:spPr>
            <a:xfrm>
              <a:off x="4211628" y="5725159"/>
              <a:ext cx="14936" cy="74682"/>
            </a:xfrm>
            <a:custGeom>
              <a:avLst/>
              <a:gdLst>
                <a:gd name="connsiteX0" fmla="*/ 28379 w 14936"/>
                <a:gd name="connsiteY0" fmla="*/ 0 h 74681"/>
                <a:gd name="connsiteX1" fmla="*/ 17924 w 14936"/>
                <a:gd name="connsiteY1" fmla="*/ 59745 h 74681"/>
                <a:gd name="connsiteX2" fmla="*/ 16430 w 14936"/>
                <a:gd name="connsiteY2" fmla="*/ 83644 h 74681"/>
                <a:gd name="connsiteX3" fmla="*/ 0 w 14936"/>
                <a:gd name="connsiteY3" fmla="*/ 16430 h 74681"/>
                <a:gd name="connsiteX4" fmla="*/ 2987 w 14936"/>
                <a:gd name="connsiteY4" fmla="*/ 13443 h 74681"/>
                <a:gd name="connsiteX5" fmla="*/ 28379 w 14936"/>
                <a:gd name="connsiteY5" fmla="*/ 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 h="74681">
                  <a:moveTo>
                    <a:pt x="28379" y="0"/>
                  </a:moveTo>
                  <a:cubicBezTo>
                    <a:pt x="20911" y="19417"/>
                    <a:pt x="19417" y="40328"/>
                    <a:pt x="17924" y="59745"/>
                  </a:cubicBezTo>
                  <a:cubicBezTo>
                    <a:pt x="17924" y="67214"/>
                    <a:pt x="16430" y="76175"/>
                    <a:pt x="16430" y="83644"/>
                  </a:cubicBezTo>
                  <a:lnTo>
                    <a:pt x="0" y="16430"/>
                  </a:lnTo>
                  <a:cubicBezTo>
                    <a:pt x="1494" y="14936"/>
                    <a:pt x="2987" y="14936"/>
                    <a:pt x="2987" y="13443"/>
                  </a:cubicBezTo>
                  <a:cubicBezTo>
                    <a:pt x="11949" y="10456"/>
                    <a:pt x="19417" y="5974"/>
                    <a:pt x="28379" y="0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3" name="任意多边形: 形状 10292"/>
            <p:cNvSpPr/>
            <p:nvPr/>
          </p:nvSpPr>
          <p:spPr>
            <a:xfrm>
              <a:off x="4227891" y="5810066"/>
              <a:ext cx="74682" cy="238981"/>
            </a:xfrm>
            <a:custGeom>
              <a:avLst/>
              <a:gdLst>
                <a:gd name="connsiteX0" fmla="*/ 80823 w 74681"/>
                <a:gd name="connsiteY0" fmla="*/ 40558 h 238981"/>
                <a:gd name="connsiteX1" fmla="*/ 49457 w 74681"/>
                <a:gd name="connsiteY1" fmla="*/ 230 h 238981"/>
                <a:gd name="connsiteX2" fmla="*/ 15103 w 74681"/>
                <a:gd name="connsiteY2" fmla="*/ 12179 h 238981"/>
                <a:gd name="connsiteX3" fmla="*/ 10622 w 74681"/>
                <a:gd name="connsiteY3" fmla="*/ 51014 h 238981"/>
                <a:gd name="connsiteX4" fmla="*/ 167 w 74681"/>
                <a:gd name="connsiteY4" fmla="*/ 242199 h 238981"/>
                <a:gd name="connsiteX5" fmla="*/ 62899 w 74681"/>
                <a:gd name="connsiteY5" fmla="*/ 243693 h 238981"/>
                <a:gd name="connsiteX6" fmla="*/ 80823 w 74681"/>
                <a:gd name="connsiteY6" fmla="*/ 40558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681" h="238981">
                  <a:moveTo>
                    <a:pt x="80823" y="40558"/>
                  </a:moveTo>
                  <a:cubicBezTo>
                    <a:pt x="77836" y="25622"/>
                    <a:pt x="64393" y="1724"/>
                    <a:pt x="49457" y="230"/>
                  </a:cubicBezTo>
                  <a:cubicBezTo>
                    <a:pt x="37507" y="-1263"/>
                    <a:pt x="25558" y="4711"/>
                    <a:pt x="15103" y="12179"/>
                  </a:cubicBezTo>
                  <a:cubicBezTo>
                    <a:pt x="7635" y="18154"/>
                    <a:pt x="15103" y="43546"/>
                    <a:pt x="10622" y="51014"/>
                  </a:cubicBezTo>
                  <a:cubicBezTo>
                    <a:pt x="7635" y="58482"/>
                    <a:pt x="-1327" y="203364"/>
                    <a:pt x="167" y="242199"/>
                  </a:cubicBezTo>
                  <a:cubicBezTo>
                    <a:pt x="16597" y="251161"/>
                    <a:pt x="47963" y="252655"/>
                    <a:pt x="62899" y="243693"/>
                  </a:cubicBezTo>
                  <a:cubicBezTo>
                    <a:pt x="68874" y="192909"/>
                    <a:pt x="85304" y="55495"/>
                    <a:pt x="80823" y="40558"/>
                  </a:cubicBez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4" name="任意多边形: 形状 10293"/>
            <p:cNvSpPr/>
            <p:nvPr/>
          </p:nvSpPr>
          <p:spPr>
            <a:xfrm>
              <a:off x="4114541" y="5684831"/>
              <a:ext cx="89618" cy="209109"/>
            </a:xfrm>
            <a:custGeom>
              <a:avLst/>
              <a:gdLst>
                <a:gd name="connsiteX0" fmla="*/ 100074 w 89618"/>
                <a:gd name="connsiteY0" fmla="*/ 221058 h 209108"/>
                <a:gd name="connsiteX1" fmla="*/ 25392 w 89618"/>
                <a:gd name="connsiteY1" fmla="*/ 221058 h 209108"/>
                <a:gd name="connsiteX2" fmla="*/ 0 w 89618"/>
                <a:gd name="connsiteY2" fmla="*/ 0 h 209108"/>
                <a:gd name="connsiteX3" fmla="*/ 100074 w 89618"/>
                <a:gd name="connsiteY3" fmla="*/ 2987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618" h="209108">
                  <a:moveTo>
                    <a:pt x="100074" y="221058"/>
                  </a:moveTo>
                  <a:lnTo>
                    <a:pt x="25392" y="221058"/>
                  </a:lnTo>
                  <a:lnTo>
                    <a:pt x="0" y="0"/>
                  </a:lnTo>
                  <a:lnTo>
                    <a:pt x="100074" y="2987"/>
                  </a:ln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5" name="任意多边形: 形状 10294"/>
            <p:cNvSpPr/>
            <p:nvPr/>
          </p:nvSpPr>
          <p:spPr>
            <a:xfrm>
              <a:off x="4114541" y="5875222"/>
              <a:ext cx="89618" cy="238981"/>
            </a:xfrm>
            <a:custGeom>
              <a:avLst/>
              <a:gdLst>
                <a:gd name="connsiteX0" fmla="*/ 100074 w 89618"/>
                <a:gd name="connsiteY0" fmla="*/ 30667 h 238981"/>
                <a:gd name="connsiteX1" fmla="*/ 71694 w 89618"/>
                <a:gd name="connsiteY1" fmla="*/ 795 h 238981"/>
                <a:gd name="connsiteX2" fmla="*/ 35847 w 89618"/>
                <a:gd name="connsiteY2" fmla="*/ 9757 h 238981"/>
                <a:gd name="connsiteX3" fmla="*/ 23898 w 89618"/>
                <a:gd name="connsiteY3" fmla="*/ 30667 h 238981"/>
                <a:gd name="connsiteX4" fmla="*/ 0 w 89618"/>
                <a:gd name="connsiteY4" fmla="*/ 238282 h 238981"/>
                <a:gd name="connsiteX5" fmla="*/ 65720 w 89618"/>
                <a:gd name="connsiteY5" fmla="*/ 245751 h 238981"/>
                <a:gd name="connsiteX6" fmla="*/ 100074 w 89618"/>
                <a:gd name="connsiteY6" fmla="*/ 30667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618" h="238981">
                  <a:moveTo>
                    <a:pt x="100074" y="30667"/>
                  </a:moveTo>
                  <a:cubicBezTo>
                    <a:pt x="98580" y="15731"/>
                    <a:pt x="86631" y="3782"/>
                    <a:pt x="71694" y="795"/>
                  </a:cubicBezTo>
                  <a:cubicBezTo>
                    <a:pt x="59745" y="-2193"/>
                    <a:pt x="47796" y="3782"/>
                    <a:pt x="35847" y="9757"/>
                  </a:cubicBezTo>
                  <a:cubicBezTo>
                    <a:pt x="28379" y="14237"/>
                    <a:pt x="28379" y="23199"/>
                    <a:pt x="23898" y="30667"/>
                  </a:cubicBezTo>
                  <a:cubicBezTo>
                    <a:pt x="11949" y="51578"/>
                    <a:pt x="1494" y="177043"/>
                    <a:pt x="0" y="238282"/>
                  </a:cubicBezTo>
                  <a:cubicBezTo>
                    <a:pt x="5975" y="254712"/>
                    <a:pt x="65720" y="247244"/>
                    <a:pt x="65720" y="245751"/>
                  </a:cubicBezTo>
                  <a:cubicBezTo>
                    <a:pt x="65720" y="244257"/>
                    <a:pt x="103061" y="45604"/>
                    <a:pt x="100074" y="30667"/>
                  </a:cubicBez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6" name="任意多边形: 形状 10295"/>
            <p:cNvSpPr/>
            <p:nvPr/>
          </p:nvSpPr>
          <p:spPr>
            <a:xfrm>
              <a:off x="4254943" y="5410002"/>
              <a:ext cx="89618" cy="104554"/>
            </a:xfrm>
            <a:custGeom>
              <a:avLst/>
              <a:gdLst>
                <a:gd name="connsiteX0" fmla="*/ 41822 w 89618"/>
                <a:gd name="connsiteY0" fmla="*/ 100074 h 104554"/>
                <a:gd name="connsiteX1" fmla="*/ 20911 w 89618"/>
                <a:gd name="connsiteY1" fmla="*/ 77669 h 104554"/>
                <a:gd name="connsiteX2" fmla="*/ 0 w 89618"/>
                <a:gd name="connsiteY2" fmla="*/ 40328 h 104554"/>
                <a:gd name="connsiteX3" fmla="*/ 31366 w 89618"/>
                <a:gd name="connsiteY3" fmla="*/ 0 h 104554"/>
                <a:gd name="connsiteX4" fmla="*/ 58252 w 89618"/>
                <a:gd name="connsiteY4" fmla="*/ 28379 h 104554"/>
                <a:gd name="connsiteX5" fmla="*/ 97086 w 89618"/>
                <a:gd name="connsiteY5" fmla="*/ 82150 h 104554"/>
                <a:gd name="connsiteX6" fmla="*/ 82150 w 89618"/>
                <a:gd name="connsiteY6" fmla="*/ 109036 h 104554"/>
                <a:gd name="connsiteX7" fmla="*/ 41822 w 89618"/>
                <a:gd name="connsiteY7" fmla="*/ 100074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618" h="104554">
                  <a:moveTo>
                    <a:pt x="41822" y="100074"/>
                  </a:moveTo>
                  <a:cubicBezTo>
                    <a:pt x="31366" y="97086"/>
                    <a:pt x="25392" y="86631"/>
                    <a:pt x="20911" y="77669"/>
                  </a:cubicBezTo>
                  <a:cubicBezTo>
                    <a:pt x="13443" y="65720"/>
                    <a:pt x="7468" y="53771"/>
                    <a:pt x="0" y="40328"/>
                  </a:cubicBezTo>
                  <a:cubicBezTo>
                    <a:pt x="13443" y="29873"/>
                    <a:pt x="23898" y="16430"/>
                    <a:pt x="31366" y="0"/>
                  </a:cubicBezTo>
                  <a:cubicBezTo>
                    <a:pt x="40328" y="10456"/>
                    <a:pt x="49290" y="19418"/>
                    <a:pt x="58252" y="28379"/>
                  </a:cubicBezTo>
                  <a:cubicBezTo>
                    <a:pt x="67214" y="37341"/>
                    <a:pt x="91112" y="68707"/>
                    <a:pt x="97086" y="82150"/>
                  </a:cubicBezTo>
                  <a:cubicBezTo>
                    <a:pt x="101567" y="92606"/>
                    <a:pt x="92605" y="103061"/>
                    <a:pt x="82150" y="109036"/>
                  </a:cubicBezTo>
                  <a:cubicBezTo>
                    <a:pt x="73188" y="113516"/>
                    <a:pt x="50784" y="103061"/>
                    <a:pt x="41822" y="100074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7" name="任意多边形: 形状 10296"/>
            <p:cNvSpPr/>
            <p:nvPr/>
          </p:nvSpPr>
          <p:spPr>
            <a:xfrm>
              <a:off x="4205653" y="5433901"/>
              <a:ext cx="59745" cy="104554"/>
            </a:xfrm>
            <a:custGeom>
              <a:avLst/>
              <a:gdLst>
                <a:gd name="connsiteX0" fmla="*/ 73188 w 59745"/>
                <a:gd name="connsiteY0" fmla="*/ 61239 h 104554"/>
                <a:gd name="connsiteX1" fmla="*/ 64226 w 59745"/>
                <a:gd name="connsiteY1" fmla="*/ 0 h 104554"/>
                <a:gd name="connsiteX2" fmla="*/ 0 w 59745"/>
                <a:gd name="connsiteY2" fmla="*/ 17924 h 104554"/>
                <a:gd name="connsiteX3" fmla="*/ 19417 w 59745"/>
                <a:gd name="connsiteY3" fmla="*/ 82150 h 104554"/>
                <a:gd name="connsiteX4" fmla="*/ 50784 w 59745"/>
                <a:gd name="connsiteY4" fmla="*/ 110529 h 104554"/>
                <a:gd name="connsiteX5" fmla="*/ 73188 w 59745"/>
                <a:gd name="connsiteY5" fmla="*/ 6123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745" h="104554">
                  <a:moveTo>
                    <a:pt x="73188" y="61239"/>
                  </a:moveTo>
                  <a:lnTo>
                    <a:pt x="64226" y="0"/>
                  </a:lnTo>
                  <a:lnTo>
                    <a:pt x="0" y="17924"/>
                  </a:lnTo>
                  <a:lnTo>
                    <a:pt x="19417" y="82150"/>
                  </a:lnTo>
                  <a:cubicBezTo>
                    <a:pt x="22405" y="100074"/>
                    <a:pt x="32860" y="113516"/>
                    <a:pt x="50784" y="110529"/>
                  </a:cubicBezTo>
                  <a:cubicBezTo>
                    <a:pt x="68707" y="109035"/>
                    <a:pt x="76175" y="79162"/>
                    <a:pt x="73188" y="61239"/>
                  </a:cubicBezTo>
                  <a:close/>
                </a:path>
              </a:pathLst>
            </a:custGeom>
            <a:solidFill>
              <a:srgbClr val="F7C18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8" name="任意多边形: 形状 10297"/>
            <p:cNvSpPr/>
            <p:nvPr/>
          </p:nvSpPr>
          <p:spPr>
            <a:xfrm>
              <a:off x="4195293" y="5352033"/>
              <a:ext cx="89618" cy="104554"/>
            </a:xfrm>
            <a:custGeom>
              <a:avLst/>
              <a:gdLst>
                <a:gd name="connsiteX0" fmla="*/ 59650 w 89618"/>
                <a:gd name="connsiteY0" fmla="*/ 14654 h 104554"/>
                <a:gd name="connsiteX1" fmla="*/ 13348 w 89618"/>
                <a:gd name="connsiteY1" fmla="*/ 8680 h 104554"/>
                <a:gd name="connsiteX2" fmla="*/ 7373 w 89618"/>
                <a:gd name="connsiteY2" fmla="*/ 54982 h 104554"/>
                <a:gd name="connsiteX3" fmla="*/ 43220 w 89618"/>
                <a:gd name="connsiteY3" fmla="*/ 102778 h 104554"/>
                <a:gd name="connsiteX4" fmla="*/ 92510 w 89618"/>
                <a:gd name="connsiteY4" fmla="*/ 57969 h 104554"/>
                <a:gd name="connsiteX5" fmla="*/ 59650 w 89618"/>
                <a:gd name="connsiteY5" fmla="*/ 14654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104554">
                  <a:moveTo>
                    <a:pt x="59650" y="14654"/>
                  </a:moveTo>
                  <a:cubicBezTo>
                    <a:pt x="31271" y="-22687"/>
                    <a:pt x="-10551" y="25110"/>
                    <a:pt x="13348" y="8680"/>
                  </a:cubicBezTo>
                  <a:cubicBezTo>
                    <a:pt x="-1589" y="19135"/>
                    <a:pt x="-4576" y="40046"/>
                    <a:pt x="7373" y="54982"/>
                  </a:cubicBezTo>
                  <a:lnTo>
                    <a:pt x="43220" y="102778"/>
                  </a:lnTo>
                  <a:cubicBezTo>
                    <a:pt x="53676" y="114728"/>
                    <a:pt x="102966" y="81868"/>
                    <a:pt x="92510" y="57969"/>
                  </a:cubicBezTo>
                  <a:lnTo>
                    <a:pt x="59650" y="14654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9" name="任意多边形: 形状 10298"/>
            <p:cNvSpPr/>
            <p:nvPr/>
          </p:nvSpPr>
          <p:spPr>
            <a:xfrm>
              <a:off x="4075707" y="5345776"/>
              <a:ext cx="238981" cy="373409"/>
            </a:xfrm>
            <a:custGeom>
              <a:avLst/>
              <a:gdLst>
                <a:gd name="connsiteX0" fmla="*/ 237488 w 238981"/>
                <a:gd name="connsiteY0" fmla="*/ 310676 h 373408"/>
                <a:gd name="connsiteX1" fmla="*/ 49290 w 238981"/>
                <a:gd name="connsiteY1" fmla="*/ 359966 h 373408"/>
                <a:gd name="connsiteX2" fmla="*/ 28379 w 238981"/>
                <a:gd name="connsiteY2" fmla="*/ 324118 h 373408"/>
                <a:gd name="connsiteX3" fmla="*/ 14936 w 238981"/>
                <a:gd name="connsiteY3" fmla="*/ 213590 h 373408"/>
                <a:gd name="connsiteX4" fmla="*/ 5975 w 238981"/>
                <a:gd name="connsiteY4" fmla="*/ 134427 h 373408"/>
                <a:gd name="connsiteX5" fmla="*/ 0 w 238981"/>
                <a:gd name="connsiteY5" fmla="*/ 86631 h 373408"/>
                <a:gd name="connsiteX6" fmla="*/ 73188 w 238981"/>
                <a:gd name="connsiteY6" fmla="*/ 13443 h 373408"/>
                <a:gd name="connsiteX7" fmla="*/ 115010 w 238981"/>
                <a:gd name="connsiteY7" fmla="*/ 0 h 373408"/>
                <a:gd name="connsiteX8" fmla="*/ 186704 w 238981"/>
                <a:gd name="connsiteY8" fmla="*/ 62732 h 373408"/>
                <a:gd name="connsiteX9" fmla="*/ 237488 w 238981"/>
                <a:gd name="connsiteY9" fmla="*/ 310676 h 37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8981" h="373408">
                  <a:moveTo>
                    <a:pt x="237488" y="310676"/>
                  </a:moveTo>
                  <a:cubicBezTo>
                    <a:pt x="230020" y="346523"/>
                    <a:pt x="125465" y="413736"/>
                    <a:pt x="49290" y="359966"/>
                  </a:cubicBezTo>
                  <a:cubicBezTo>
                    <a:pt x="37341" y="351004"/>
                    <a:pt x="29873" y="339055"/>
                    <a:pt x="28379" y="324118"/>
                  </a:cubicBezTo>
                  <a:cubicBezTo>
                    <a:pt x="25392" y="300221"/>
                    <a:pt x="20911" y="256905"/>
                    <a:pt x="14936" y="213590"/>
                  </a:cubicBezTo>
                  <a:cubicBezTo>
                    <a:pt x="11949" y="185211"/>
                    <a:pt x="8962" y="156832"/>
                    <a:pt x="5975" y="134427"/>
                  </a:cubicBezTo>
                  <a:cubicBezTo>
                    <a:pt x="2987" y="106048"/>
                    <a:pt x="0" y="86631"/>
                    <a:pt x="0" y="86631"/>
                  </a:cubicBezTo>
                  <a:cubicBezTo>
                    <a:pt x="14936" y="61239"/>
                    <a:pt x="43315" y="31366"/>
                    <a:pt x="73188" y="13443"/>
                  </a:cubicBezTo>
                  <a:cubicBezTo>
                    <a:pt x="88124" y="4481"/>
                    <a:pt x="101567" y="0"/>
                    <a:pt x="115010" y="0"/>
                  </a:cubicBezTo>
                  <a:cubicBezTo>
                    <a:pt x="149363" y="0"/>
                    <a:pt x="179236" y="25392"/>
                    <a:pt x="186704" y="62732"/>
                  </a:cubicBezTo>
                  <a:cubicBezTo>
                    <a:pt x="267361" y="225539"/>
                    <a:pt x="237488" y="310676"/>
                    <a:pt x="237488" y="310676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0" name="任意多边形: 形状 10299"/>
            <p:cNvSpPr/>
            <p:nvPr/>
          </p:nvSpPr>
          <p:spPr>
            <a:xfrm>
              <a:off x="4070057" y="5414808"/>
              <a:ext cx="119491" cy="194172"/>
            </a:xfrm>
            <a:custGeom>
              <a:avLst/>
              <a:gdLst>
                <a:gd name="connsiteX0" fmla="*/ 113191 w 119490"/>
                <a:gd name="connsiteY0" fmla="*/ 202809 h 194172"/>
                <a:gd name="connsiteX1" fmla="*/ 83319 w 119490"/>
                <a:gd name="connsiteY1" fmla="*/ 204303 h 194172"/>
                <a:gd name="connsiteX2" fmla="*/ 72863 w 119490"/>
                <a:gd name="connsiteY2" fmla="*/ 198329 h 194172"/>
                <a:gd name="connsiteX3" fmla="*/ 66889 w 119490"/>
                <a:gd name="connsiteY3" fmla="*/ 189367 h 194172"/>
                <a:gd name="connsiteX4" fmla="*/ 23573 w 119490"/>
                <a:gd name="connsiteY4" fmla="*/ 98255 h 194172"/>
                <a:gd name="connsiteX5" fmla="*/ 4156 w 119490"/>
                <a:gd name="connsiteY5" fmla="*/ 50459 h 194172"/>
                <a:gd name="connsiteX6" fmla="*/ 2662 w 119490"/>
                <a:gd name="connsiteY6" fmla="*/ 45978 h 194172"/>
                <a:gd name="connsiteX7" fmla="*/ 20586 w 119490"/>
                <a:gd name="connsiteY7" fmla="*/ 2662 h 194172"/>
                <a:gd name="connsiteX8" fmla="*/ 63901 w 119490"/>
                <a:gd name="connsiteY8" fmla="*/ 20586 h 194172"/>
                <a:gd name="connsiteX9" fmla="*/ 86306 w 119490"/>
                <a:gd name="connsiteY9" fmla="*/ 75850 h 194172"/>
                <a:gd name="connsiteX10" fmla="*/ 96761 w 119490"/>
                <a:gd name="connsiteY10" fmla="*/ 101242 h 194172"/>
                <a:gd name="connsiteX11" fmla="*/ 96761 w 119490"/>
                <a:gd name="connsiteY11" fmla="*/ 101242 h 194172"/>
                <a:gd name="connsiteX12" fmla="*/ 107217 w 119490"/>
                <a:gd name="connsiteY12" fmla="*/ 126634 h 194172"/>
                <a:gd name="connsiteX13" fmla="*/ 108710 w 119490"/>
                <a:gd name="connsiteY13" fmla="*/ 131115 h 194172"/>
                <a:gd name="connsiteX14" fmla="*/ 120660 w 119490"/>
                <a:gd name="connsiteY14" fmla="*/ 159494 h 194172"/>
                <a:gd name="connsiteX15" fmla="*/ 113191 w 119490"/>
                <a:gd name="connsiteY15" fmla="*/ 202809 h 194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9490" h="194172">
                  <a:moveTo>
                    <a:pt x="113191" y="202809"/>
                  </a:moveTo>
                  <a:cubicBezTo>
                    <a:pt x="104230" y="207290"/>
                    <a:pt x="92280" y="207290"/>
                    <a:pt x="83319" y="204303"/>
                  </a:cubicBezTo>
                  <a:cubicBezTo>
                    <a:pt x="78838" y="202809"/>
                    <a:pt x="75850" y="201316"/>
                    <a:pt x="72863" y="198329"/>
                  </a:cubicBezTo>
                  <a:cubicBezTo>
                    <a:pt x="69876" y="195341"/>
                    <a:pt x="68382" y="192354"/>
                    <a:pt x="66889" y="189367"/>
                  </a:cubicBezTo>
                  <a:lnTo>
                    <a:pt x="23573" y="98255"/>
                  </a:lnTo>
                  <a:lnTo>
                    <a:pt x="4156" y="50459"/>
                  </a:lnTo>
                  <a:lnTo>
                    <a:pt x="2662" y="45978"/>
                  </a:lnTo>
                  <a:cubicBezTo>
                    <a:pt x="-4806" y="29548"/>
                    <a:pt x="4156" y="8637"/>
                    <a:pt x="20586" y="2662"/>
                  </a:cubicBezTo>
                  <a:cubicBezTo>
                    <a:pt x="37016" y="-4806"/>
                    <a:pt x="57927" y="4156"/>
                    <a:pt x="63901" y="20586"/>
                  </a:cubicBezTo>
                  <a:lnTo>
                    <a:pt x="86306" y="75850"/>
                  </a:lnTo>
                  <a:lnTo>
                    <a:pt x="96761" y="101242"/>
                  </a:lnTo>
                  <a:cubicBezTo>
                    <a:pt x="96761" y="101242"/>
                    <a:pt x="96761" y="101242"/>
                    <a:pt x="96761" y="101242"/>
                  </a:cubicBezTo>
                  <a:lnTo>
                    <a:pt x="107217" y="126634"/>
                  </a:lnTo>
                  <a:lnTo>
                    <a:pt x="108710" y="131115"/>
                  </a:lnTo>
                  <a:lnTo>
                    <a:pt x="120660" y="159494"/>
                  </a:lnTo>
                  <a:cubicBezTo>
                    <a:pt x="126634" y="177418"/>
                    <a:pt x="131115" y="195341"/>
                    <a:pt x="113191" y="202809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1" name="任意多边形: 形状 10300"/>
            <p:cNvSpPr/>
            <p:nvPr/>
          </p:nvSpPr>
          <p:spPr>
            <a:xfrm>
              <a:off x="4222083" y="5473482"/>
              <a:ext cx="119491" cy="74682"/>
            </a:xfrm>
            <a:custGeom>
              <a:avLst/>
              <a:gdLst>
                <a:gd name="connsiteX0" fmla="*/ 128453 w 119490"/>
                <a:gd name="connsiteY0" fmla="*/ 42569 h 74681"/>
                <a:gd name="connsiteX1" fmla="*/ 107542 w 119490"/>
                <a:gd name="connsiteY1" fmla="*/ 64973 h 74681"/>
                <a:gd name="connsiteX2" fmla="*/ 34354 w 119490"/>
                <a:gd name="connsiteY2" fmla="*/ 87378 h 74681"/>
                <a:gd name="connsiteX3" fmla="*/ 23898 w 119490"/>
                <a:gd name="connsiteY3" fmla="*/ 88871 h 74681"/>
                <a:gd name="connsiteX4" fmla="*/ 23898 w 119490"/>
                <a:gd name="connsiteY4" fmla="*/ 88871 h 74681"/>
                <a:gd name="connsiteX5" fmla="*/ 0 w 119490"/>
                <a:gd name="connsiteY5" fmla="*/ 85884 h 74681"/>
                <a:gd name="connsiteX6" fmla="*/ 71694 w 119490"/>
                <a:gd name="connsiteY6" fmla="*/ 12696 h 74681"/>
                <a:gd name="connsiteX7" fmla="*/ 74682 w 119490"/>
                <a:gd name="connsiteY7" fmla="*/ 11202 h 74681"/>
                <a:gd name="connsiteX8" fmla="*/ 86631 w 119490"/>
                <a:gd name="connsiteY8" fmla="*/ 3734 h 74681"/>
                <a:gd name="connsiteX9" fmla="*/ 91112 w 119490"/>
                <a:gd name="connsiteY9" fmla="*/ 2240 h 74681"/>
                <a:gd name="connsiteX10" fmla="*/ 117997 w 119490"/>
                <a:gd name="connsiteY10" fmla="*/ 2240 h 74681"/>
                <a:gd name="connsiteX11" fmla="*/ 128453 w 119490"/>
                <a:gd name="connsiteY11" fmla="*/ 42569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490" h="74681">
                  <a:moveTo>
                    <a:pt x="128453" y="42569"/>
                  </a:moveTo>
                  <a:cubicBezTo>
                    <a:pt x="123972" y="51530"/>
                    <a:pt x="122478" y="56011"/>
                    <a:pt x="107542" y="64973"/>
                  </a:cubicBezTo>
                  <a:cubicBezTo>
                    <a:pt x="98580" y="70948"/>
                    <a:pt x="62733" y="84390"/>
                    <a:pt x="34354" y="87378"/>
                  </a:cubicBezTo>
                  <a:cubicBezTo>
                    <a:pt x="31366" y="87378"/>
                    <a:pt x="26885" y="88871"/>
                    <a:pt x="23898" y="88871"/>
                  </a:cubicBezTo>
                  <a:lnTo>
                    <a:pt x="23898" y="88871"/>
                  </a:lnTo>
                  <a:cubicBezTo>
                    <a:pt x="13443" y="88871"/>
                    <a:pt x="4481" y="88871"/>
                    <a:pt x="0" y="85884"/>
                  </a:cubicBezTo>
                  <a:cubicBezTo>
                    <a:pt x="13443" y="51530"/>
                    <a:pt x="41822" y="26138"/>
                    <a:pt x="71694" y="12696"/>
                  </a:cubicBezTo>
                  <a:cubicBezTo>
                    <a:pt x="73188" y="12696"/>
                    <a:pt x="73188" y="11202"/>
                    <a:pt x="74682" y="11202"/>
                  </a:cubicBezTo>
                  <a:cubicBezTo>
                    <a:pt x="83644" y="8215"/>
                    <a:pt x="82150" y="5228"/>
                    <a:pt x="86631" y="3734"/>
                  </a:cubicBezTo>
                  <a:cubicBezTo>
                    <a:pt x="88124" y="3734"/>
                    <a:pt x="88124" y="2240"/>
                    <a:pt x="91112" y="2240"/>
                  </a:cubicBezTo>
                  <a:cubicBezTo>
                    <a:pt x="100074" y="-747"/>
                    <a:pt x="109035" y="-747"/>
                    <a:pt x="117997" y="2240"/>
                  </a:cubicBezTo>
                  <a:cubicBezTo>
                    <a:pt x="129946" y="9708"/>
                    <a:pt x="135921" y="29126"/>
                    <a:pt x="128453" y="4256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2" name="任意多边形: 形状 10301"/>
            <p:cNvSpPr/>
            <p:nvPr/>
          </p:nvSpPr>
          <p:spPr>
            <a:xfrm>
              <a:off x="4135452" y="5476408"/>
              <a:ext cx="149363" cy="134427"/>
            </a:xfrm>
            <a:custGeom>
              <a:avLst/>
              <a:gdLst>
                <a:gd name="connsiteX0" fmla="*/ 159819 w 149363"/>
                <a:gd name="connsiteY0" fmla="*/ 9769 h 134427"/>
                <a:gd name="connsiteX1" fmla="*/ 156832 w 149363"/>
                <a:gd name="connsiteY1" fmla="*/ 11263 h 134427"/>
                <a:gd name="connsiteX2" fmla="*/ 110529 w 149363"/>
                <a:gd name="connsiteY2" fmla="*/ 87438 h 134427"/>
                <a:gd name="connsiteX3" fmla="*/ 103061 w 149363"/>
                <a:gd name="connsiteY3" fmla="*/ 100881 h 134427"/>
                <a:gd name="connsiteX4" fmla="*/ 49290 w 149363"/>
                <a:gd name="connsiteY4" fmla="*/ 144196 h 134427"/>
                <a:gd name="connsiteX5" fmla="*/ 19417 w 149363"/>
                <a:gd name="connsiteY5" fmla="*/ 144196 h 134427"/>
                <a:gd name="connsiteX6" fmla="*/ 4481 w 149363"/>
                <a:gd name="connsiteY6" fmla="*/ 130754 h 134427"/>
                <a:gd name="connsiteX7" fmla="*/ 0 w 149363"/>
                <a:gd name="connsiteY7" fmla="*/ 114324 h 134427"/>
                <a:gd name="connsiteX8" fmla="*/ 17924 w 149363"/>
                <a:gd name="connsiteY8" fmla="*/ 84451 h 134427"/>
                <a:gd name="connsiteX9" fmla="*/ 17924 w 149363"/>
                <a:gd name="connsiteY9" fmla="*/ 84451 h 134427"/>
                <a:gd name="connsiteX10" fmla="*/ 23898 w 149363"/>
                <a:gd name="connsiteY10" fmla="*/ 79970 h 134427"/>
                <a:gd name="connsiteX11" fmla="*/ 43315 w 149363"/>
                <a:gd name="connsiteY11" fmla="*/ 66527 h 134427"/>
                <a:gd name="connsiteX12" fmla="*/ 89618 w 149363"/>
                <a:gd name="connsiteY12" fmla="*/ 32174 h 134427"/>
                <a:gd name="connsiteX13" fmla="*/ 92605 w 149363"/>
                <a:gd name="connsiteY13" fmla="*/ 30680 h 134427"/>
                <a:gd name="connsiteX14" fmla="*/ 103061 w 149363"/>
                <a:gd name="connsiteY14" fmla="*/ 24706 h 134427"/>
                <a:gd name="connsiteX15" fmla="*/ 156832 w 149363"/>
                <a:gd name="connsiteY15" fmla="*/ 5289 h 134427"/>
                <a:gd name="connsiteX16" fmla="*/ 159819 w 149363"/>
                <a:gd name="connsiteY16" fmla="*/ 9769 h 134427"/>
                <a:gd name="connsiteX17" fmla="*/ 159819 w 149363"/>
                <a:gd name="connsiteY17" fmla="*/ 9769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9363" h="134427">
                  <a:moveTo>
                    <a:pt x="159819" y="9769"/>
                  </a:moveTo>
                  <a:cubicBezTo>
                    <a:pt x="158325" y="9769"/>
                    <a:pt x="158325" y="11263"/>
                    <a:pt x="156832" y="11263"/>
                  </a:cubicBezTo>
                  <a:cubicBezTo>
                    <a:pt x="126959" y="26199"/>
                    <a:pt x="125465" y="56072"/>
                    <a:pt x="110529" y="87438"/>
                  </a:cubicBezTo>
                  <a:cubicBezTo>
                    <a:pt x="107542" y="91919"/>
                    <a:pt x="106048" y="96400"/>
                    <a:pt x="103061" y="100881"/>
                  </a:cubicBezTo>
                  <a:cubicBezTo>
                    <a:pt x="92605" y="115817"/>
                    <a:pt x="76175" y="130754"/>
                    <a:pt x="49290" y="144196"/>
                  </a:cubicBezTo>
                  <a:cubicBezTo>
                    <a:pt x="41822" y="150171"/>
                    <a:pt x="28379" y="148677"/>
                    <a:pt x="19417" y="144196"/>
                  </a:cubicBezTo>
                  <a:cubicBezTo>
                    <a:pt x="13443" y="141209"/>
                    <a:pt x="7468" y="136728"/>
                    <a:pt x="4481" y="130754"/>
                  </a:cubicBezTo>
                  <a:cubicBezTo>
                    <a:pt x="1494" y="126273"/>
                    <a:pt x="0" y="120298"/>
                    <a:pt x="0" y="114324"/>
                  </a:cubicBezTo>
                  <a:cubicBezTo>
                    <a:pt x="0" y="102375"/>
                    <a:pt x="5975" y="90425"/>
                    <a:pt x="17924" y="84451"/>
                  </a:cubicBezTo>
                  <a:cubicBezTo>
                    <a:pt x="17924" y="84451"/>
                    <a:pt x="17924" y="84451"/>
                    <a:pt x="17924" y="84451"/>
                  </a:cubicBezTo>
                  <a:cubicBezTo>
                    <a:pt x="19417" y="82957"/>
                    <a:pt x="22405" y="81464"/>
                    <a:pt x="23898" y="79970"/>
                  </a:cubicBezTo>
                  <a:cubicBezTo>
                    <a:pt x="29873" y="75489"/>
                    <a:pt x="37341" y="71008"/>
                    <a:pt x="43315" y="66527"/>
                  </a:cubicBezTo>
                  <a:cubicBezTo>
                    <a:pt x="59745" y="54578"/>
                    <a:pt x="74682" y="41136"/>
                    <a:pt x="89618" y="32174"/>
                  </a:cubicBezTo>
                  <a:cubicBezTo>
                    <a:pt x="89618" y="32174"/>
                    <a:pt x="91112" y="30680"/>
                    <a:pt x="92605" y="30680"/>
                  </a:cubicBezTo>
                  <a:cubicBezTo>
                    <a:pt x="95593" y="29186"/>
                    <a:pt x="101567" y="26199"/>
                    <a:pt x="103061" y="24706"/>
                  </a:cubicBezTo>
                  <a:cubicBezTo>
                    <a:pt x="122478" y="-3673"/>
                    <a:pt x="146376" y="-3673"/>
                    <a:pt x="156832" y="5289"/>
                  </a:cubicBezTo>
                  <a:cubicBezTo>
                    <a:pt x="156832" y="5289"/>
                    <a:pt x="158325" y="6782"/>
                    <a:pt x="159819" y="9769"/>
                  </a:cubicBezTo>
                  <a:cubicBezTo>
                    <a:pt x="159819" y="8276"/>
                    <a:pt x="159819" y="8276"/>
                    <a:pt x="159819" y="976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3" name="任意多边形: 形状 10302"/>
            <p:cNvSpPr/>
            <p:nvPr/>
          </p:nvSpPr>
          <p:spPr>
            <a:xfrm>
              <a:off x="4289297" y="5514557"/>
              <a:ext cx="14936" cy="14936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5B87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4" name="任意多边形: 形状 10303"/>
            <p:cNvSpPr/>
            <p:nvPr/>
          </p:nvSpPr>
          <p:spPr>
            <a:xfrm>
              <a:off x="4244487" y="5486178"/>
              <a:ext cx="44809" cy="74682"/>
            </a:xfrm>
            <a:custGeom>
              <a:avLst/>
              <a:gdLst>
                <a:gd name="connsiteX0" fmla="*/ 50784 w 44809"/>
                <a:gd name="connsiteY0" fmla="*/ 0 h 74681"/>
                <a:gd name="connsiteX1" fmla="*/ 26885 w 44809"/>
                <a:gd name="connsiteY1" fmla="*/ 35847 h 74681"/>
                <a:gd name="connsiteX2" fmla="*/ 10455 w 44809"/>
                <a:gd name="connsiteY2" fmla="*/ 76175 h 74681"/>
                <a:gd name="connsiteX3" fmla="*/ 0 w 44809"/>
                <a:gd name="connsiteY3" fmla="*/ 77669 h 74681"/>
                <a:gd name="connsiteX4" fmla="*/ 50784 w 44809"/>
                <a:gd name="connsiteY4" fmla="*/ 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809" h="74681">
                  <a:moveTo>
                    <a:pt x="50784" y="0"/>
                  </a:moveTo>
                  <a:cubicBezTo>
                    <a:pt x="38835" y="7468"/>
                    <a:pt x="32860" y="22405"/>
                    <a:pt x="26885" y="35847"/>
                  </a:cubicBezTo>
                  <a:cubicBezTo>
                    <a:pt x="20911" y="49290"/>
                    <a:pt x="17924" y="64226"/>
                    <a:pt x="10455" y="76175"/>
                  </a:cubicBezTo>
                  <a:cubicBezTo>
                    <a:pt x="7468" y="76175"/>
                    <a:pt x="2987" y="77669"/>
                    <a:pt x="0" y="77669"/>
                  </a:cubicBezTo>
                  <a:cubicBezTo>
                    <a:pt x="17924" y="44809"/>
                    <a:pt x="19417" y="13443"/>
                    <a:pt x="50784" y="0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5" name="任意多边形: 形状 10304"/>
            <p:cNvSpPr/>
            <p:nvPr/>
          </p:nvSpPr>
          <p:spPr>
            <a:xfrm>
              <a:off x="4295271" y="5485057"/>
              <a:ext cx="14936" cy="14936"/>
            </a:xfrm>
            <a:custGeom>
              <a:avLst/>
              <a:gdLst>
                <a:gd name="connsiteX0" fmla="*/ 0 w 0"/>
                <a:gd name="connsiteY0" fmla="*/ 1120 h 0"/>
                <a:gd name="connsiteX1" fmla="*/ 0 w 0"/>
                <a:gd name="connsiteY1" fmla="*/ 1120 h 0"/>
                <a:gd name="connsiteX2" fmla="*/ 0 w 0"/>
                <a:gd name="connsiteY2" fmla="*/ 11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20"/>
                  </a:moveTo>
                  <a:cubicBezTo>
                    <a:pt x="0" y="-373"/>
                    <a:pt x="0" y="-373"/>
                    <a:pt x="0" y="1120"/>
                  </a:cubicBezTo>
                  <a:lnTo>
                    <a:pt x="0" y="1120"/>
                  </a:lnTo>
                  <a:close/>
                </a:path>
              </a:pathLst>
            </a:custGeom>
            <a:solidFill>
              <a:srgbClr val="1D1D1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6" name="任意多边形: 形状 10305"/>
            <p:cNvSpPr/>
            <p:nvPr/>
          </p:nvSpPr>
          <p:spPr>
            <a:xfrm>
              <a:off x="4139314" y="5505595"/>
              <a:ext cx="74682" cy="44809"/>
            </a:xfrm>
            <a:custGeom>
              <a:avLst/>
              <a:gdLst>
                <a:gd name="connsiteX0" fmla="*/ 88743 w 74681"/>
                <a:gd name="connsiteY0" fmla="*/ 0 h 44809"/>
                <a:gd name="connsiteX1" fmla="*/ 42440 w 74681"/>
                <a:gd name="connsiteY1" fmla="*/ 40328 h 44809"/>
                <a:gd name="connsiteX2" fmla="*/ 31985 w 74681"/>
                <a:gd name="connsiteY2" fmla="*/ 47796 h 44809"/>
                <a:gd name="connsiteX3" fmla="*/ 18542 w 74681"/>
                <a:gd name="connsiteY3" fmla="*/ 53771 h 44809"/>
                <a:gd name="connsiteX4" fmla="*/ 15555 w 74681"/>
                <a:gd name="connsiteY4" fmla="*/ 52277 h 44809"/>
                <a:gd name="connsiteX5" fmla="*/ 11074 w 74681"/>
                <a:gd name="connsiteY5" fmla="*/ 46303 h 44809"/>
                <a:gd name="connsiteX6" fmla="*/ 5100 w 74681"/>
                <a:gd name="connsiteY6" fmla="*/ 38835 h 44809"/>
                <a:gd name="connsiteX7" fmla="*/ 2112 w 74681"/>
                <a:gd name="connsiteY7" fmla="*/ 29873 h 44809"/>
                <a:gd name="connsiteX8" fmla="*/ 619 w 74681"/>
                <a:gd name="connsiteY8" fmla="*/ 22405 h 44809"/>
                <a:gd name="connsiteX9" fmla="*/ 11074 w 74681"/>
                <a:gd name="connsiteY9" fmla="*/ 16430 h 44809"/>
                <a:gd name="connsiteX10" fmla="*/ 30491 w 74681"/>
                <a:gd name="connsiteY10" fmla="*/ 4481 h 44809"/>
                <a:gd name="connsiteX11" fmla="*/ 42440 w 74681"/>
                <a:gd name="connsiteY11" fmla="*/ 35848 h 44809"/>
                <a:gd name="connsiteX12" fmla="*/ 88743 w 74681"/>
                <a:gd name="connsiteY12" fmla="*/ 1494 h 44809"/>
                <a:gd name="connsiteX13" fmla="*/ 88743 w 74681"/>
                <a:gd name="connsiteY13" fmla="*/ 0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681" h="44809">
                  <a:moveTo>
                    <a:pt x="88743" y="0"/>
                  </a:moveTo>
                  <a:cubicBezTo>
                    <a:pt x="76794" y="16430"/>
                    <a:pt x="58870" y="28379"/>
                    <a:pt x="42440" y="40328"/>
                  </a:cubicBezTo>
                  <a:cubicBezTo>
                    <a:pt x="39453" y="43316"/>
                    <a:pt x="34972" y="44809"/>
                    <a:pt x="31985" y="47796"/>
                  </a:cubicBezTo>
                  <a:cubicBezTo>
                    <a:pt x="28998" y="50784"/>
                    <a:pt x="23023" y="53771"/>
                    <a:pt x="18542" y="53771"/>
                  </a:cubicBezTo>
                  <a:cubicBezTo>
                    <a:pt x="17049" y="53771"/>
                    <a:pt x="15555" y="53771"/>
                    <a:pt x="15555" y="52277"/>
                  </a:cubicBezTo>
                  <a:cubicBezTo>
                    <a:pt x="12568" y="50784"/>
                    <a:pt x="11074" y="49290"/>
                    <a:pt x="11074" y="46303"/>
                  </a:cubicBezTo>
                  <a:cubicBezTo>
                    <a:pt x="8087" y="47796"/>
                    <a:pt x="3606" y="43316"/>
                    <a:pt x="5100" y="38835"/>
                  </a:cubicBezTo>
                  <a:cubicBezTo>
                    <a:pt x="2112" y="38835"/>
                    <a:pt x="-875" y="32860"/>
                    <a:pt x="2112" y="29873"/>
                  </a:cubicBezTo>
                  <a:cubicBezTo>
                    <a:pt x="619" y="28379"/>
                    <a:pt x="-875" y="25392"/>
                    <a:pt x="619" y="22405"/>
                  </a:cubicBezTo>
                  <a:cubicBezTo>
                    <a:pt x="2112" y="17924"/>
                    <a:pt x="6593" y="16430"/>
                    <a:pt x="11074" y="16430"/>
                  </a:cubicBezTo>
                  <a:cubicBezTo>
                    <a:pt x="18542" y="14936"/>
                    <a:pt x="30491" y="4481"/>
                    <a:pt x="30491" y="4481"/>
                  </a:cubicBezTo>
                  <a:lnTo>
                    <a:pt x="42440" y="35848"/>
                  </a:lnTo>
                  <a:cubicBezTo>
                    <a:pt x="58870" y="23898"/>
                    <a:pt x="73807" y="10456"/>
                    <a:pt x="88743" y="1494"/>
                  </a:cubicBezTo>
                  <a:cubicBezTo>
                    <a:pt x="85756" y="1494"/>
                    <a:pt x="87249" y="1494"/>
                    <a:pt x="88743" y="0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7" name="任意多边形: 形状 10306"/>
            <p:cNvSpPr/>
            <p:nvPr/>
          </p:nvSpPr>
          <p:spPr>
            <a:xfrm>
              <a:off x="4140252" y="5504102"/>
              <a:ext cx="74682" cy="44809"/>
            </a:xfrm>
            <a:custGeom>
              <a:avLst/>
              <a:gdLst>
                <a:gd name="connsiteX0" fmla="*/ 84819 w 74681"/>
                <a:gd name="connsiteY0" fmla="*/ 2987 h 44809"/>
                <a:gd name="connsiteX1" fmla="*/ 19099 w 74681"/>
                <a:gd name="connsiteY1" fmla="*/ 50783 h 44809"/>
                <a:gd name="connsiteX2" fmla="*/ 17605 w 74681"/>
                <a:gd name="connsiteY2" fmla="*/ 41822 h 44809"/>
                <a:gd name="connsiteX3" fmla="*/ 5656 w 74681"/>
                <a:gd name="connsiteY3" fmla="*/ 32860 h 44809"/>
                <a:gd name="connsiteX4" fmla="*/ 5656 w 74681"/>
                <a:gd name="connsiteY4" fmla="*/ 20911 h 44809"/>
                <a:gd name="connsiteX5" fmla="*/ 5656 w 74681"/>
                <a:gd name="connsiteY5" fmla="*/ 11949 h 44809"/>
                <a:gd name="connsiteX6" fmla="*/ 22086 w 74681"/>
                <a:gd name="connsiteY6" fmla="*/ 4481 h 44809"/>
                <a:gd name="connsiteX7" fmla="*/ 29554 w 74681"/>
                <a:gd name="connsiteY7" fmla="*/ 2987 h 44809"/>
                <a:gd name="connsiteX8" fmla="*/ 40010 w 74681"/>
                <a:gd name="connsiteY8" fmla="*/ 1493 h 44809"/>
                <a:gd name="connsiteX9" fmla="*/ 48971 w 74681"/>
                <a:gd name="connsiteY9" fmla="*/ 0 h 44809"/>
                <a:gd name="connsiteX10" fmla="*/ 71376 w 74681"/>
                <a:gd name="connsiteY10" fmla="*/ 0 h 44809"/>
                <a:gd name="connsiteX11" fmla="*/ 84819 w 74681"/>
                <a:gd name="connsiteY11" fmla="*/ 2987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44809">
                  <a:moveTo>
                    <a:pt x="84819" y="2987"/>
                  </a:moveTo>
                  <a:cubicBezTo>
                    <a:pt x="65401" y="14936"/>
                    <a:pt x="42997" y="35847"/>
                    <a:pt x="19099" y="50783"/>
                  </a:cubicBezTo>
                  <a:cubicBezTo>
                    <a:pt x="14618" y="50783"/>
                    <a:pt x="10137" y="44809"/>
                    <a:pt x="17605" y="41822"/>
                  </a:cubicBezTo>
                  <a:cubicBezTo>
                    <a:pt x="2669" y="44809"/>
                    <a:pt x="1175" y="34353"/>
                    <a:pt x="5656" y="32860"/>
                  </a:cubicBezTo>
                  <a:cubicBezTo>
                    <a:pt x="-318" y="32860"/>
                    <a:pt x="-3306" y="23898"/>
                    <a:pt x="5656" y="20911"/>
                  </a:cubicBezTo>
                  <a:cubicBezTo>
                    <a:pt x="-1812" y="22405"/>
                    <a:pt x="-318" y="14936"/>
                    <a:pt x="5656" y="11949"/>
                  </a:cubicBezTo>
                  <a:cubicBezTo>
                    <a:pt x="11631" y="8961"/>
                    <a:pt x="17605" y="5974"/>
                    <a:pt x="22086" y="4481"/>
                  </a:cubicBezTo>
                  <a:cubicBezTo>
                    <a:pt x="25073" y="2987"/>
                    <a:pt x="26567" y="2987"/>
                    <a:pt x="29554" y="2987"/>
                  </a:cubicBezTo>
                  <a:cubicBezTo>
                    <a:pt x="32541" y="1493"/>
                    <a:pt x="37022" y="1493"/>
                    <a:pt x="40010" y="1493"/>
                  </a:cubicBezTo>
                  <a:cubicBezTo>
                    <a:pt x="42997" y="1493"/>
                    <a:pt x="45984" y="0"/>
                    <a:pt x="48971" y="0"/>
                  </a:cubicBezTo>
                  <a:cubicBezTo>
                    <a:pt x="56440" y="0"/>
                    <a:pt x="63908" y="0"/>
                    <a:pt x="71376" y="0"/>
                  </a:cubicBezTo>
                  <a:cubicBezTo>
                    <a:pt x="77351" y="1493"/>
                    <a:pt x="80338" y="2987"/>
                    <a:pt x="84819" y="298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8" name="任意多边形: 形状 10307"/>
            <p:cNvSpPr/>
            <p:nvPr/>
          </p:nvSpPr>
          <p:spPr>
            <a:xfrm>
              <a:off x="4166818" y="5496633"/>
              <a:ext cx="29873" cy="14936"/>
            </a:xfrm>
            <a:custGeom>
              <a:avLst/>
              <a:gdLst>
                <a:gd name="connsiteX0" fmla="*/ 31366 w 29872"/>
                <a:gd name="connsiteY0" fmla="*/ 10455 h 0"/>
                <a:gd name="connsiteX1" fmla="*/ 29873 w 29872"/>
                <a:gd name="connsiteY1" fmla="*/ 11949 h 0"/>
                <a:gd name="connsiteX2" fmla="*/ 19417 w 29872"/>
                <a:gd name="connsiteY2" fmla="*/ 13443 h 0"/>
                <a:gd name="connsiteX3" fmla="*/ 14936 w 29872"/>
                <a:gd name="connsiteY3" fmla="*/ 13443 h 0"/>
                <a:gd name="connsiteX4" fmla="*/ 7468 w 29872"/>
                <a:gd name="connsiteY4" fmla="*/ 13443 h 0"/>
                <a:gd name="connsiteX5" fmla="*/ 2987 w 29872"/>
                <a:gd name="connsiteY5" fmla="*/ 10455 h 0"/>
                <a:gd name="connsiteX6" fmla="*/ 0 w 29872"/>
                <a:gd name="connsiteY6" fmla="*/ 5974 h 0"/>
                <a:gd name="connsiteX7" fmla="*/ 1494 w 29872"/>
                <a:gd name="connsiteY7" fmla="*/ 0 h 0"/>
                <a:gd name="connsiteX8" fmla="*/ 5975 w 29872"/>
                <a:gd name="connsiteY8" fmla="*/ 0 h 0"/>
                <a:gd name="connsiteX9" fmla="*/ 5975 w 29872"/>
                <a:gd name="connsiteY9" fmla="*/ 0 h 0"/>
                <a:gd name="connsiteX10" fmla="*/ 7468 w 29872"/>
                <a:gd name="connsiteY10" fmla="*/ 1493 h 0"/>
                <a:gd name="connsiteX11" fmla="*/ 20911 w 29872"/>
                <a:gd name="connsiteY11" fmla="*/ 5974 h 0"/>
                <a:gd name="connsiteX12" fmla="*/ 25392 w 29872"/>
                <a:gd name="connsiteY12" fmla="*/ 5974 h 0"/>
                <a:gd name="connsiteX13" fmla="*/ 28379 w 29872"/>
                <a:gd name="connsiteY13" fmla="*/ 5974 h 0"/>
                <a:gd name="connsiteX14" fmla="*/ 31366 w 29872"/>
                <a:gd name="connsiteY14" fmla="*/ 1045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872">
                  <a:moveTo>
                    <a:pt x="31366" y="10455"/>
                  </a:moveTo>
                  <a:cubicBezTo>
                    <a:pt x="31366" y="10455"/>
                    <a:pt x="29873" y="11949"/>
                    <a:pt x="29873" y="11949"/>
                  </a:cubicBezTo>
                  <a:cubicBezTo>
                    <a:pt x="25392" y="11949"/>
                    <a:pt x="22405" y="13443"/>
                    <a:pt x="19417" y="13443"/>
                  </a:cubicBezTo>
                  <a:cubicBezTo>
                    <a:pt x="17924" y="13443"/>
                    <a:pt x="16430" y="13443"/>
                    <a:pt x="14936" y="13443"/>
                  </a:cubicBezTo>
                  <a:cubicBezTo>
                    <a:pt x="11949" y="13443"/>
                    <a:pt x="10455" y="13443"/>
                    <a:pt x="7468" y="13443"/>
                  </a:cubicBezTo>
                  <a:cubicBezTo>
                    <a:pt x="5975" y="13443"/>
                    <a:pt x="4481" y="11949"/>
                    <a:pt x="2987" y="10455"/>
                  </a:cubicBezTo>
                  <a:cubicBezTo>
                    <a:pt x="1494" y="8961"/>
                    <a:pt x="1494" y="7468"/>
                    <a:pt x="0" y="5974"/>
                  </a:cubicBezTo>
                  <a:cubicBezTo>
                    <a:pt x="0" y="2987"/>
                    <a:pt x="0" y="1493"/>
                    <a:pt x="1494" y="0"/>
                  </a:cubicBezTo>
                  <a:cubicBezTo>
                    <a:pt x="2987" y="0"/>
                    <a:pt x="4481" y="0"/>
                    <a:pt x="5975" y="0"/>
                  </a:cubicBezTo>
                  <a:cubicBezTo>
                    <a:pt x="5975" y="0"/>
                    <a:pt x="5975" y="0"/>
                    <a:pt x="5975" y="0"/>
                  </a:cubicBezTo>
                  <a:cubicBezTo>
                    <a:pt x="5975" y="0"/>
                    <a:pt x="7468" y="1493"/>
                    <a:pt x="7468" y="1493"/>
                  </a:cubicBezTo>
                  <a:cubicBezTo>
                    <a:pt x="11949" y="4481"/>
                    <a:pt x="16430" y="5974"/>
                    <a:pt x="20911" y="5974"/>
                  </a:cubicBezTo>
                  <a:cubicBezTo>
                    <a:pt x="22405" y="5974"/>
                    <a:pt x="23898" y="5974"/>
                    <a:pt x="25392" y="5974"/>
                  </a:cubicBezTo>
                  <a:cubicBezTo>
                    <a:pt x="26885" y="5974"/>
                    <a:pt x="26885" y="5974"/>
                    <a:pt x="28379" y="5974"/>
                  </a:cubicBezTo>
                  <a:cubicBezTo>
                    <a:pt x="31366" y="8961"/>
                    <a:pt x="32860" y="10455"/>
                    <a:pt x="31366" y="10455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9" name="任意多边形: 形状 10308"/>
            <p:cNvSpPr/>
            <p:nvPr/>
          </p:nvSpPr>
          <p:spPr>
            <a:xfrm>
              <a:off x="4081681" y="5478710"/>
              <a:ext cx="59745" cy="134427"/>
            </a:xfrm>
            <a:custGeom>
              <a:avLst/>
              <a:gdLst>
                <a:gd name="connsiteX0" fmla="*/ 62733 w 59745"/>
                <a:gd name="connsiteY0" fmla="*/ 134427 h 134427"/>
                <a:gd name="connsiteX1" fmla="*/ 62733 w 59745"/>
                <a:gd name="connsiteY1" fmla="*/ 134427 h 134427"/>
                <a:gd name="connsiteX2" fmla="*/ 56758 w 59745"/>
                <a:gd name="connsiteY2" fmla="*/ 131440 h 134427"/>
                <a:gd name="connsiteX3" fmla="*/ 5975 w 59745"/>
                <a:gd name="connsiteY3" fmla="*/ 50783 h 134427"/>
                <a:gd name="connsiteX4" fmla="*/ 0 w 59745"/>
                <a:gd name="connsiteY4" fmla="*/ 0 h 134427"/>
                <a:gd name="connsiteX5" fmla="*/ 13443 w 59745"/>
                <a:gd name="connsiteY5" fmla="*/ 34353 h 134427"/>
                <a:gd name="connsiteX6" fmla="*/ 56758 w 59745"/>
                <a:gd name="connsiteY6" fmla="*/ 125465 h 134427"/>
                <a:gd name="connsiteX7" fmla="*/ 62733 w 59745"/>
                <a:gd name="connsiteY7" fmla="*/ 134427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45" h="134427">
                  <a:moveTo>
                    <a:pt x="62733" y="134427"/>
                  </a:moveTo>
                  <a:lnTo>
                    <a:pt x="62733" y="134427"/>
                  </a:lnTo>
                  <a:cubicBezTo>
                    <a:pt x="59745" y="134427"/>
                    <a:pt x="58252" y="132933"/>
                    <a:pt x="56758" y="131440"/>
                  </a:cubicBezTo>
                  <a:cubicBezTo>
                    <a:pt x="37341" y="116503"/>
                    <a:pt x="17924" y="70201"/>
                    <a:pt x="5975" y="50783"/>
                  </a:cubicBezTo>
                  <a:cubicBezTo>
                    <a:pt x="2987" y="22405"/>
                    <a:pt x="2987" y="22405"/>
                    <a:pt x="0" y="0"/>
                  </a:cubicBezTo>
                  <a:lnTo>
                    <a:pt x="13443" y="34353"/>
                  </a:lnTo>
                  <a:lnTo>
                    <a:pt x="56758" y="125465"/>
                  </a:lnTo>
                  <a:cubicBezTo>
                    <a:pt x="58252" y="128453"/>
                    <a:pt x="59745" y="131440"/>
                    <a:pt x="62733" y="134427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0" name="任意多边形: 形状 10309"/>
            <p:cNvSpPr/>
            <p:nvPr/>
          </p:nvSpPr>
          <p:spPr>
            <a:xfrm>
              <a:off x="4265398" y="5410002"/>
              <a:ext cx="29873" cy="74682"/>
            </a:xfrm>
            <a:custGeom>
              <a:avLst/>
              <a:gdLst>
                <a:gd name="connsiteX0" fmla="*/ 41822 w 29872"/>
                <a:gd name="connsiteY0" fmla="*/ 68707 h 74681"/>
                <a:gd name="connsiteX1" fmla="*/ 29873 w 29872"/>
                <a:gd name="connsiteY1" fmla="*/ 76175 h 74681"/>
                <a:gd name="connsiteX2" fmla="*/ 29873 w 29872"/>
                <a:gd name="connsiteY2" fmla="*/ 76175 h 74681"/>
                <a:gd name="connsiteX3" fmla="*/ 25392 w 29872"/>
                <a:gd name="connsiteY3" fmla="*/ 71695 h 74681"/>
                <a:gd name="connsiteX4" fmla="*/ 14936 w 29872"/>
                <a:gd name="connsiteY4" fmla="*/ 41822 h 74681"/>
                <a:gd name="connsiteX5" fmla="*/ 0 w 29872"/>
                <a:gd name="connsiteY5" fmla="*/ 0 h 74681"/>
                <a:gd name="connsiteX6" fmla="*/ 41822 w 29872"/>
                <a:gd name="connsiteY6" fmla="*/ 68707 h 74681"/>
                <a:gd name="connsiteX7" fmla="*/ 41822 w 29872"/>
                <a:gd name="connsiteY7" fmla="*/ 6870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72" h="74681">
                  <a:moveTo>
                    <a:pt x="41822" y="68707"/>
                  </a:moveTo>
                  <a:cubicBezTo>
                    <a:pt x="37341" y="70201"/>
                    <a:pt x="38834" y="73188"/>
                    <a:pt x="29873" y="76175"/>
                  </a:cubicBezTo>
                  <a:cubicBezTo>
                    <a:pt x="29873" y="76175"/>
                    <a:pt x="29873" y="76175"/>
                    <a:pt x="29873" y="76175"/>
                  </a:cubicBezTo>
                  <a:cubicBezTo>
                    <a:pt x="28379" y="74682"/>
                    <a:pt x="28379" y="73188"/>
                    <a:pt x="25392" y="71695"/>
                  </a:cubicBezTo>
                  <a:cubicBezTo>
                    <a:pt x="22405" y="61239"/>
                    <a:pt x="19417" y="50783"/>
                    <a:pt x="14936" y="41822"/>
                  </a:cubicBezTo>
                  <a:cubicBezTo>
                    <a:pt x="8962" y="28379"/>
                    <a:pt x="0" y="14936"/>
                    <a:pt x="0" y="0"/>
                  </a:cubicBezTo>
                  <a:cubicBezTo>
                    <a:pt x="17924" y="17924"/>
                    <a:pt x="29873" y="43315"/>
                    <a:pt x="41822" y="68707"/>
                  </a:cubicBezTo>
                  <a:cubicBezTo>
                    <a:pt x="41822" y="67214"/>
                    <a:pt x="41822" y="67214"/>
                    <a:pt x="41822" y="68707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1" name="任意多边形: 形状 10310"/>
            <p:cNvSpPr/>
            <p:nvPr/>
          </p:nvSpPr>
          <p:spPr>
            <a:xfrm>
              <a:off x="4133959" y="5444356"/>
              <a:ext cx="29873" cy="59745"/>
            </a:xfrm>
            <a:custGeom>
              <a:avLst/>
              <a:gdLst>
                <a:gd name="connsiteX0" fmla="*/ 35847 w 29872"/>
                <a:gd name="connsiteY0" fmla="*/ 52277 h 59745"/>
                <a:gd name="connsiteX1" fmla="*/ 34354 w 29872"/>
                <a:gd name="connsiteY1" fmla="*/ 58252 h 59745"/>
                <a:gd name="connsiteX2" fmla="*/ 37341 w 29872"/>
                <a:gd name="connsiteY2" fmla="*/ 62732 h 59745"/>
                <a:gd name="connsiteX3" fmla="*/ 29873 w 29872"/>
                <a:gd name="connsiteY3" fmla="*/ 64226 h 59745"/>
                <a:gd name="connsiteX4" fmla="*/ 25392 w 29872"/>
                <a:gd name="connsiteY4" fmla="*/ 55264 h 59745"/>
                <a:gd name="connsiteX5" fmla="*/ 0 w 29872"/>
                <a:gd name="connsiteY5" fmla="*/ 0 h 59745"/>
                <a:gd name="connsiteX6" fmla="*/ 13443 w 29872"/>
                <a:gd name="connsiteY6" fmla="*/ 13443 h 59745"/>
                <a:gd name="connsiteX7" fmla="*/ 41822 w 29872"/>
                <a:gd name="connsiteY7" fmla="*/ 50783 h 59745"/>
                <a:gd name="connsiteX8" fmla="*/ 35847 w 29872"/>
                <a:gd name="connsiteY8" fmla="*/ 52277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72" h="59745">
                  <a:moveTo>
                    <a:pt x="35847" y="52277"/>
                  </a:moveTo>
                  <a:cubicBezTo>
                    <a:pt x="34354" y="52277"/>
                    <a:pt x="32860" y="55264"/>
                    <a:pt x="34354" y="58252"/>
                  </a:cubicBezTo>
                  <a:cubicBezTo>
                    <a:pt x="34354" y="59745"/>
                    <a:pt x="35847" y="61239"/>
                    <a:pt x="37341" y="62732"/>
                  </a:cubicBezTo>
                  <a:cubicBezTo>
                    <a:pt x="34354" y="62732"/>
                    <a:pt x="32860" y="64226"/>
                    <a:pt x="29873" y="64226"/>
                  </a:cubicBezTo>
                  <a:cubicBezTo>
                    <a:pt x="28379" y="61239"/>
                    <a:pt x="26885" y="58252"/>
                    <a:pt x="25392" y="55264"/>
                  </a:cubicBezTo>
                  <a:cubicBezTo>
                    <a:pt x="17924" y="35847"/>
                    <a:pt x="11949" y="16430"/>
                    <a:pt x="0" y="0"/>
                  </a:cubicBezTo>
                  <a:cubicBezTo>
                    <a:pt x="5975" y="1493"/>
                    <a:pt x="10455" y="7468"/>
                    <a:pt x="13443" y="13443"/>
                  </a:cubicBezTo>
                  <a:cubicBezTo>
                    <a:pt x="22405" y="26885"/>
                    <a:pt x="31366" y="38834"/>
                    <a:pt x="41822" y="50783"/>
                  </a:cubicBezTo>
                  <a:cubicBezTo>
                    <a:pt x="38834" y="52277"/>
                    <a:pt x="37341" y="52277"/>
                    <a:pt x="35847" y="52277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2" name="任意多边形: 形状 10311"/>
            <p:cNvSpPr/>
            <p:nvPr/>
          </p:nvSpPr>
          <p:spPr>
            <a:xfrm>
              <a:off x="4135826" y="5344282"/>
              <a:ext cx="74682" cy="74682"/>
            </a:xfrm>
            <a:custGeom>
              <a:avLst/>
              <a:gdLst>
                <a:gd name="connsiteX0" fmla="*/ 14563 w 74681"/>
                <a:gd name="connsiteY0" fmla="*/ 2987 h 74681"/>
                <a:gd name="connsiteX1" fmla="*/ 1120 w 74681"/>
                <a:gd name="connsiteY1" fmla="*/ 20911 h 74681"/>
                <a:gd name="connsiteX2" fmla="*/ 1120 w 74681"/>
                <a:gd name="connsiteY2" fmla="*/ 29873 h 74681"/>
                <a:gd name="connsiteX3" fmla="*/ 16057 w 74681"/>
                <a:gd name="connsiteY3" fmla="*/ 50783 h 74681"/>
                <a:gd name="connsiteX4" fmla="*/ 50410 w 74681"/>
                <a:gd name="connsiteY4" fmla="*/ 77669 h 74681"/>
                <a:gd name="connsiteX5" fmla="*/ 66840 w 74681"/>
                <a:gd name="connsiteY5" fmla="*/ 43315 h 74681"/>
                <a:gd name="connsiteX6" fmla="*/ 86257 w 74681"/>
                <a:gd name="connsiteY6" fmla="*/ 61239 h 74681"/>
                <a:gd name="connsiteX7" fmla="*/ 86257 w 74681"/>
                <a:gd name="connsiteY7" fmla="*/ 31366 h 74681"/>
                <a:gd name="connsiteX8" fmla="*/ 69827 w 74681"/>
                <a:gd name="connsiteY8" fmla="*/ 5974 h 74681"/>
                <a:gd name="connsiteX9" fmla="*/ 44436 w 74681"/>
                <a:gd name="connsiteY9" fmla="*/ 0 h 74681"/>
                <a:gd name="connsiteX10" fmla="*/ 14563 w 74681"/>
                <a:gd name="connsiteY10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681" h="74681">
                  <a:moveTo>
                    <a:pt x="14563" y="2987"/>
                  </a:moveTo>
                  <a:cubicBezTo>
                    <a:pt x="11576" y="8962"/>
                    <a:pt x="4107" y="17924"/>
                    <a:pt x="1120" y="20911"/>
                  </a:cubicBezTo>
                  <a:cubicBezTo>
                    <a:pt x="-373" y="23898"/>
                    <a:pt x="-373" y="26885"/>
                    <a:pt x="1120" y="29873"/>
                  </a:cubicBezTo>
                  <a:cubicBezTo>
                    <a:pt x="4107" y="38835"/>
                    <a:pt x="8588" y="44809"/>
                    <a:pt x="16057" y="50783"/>
                  </a:cubicBezTo>
                  <a:cubicBezTo>
                    <a:pt x="26512" y="59745"/>
                    <a:pt x="38461" y="68707"/>
                    <a:pt x="50410" y="77669"/>
                  </a:cubicBezTo>
                  <a:cubicBezTo>
                    <a:pt x="56385" y="67214"/>
                    <a:pt x="62359" y="55265"/>
                    <a:pt x="66840" y="43315"/>
                  </a:cubicBezTo>
                  <a:cubicBezTo>
                    <a:pt x="72815" y="49290"/>
                    <a:pt x="80283" y="55265"/>
                    <a:pt x="86257" y="61239"/>
                  </a:cubicBezTo>
                  <a:cubicBezTo>
                    <a:pt x="87751" y="50783"/>
                    <a:pt x="87751" y="40328"/>
                    <a:pt x="86257" y="31366"/>
                  </a:cubicBezTo>
                  <a:cubicBezTo>
                    <a:pt x="84764" y="20911"/>
                    <a:pt x="78789" y="11949"/>
                    <a:pt x="69827" y="5974"/>
                  </a:cubicBezTo>
                  <a:cubicBezTo>
                    <a:pt x="62359" y="1494"/>
                    <a:pt x="53397" y="0"/>
                    <a:pt x="44436" y="0"/>
                  </a:cubicBezTo>
                  <a:cubicBezTo>
                    <a:pt x="35474" y="0"/>
                    <a:pt x="16057" y="1494"/>
                    <a:pt x="14563" y="2987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3" name="任意多边形: 形状 10312"/>
            <p:cNvSpPr/>
            <p:nvPr/>
          </p:nvSpPr>
          <p:spPr>
            <a:xfrm>
              <a:off x="4150762" y="5346731"/>
              <a:ext cx="59745" cy="29873"/>
            </a:xfrm>
            <a:custGeom>
              <a:avLst/>
              <a:gdLst>
                <a:gd name="connsiteX0" fmla="*/ 68334 w 59745"/>
                <a:gd name="connsiteY0" fmla="*/ 21450 h 29872"/>
                <a:gd name="connsiteX1" fmla="*/ 66840 w 59745"/>
                <a:gd name="connsiteY1" fmla="*/ 25930 h 29872"/>
                <a:gd name="connsiteX2" fmla="*/ 57878 w 59745"/>
                <a:gd name="connsiteY2" fmla="*/ 34892 h 29872"/>
                <a:gd name="connsiteX3" fmla="*/ 56385 w 59745"/>
                <a:gd name="connsiteY3" fmla="*/ 36386 h 29872"/>
                <a:gd name="connsiteX4" fmla="*/ 10082 w 59745"/>
                <a:gd name="connsiteY4" fmla="*/ 34892 h 29872"/>
                <a:gd name="connsiteX5" fmla="*/ 10082 w 59745"/>
                <a:gd name="connsiteY5" fmla="*/ 6513 h 29872"/>
                <a:gd name="connsiteX6" fmla="*/ 16057 w 59745"/>
                <a:gd name="connsiteY6" fmla="*/ 3526 h 29872"/>
                <a:gd name="connsiteX7" fmla="*/ 20538 w 59745"/>
                <a:gd name="connsiteY7" fmla="*/ 2032 h 29872"/>
                <a:gd name="connsiteX8" fmla="*/ 20538 w 59745"/>
                <a:gd name="connsiteY8" fmla="*/ 2032 h 29872"/>
                <a:gd name="connsiteX9" fmla="*/ 26512 w 59745"/>
                <a:gd name="connsiteY9" fmla="*/ 539 h 29872"/>
                <a:gd name="connsiteX10" fmla="*/ 59372 w 59745"/>
                <a:gd name="connsiteY10" fmla="*/ 6513 h 29872"/>
                <a:gd name="connsiteX11" fmla="*/ 68334 w 59745"/>
                <a:gd name="connsiteY11" fmla="*/ 15475 h 29872"/>
                <a:gd name="connsiteX12" fmla="*/ 68334 w 59745"/>
                <a:gd name="connsiteY12" fmla="*/ 2145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745" h="29872">
                  <a:moveTo>
                    <a:pt x="68334" y="21450"/>
                  </a:moveTo>
                  <a:cubicBezTo>
                    <a:pt x="68334" y="22943"/>
                    <a:pt x="68334" y="24437"/>
                    <a:pt x="66840" y="25930"/>
                  </a:cubicBezTo>
                  <a:cubicBezTo>
                    <a:pt x="65347" y="28918"/>
                    <a:pt x="62359" y="31905"/>
                    <a:pt x="57878" y="34892"/>
                  </a:cubicBezTo>
                  <a:cubicBezTo>
                    <a:pt x="57878" y="34892"/>
                    <a:pt x="56385" y="36386"/>
                    <a:pt x="56385" y="36386"/>
                  </a:cubicBezTo>
                  <a:cubicBezTo>
                    <a:pt x="42942" y="42360"/>
                    <a:pt x="22031" y="42360"/>
                    <a:pt x="10082" y="34892"/>
                  </a:cubicBezTo>
                  <a:cubicBezTo>
                    <a:pt x="-3361" y="27424"/>
                    <a:pt x="-3361" y="13981"/>
                    <a:pt x="10082" y="6513"/>
                  </a:cubicBezTo>
                  <a:cubicBezTo>
                    <a:pt x="11576" y="5019"/>
                    <a:pt x="13069" y="5019"/>
                    <a:pt x="16057" y="3526"/>
                  </a:cubicBezTo>
                  <a:cubicBezTo>
                    <a:pt x="17550" y="3526"/>
                    <a:pt x="19044" y="2032"/>
                    <a:pt x="20538" y="2032"/>
                  </a:cubicBezTo>
                  <a:cubicBezTo>
                    <a:pt x="20538" y="2032"/>
                    <a:pt x="20538" y="2032"/>
                    <a:pt x="20538" y="2032"/>
                  </a:cubicBezTo>
                  <a:cubicBezTo>
                    <a:pt x="22031" y="2032"/>
                    <a:pt x="25018" y="539"/>
                    <a:pt x="26512" y="539"/>
                  </a:cubicBezTo>
                  <a:cubicBezTo>
                    <a:pt x="38461" y="-955"/>
                    <a:pt x="50410" y="539"/>
                    <a:pt x="59372" y="6513"/>
                  </a:cubicBezTo>
                  <a:cubicBezTo>
                    <a:pt x="63853" y="9500"/>
                    <a:pt x="66840" y="12488"/>
                    <a:pt x="68334" y="15475"/>
                  </a:cubicBezTo>
                  <a:cubicBezTo>
                    <a:pt x="68334" y="16968"/>
                    <a:pt x="68334" y="19956"/>
                    <a:pt x="68334" y="2145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4" name="任意多边形: 形状 10313"/>
            <p:cNvSpPr/>
            <p:nvPr/>
          </p:nvSpPr>
          <p:spPr>
            <a:xfrm>
              <a:off x="4148895" y="5277069"/>
              <a:ext cx="59745" cy="89618"/>
            </a:xfrm>
            <a:custGeom>
              <a:avLst/>
              <a:gdLst>
                <a:gd name="connsiteX0" fmla="*/ 0 w 59745"/>
                <a:gd name="connsiteY0" fmla="*/ 0 h 89618"/>
                <a:gd name="connsiteX1" fmla="*/ 68707 w 59745"/>
                <a:gd name="connsiteY1" fmla="*/ 0 h 89618"/>
                <a:gd name="connsiteX2" fmla="*/ 68707 w 59745"/>
                <a:gd name="connsiteY2" fmla="*/ 89618 h 89618"/>
                <a:gd name="connsiteX3" fmla="*/ 0 w 59745"/>
                <a:gd name="connsiteY3" fmla="*/ 89618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89618">
                  <a:moveTo>
                    <a:pt x="0" y="0"/>
                  </a:moveTo>
                  <a:lnTo>
                    <a:pt x="68707" y="0"/>
                  </a:lnTo>
                  <a:lnTo>
                    <a:pt x="68707" y="89618"/>
                  </a:lnTo>
                  <a:lnTo>
                    <a:pt x="0" y="89618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5" name="任意多边形: 形状 10314"/>
            <p:cNvSpPr/>
            <p:nvPr/>
          </p:nvSpPr>
          <p:spPr>
            <a:xfrm>
              <a:off x="4159724" y="5290512"/>
              <a:ext cx="44809" cy="89618"/>
            </a:xfrm>
            <a:custGeom>
              <a:avLst/>
              <a:gdLst>
                <a:gd name="connsiteX0" fmla="*/ 51904 w 44809"/>
                <a:gd name="connsiteY0" fmla="*/ 80656 h 89618"/>
                <a:gd name="connsiteX1" fmla="*/ 57878 w 44809"/>
                <a:gd name="connsiteY1" fmla="*/ 77669 h 89618"/>
                <a:gd name="connsiteX2" fmla="*/ 56385 w 44809"/>
                <a:gd name="connsiteY2" fmla="*/ 82150 h 89618"/>
                <a:gd name="connsiteX3" fmla="*/ 47423 w 44809"/>
                <a:gd name="connsiteY3" fmla="*/ 91112 h 89618"/>
                <a:gd name="connsiteX4" fmla="*/ 45929 w 44809"/>
                <a:gd name="connsiteY4" fmla="*/ 92606 h 89618"/>
                <a:gd name="connsiteX5" fmla="*/ 11576 w 44809"/>
                <a:gd name="connsiteY5" fmla="*/ 76175 h 89618"/>
                <a:gd name="connsiteX6" fmla="*/ 5601 w 44809"/>
                <a:gd name="connsiteY6" fmla="*/ 64227 h 89618"/>
                <a:gd name="connsiteX7" fmla="*/ 4108 w 44809"/>
                <a:gd name="connsiteY7" fmla="*/ 61239 h 89618"/>
                <a:gd name="connsiteX8" fmla="*/ 1120 w 44809"/>
                <a:gd name="connsiteY8" fmla="*/ 47796 h 89618"/>
                <a:gd name="connsiteX9" fmla="*/ 1120 w 44809"/>
                <a:gd name="connsiteY9" fmla="*/ 17924 h 89618"/>
                <a:gd name="connsiteX10" fmla="*/ 2614 w 44809"/>
                <a:gd name="connsiteY10" fmla="*/ 0 h 89618"/>
                <a:gd name="connsiteX11" fmla="*/ 2614 w 44809"/>
                <a:gd name="connsiteY11" fmla="*/ 7468 h 89618"/>
                <a:gd name="connsiteX12" fmla="*/ 2614 w 44809"/>
                <a:gd name="connsiteY12" fmla="*/ 37341 h 89618"/>
                <a:gd name="connsiteX13" fmla="*/ 8588 w 44809"/>
                <a:gd name="connsiteY13" fmla="*/ 59745 h 89618"/>
                <a:gd name="connsiteX14" fmla="*/ 11576 w 44809"/>
                <a:gd name="connsiteY14" fmla="*/ 64227 h 89618"/>
                <a:gd name="connsiteX15" fmla="*/ 13069 w 44809"/>
                <a:gd name="connsiteY15" fmla="*/ 65720 h 89618"/>
                <a:gd name="connsiteX16" fmla="*/ 51904 w 44809"/>
                <a:gd name="connsiteY16" fmla="*/ 80656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4809" h="89618">
                  <a:moveTo>
                    <a:pt x="51904" y="80656"/>
                  </a:moveTo>
                  <a:cubicBezTo>
                    <a:pt x="51904" y="80656"/>
                    <a:pt x="56385" y="79163"/>
                    <a:pt x="57878" y="77669"/>
                  </a:cubicBezTo>
                  <a:cubicBezTo>
                    <a:pt x="57878" y="79163"/>
                    <a:pt x="57878" y="80656"/>
                    <a:pt x="56385" y="82150"/>
                  </a:cubicBezTo>
                  <a:cubicBezTo>
                    <a:pt x="54891" y="85137"/>
                    <a:pt x="51904" y="88124"/>
                    <a:pt x="47423" y="91112"/>
                  </a:cubicBezTo>
                  <a:cubicBezTo>
                    <a:pt x="47423" y="91112"/>
                    <a:pt x="45929" y="92606"/>
                    <a:pt x="45929" y="92606"/>
                  </a:cubicBezTo>
                  <a:cubicBezTo>
                    <a:pt x="32487" y="92606"/>
                    <a:pt x="20537" y="86631"/>
                    <a:pt x="11576" y="76175"/>
                  </a:cubicBezTo>
                  <a:cubicBezTo>
                    <a:pt x="8588" y="73188"/>
                    <a:pt x="7095" y="68707"/>
                    <a:pt x="5601" y="64227"/>
                  </a:cubicBezTo>
                  <a:cubicBezTo>
                    <a:pt x="5601" y="62733"/>
                    <a:pt x="4108" y="62733"/>
                    <a:pt x="4108" y="61239"/>
                  </a:cubicBezTo>
                  <a:cubicBezTo>
                    <a:pt x="2614" y="56758"/>
                    <a:pt x="2614" y="52277"/>
                    <a:pt x="1120" y="47796"/>
                  </a:cubicBezTo>
                  <a:cubicBezTo>
                    <a:pt x="-373" y="37341"/>
                    <a:pt x="-373" y="28379"/>
                    <a:pt x="1120" y="17924"/>
                  </a:cubicBezTo>
                  <a:cubicBezTo>
                    <a:pt x="1120" y="13443"/>
                    <a:pt x="2614" y="5974"/>
                    <a:pt x="2614" y="0"/>
                  </a:cubicBezTo>
                  <a:cubicBezTo>
                    <a:pt x="2614" y="2987"/>
                    <a:pt x="2614" y="4481"/>
                    <a:pt x="2614" y="7468"/>
                  </a:cubicBezTo>
                  <a:cubicBezTo>
                    <a:pt x="2614" y="17924"/>
                    <a:pt x="1120" y="26886"/>
                    <a:pt x="2614" y="37341"/>
                  </a:cubicBezTo>
                  <a:cubicBezTo>
                    <a:pt x="4108" y="44809"/>
                    <a:pt x="5601" y="52277"/>
                    <a:pt x="8588" y="59745"/>
                  </a:cubicBezTo>
                  <a:cubicBezTo>
                    <a:pt x="10082" y="61239"/>
                    <a:pt x="10082" y="62733"/>
                    <a:pt x="11576" y="64227"/>
                  </a:cubicBezTo>
                  <a:cubicBezTo>
                    <a:pt x="11576" y="64227"/>
                    <a:pt x="13069" y="65720"/>
                    <a:pt x="13069" y="65720"/>
                  </a:cubicBezTo>
                  <a:cubicBezTo>
                    <a:pt x="22031" y="76175"/>
                    <a:pt x="36967" y="82150"/>
                    <a:pt x="51904" y="80656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6" name="任意多边形: 形状 10315"/>
            <p:cNvSpPr/>
            <p:nvPr/>
          </p:nvSpPr>
          <p:spPr>
            <a:xfrm>
              <a:off x="4162338" y="5235113"/>
              <a:ext cx="89618" cy="134427"/>
            </a:xfrm>
            <a:custGeom>
              <a:avLst/>
              <a:gdLst>
                <a:gd name="connsiteX0" fmla="*/ 1494 w 89618"/>
                <a:gd name="connsiteY0" fmla="*/ 59880 h 134427"/>
                <a:gd name="connsiteX1" fmla="*/ 0 w 89618"/>
                <a:gd name="connsiteY1" fmla="*/ 89753 h 134427"/>
                <a:gd name="connsiteX2" fmla="*/ 8962 w 89618"/>
                <a:gd name="connsiteY2" fmla="*/ 118132 h 134427"/>
                <a:gd name="connsiteX3" fmla="*/ 46303 w 89618"/>
                <a:gd name="connsiteY3" fmla="*/ 137549 h 134427"/>
                <a:gd name="connsiteX4" fmla="*/ 79163 w 89618"/>
                <a:gd name="connsiteY4" fmla="*/ 118132 h 134427"/>
                <a:gd name="connsiteX5" fmla="*/ 89618 w 89618"/>
                <a:gd name="connsiteY5" fmla="*/ 38969 h 134427"/>
                <a:gd name="connsiteX6" fmla="*/ 89618 w 89618"/>
                <a:gd name="connsiteY6" fmla="*/ 27020 h 134427"/>
                <a:gd name="connsiteX7" fmla="*/ 65720 w 89618"/>
                <a:gd name="connsiteY7" fmla="*/ 1628 h 134427"/>
                <a:gd name="connsiteX8" fmla="*/ 29873 w 89618"/>
                <a:gd name="connsiteY8" fmla="*/ 3122 h 134427"/>
                <a:gd name="connsiteX9" fmla="*/ 20911 w 89618"/>
                <a:gd name="connsiteY9" fmla="*/ 7603 h 134427"/>
                <a:gd name="connsiteX10" fmla="*/ 13443 w 89618"/>
                <a:gd name="connsiteY10" fmla="*/ 13577 h 134427"/>
                <a:gd name="connsiteX11" fmla="*/ 1494 w 89618"/>
                <a:gd name="connsiteY11" fmla="*/ 59880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9618" h="134427">
                  <a:moveTo>
                    <a:pt x="1494" y="59880"/>
                  </a:moveTo>
                  <a:cubicBezTo>
                    <a:pt x="0" y="70335"/>
                    <a:pt x="0" y="79297"/>
                    <a:pt x="0" y="89753"/>
                  </a:cubicBezTo>
                  <a:cubicBezTo>
                    <a:pt x="0" y="100208"/>
                    <a:pt x="2987" y="109170"/>
                    <a:pt x="8962" y="118132"/>
                  </a:cubicBezTo>
                  <a:cubicBezTo>
                    <a:pt x="16430" y="130081"/>
                    <a:pt x="31366" y="137549"/>
                    <a:pt x="46303" y="137549"/>
                  </a:cubicBezTo>
                  <a:cubicBezTo>
                    <a:pt x="67214" y="137549"/>
                    <a:pt x="76175" y="124106"/>
                    <a:pt x="79163" y="118132"/>
                  </a:cubicBezTo>
                  <a:cubicBezTo>
                    <a:pt x="91112" y="92740"/>
                    <a:pt x="86631" y="67348"/>
                    <a:pt x="89618" y="38969"/>
                  </a:cubicBezTo>
                  <a:cubicBezTo>
                    <a:pt x="89618" y="34488"/>
                    <a:pt x="89618" y="30008"/>
                    <a:pt x="89618" y="27020"/>
                  </a:cubicBezTo>
                  <a:cubicBezTo>
                    <a:pt x="88124" y="15071"/>
                    <a:pt x="77669" y="6109"/>
                    <a:pt x="65720" y="1628"/>
                  </a:cubicBezTo>
                  <a:cubicBezTo>
                    <a:pt x="53771" y="-1359"/>
                    <a:pt x="41822" y="135"/>
                    <a:pt x="29873" y="3122"/>
                  </a:cubicBezTo>
                  <a:cubicBezTo>
                    <a:pt x="26885" y="4616"/>
                    <a:pt x="23898" y="4616"/>
                    <a:pt x="20911" y="7603"/>
                  </a:cubicBezTo>
                  <a:cubicBezTo>
                    <a:pt x="17924" y="9096"/>
                    <a:pt x="16430" y="12084"/>
                    <a:pt x="13443" y="13577"/>
                  </a:cubicBezTo>
                  <a:cubicBezTo>
                    <a:pt x="7468" y="15071"/>
                    <a:pt x="2987" y="44944"/>
                    <a:pt x="1494" y="5988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7" name="任意多边形: 形状 10316"/>
            <p:cNvSpPr/>
            <p:nvPr/>
          </p:nvSpPr>
          <p:spPr>
            <a:xfrm>
              <a:off x="4136898" y="5218752"/>
              <a:ext cx="59745" cy="119491"/>
            </a:xfrm>
            <a:custGeom>
              <a:avLst/>
              <a:gdLst>
                <a:gd name="connsiteX0" fmla="*/ 9009 w 59745"/>
                <a:gd name="connsiteY0" fmla="*/ 112088 h 119490"/>
                <a:gd name="connsiteX1" fmla="*/ 19465 w 59745"/>
                <a:gd name="connsiteY1" fmla="*/ 122543 h 119490"/>
                <a:gd name="connsiteX2" fmla="*/ 22452 w 59745"/>
                <a:gd name="connsiteY2" fmla="*/ 116569 h 119490"/>
                <a:gd name="connsiteX3" fmla="*/ 25439 w 59745"/>
                <a:gd name="connsiteY3" fmla="*/ 67279 h 119490"/>
                <a:gd name="connsiteX4" fmla="*/ 38882 w 59745"/>
                <a:gd name="connsiteY4" fmla="*/ 77734 h 119490"/>
                <a:gd name="connsiteX5" fmla="*/ 38882 w 59745"/>
                <a:gd name="connsiteY5" fmla="*/ 40393 h 119490"/>
                <a:gd name="connsiteX6" fmla="*/ 64274 w 59745"/>
                <a:gd name="connsiteY6" fmla="*/ 28444 h 119490"/>
                <a:gd name="connsiteX7" fmla="*/ 4528 w 59745"/>
                <a:gd name="connsiteY7" fmla="*/ 19482 h 119490"/>
                <a:gd name="connsiteX8" fmla="*/ 9009 w 59745"/>
                <a:gd name="connsiteY8" fmla="*/ 112088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19490">
                  <a:moveTo>
                    <a:pt x="9009" y="112088"/>
                  </a:moveTo>
                  <a:cubicBezTo>
                    <a:pt x="11996" y="118062"/>
                    <a:pt x="17971" y="124037"/>
                    <a:pt x="19465" y="122543"/>
                  </a:cubicBezTo>
                  <a:cubicBezTo>
                    <a:pt x="20958" y="121050"/>
                    <a:pt x="22452" y="119556"/>
                    <a:pt x="22452" y="116569"/>
                  </a:cubicBezTo>
                  <a:cubicBezTo>
                    <a:pt x="25439" y="100139"/>
                    <a:pt x="26933" y="83709"/>
                    <a:pt x="25439" y="67279"/>
                  </a:cubicBezTo>
                  <a:cubicBezTo>
                    <a:pt x="28426" y="68773"/>
                    <a:pt x="38882" y="79228"/>
                    <a:pt x="38882" y="77734"/>
                  </a:cubicBezTo>
                  <a:cubicBezTo>
                    <a:pt x="40375" y="74747"/>
                    <a:pt x="38882" y="55330"/>
                    <a:pt x="38882" y="40393"/>
                  </a:cubicBezTo>
                  <a:cubicBezTo>
                    <a:pt x="38882" y="40393"/>
                    <a:pt x="41869" y="50849"/>
                    <a:pt x="64274" y="28444"/>
                  </a:cubicBezTo>
                  <a:cubicBezTo>
                    <a:pt x="86678" y="6040"/>
                    <a:pt x="19465" y="-17858"/>
                    <a:pt x="4528" y="19482"/>
                  </a:cubicBezTo>
                  <a:cubicBezTo>
                    <a:pt x="-1446" y="31432"/>
                    <a:pt x="-2940" y="85202"/>
                    <a:pt x="9009" y="112088"/>
                  </a:cubicBez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8" name="任意多边形: 形状 10317"/>
            <p:cNvSpPr/>
            <p:nvPr/>
          </p:nvSpPr>
          <p:spPr>
            <a:xfrm>
              <a:off x="4153376" y="5278563"/>
              <a:ext cx="14936" cy="29873"/>
            </a:xfrm>
            <a:custGeom>
              <a:avLst/>
              <a:gdLst>
                <a:gd name="connsiteX0" fmla="*/ 7468 w 14936"/>
                <a:gd name="connsiteY0" fmla="*/ 0 h 29872"/>
                <a:gd name="connsiteX1" fmla="*/ 14936 w 14936"/>
                <a:gd name="connsiteY1" fmla="*/ 7468 h 29872"/>
                <a:gd name="connsiteX2" fmla="*/ 16430 w 14936"/>
                <a:gd name="connsiteY2" fmla="*/ 20911 h 29872"/>
                <a:gd name="connsiteX3" fmla="*/ 13443 w 14936"/>
                <a:gd name="connsiteY3" fmla="*/ 37341 h 29872"/>
                <a:gd name="connsiteX4" fmla="*/ 10455 w 14936"/>
                <a:gd name="connsiteY4" fmla="*/ 40328 h 29872"/>
                <a:gd name="connsiteX5" fmla="*/ 4481 w 14936"/>
                <a:gd name="connsiteY5" fmla="*/ 38835 h 29872"/>
                <a:gd name="connsiteX6" fmla="*/ 1494 w 14936"/>
                <a:gd name="connsiteY6" fmla="*/ 32860 h 29872"/>
                <a:gd name="connsiteX7" fmla="*/ 0 w 14936"/>
                <a:gd name="connsiteY7" fmla="*/ 13443 h 29872"/>
                <a:gd name="connsiteX8" fmla="*/ 1494 w 14936"/>
                <a:gd name="connsiteY8" fmla="*/ 5974 h 29872"/>
                <a:gd name="connsiteX9" fmla="*/ 7468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7468" y="0"/>
                  </a:moveTo>
                  <a:cubicBezTo>
                    <a:pt x="11949" y="0"/>
                    <a:pt x="13443" y="2987"/>
                    <a:pt x="14936" y="7468"/>
                  </a:cubicBezTo>
                  <a:cubicBezTo>
                    <a:pt x="16430" y="11949"/>
                    <a:pt x="16430" y="16430"/>
                    <a:pt x="16430" y="20911"/>
                  </a:cubicBezTo>
                  <a:cubicBezTo>
                    <a:pt x="16430" y="26885"/>
                    <a:pt x="16430" y="32860"/>
                    <a:pt x="13443" y="37341"/>
                  </a:cubicBezTo>
                  <a:cubicBezTo>
                    <a:pt x="11949" y="38835"/>
                    <a:pt x="11949" y="40328"/>
                    <a:pt x="10455" y="40328"/>
                  </a:cubicBezTo>
                  <a:cubicBezTo>
                    <a:pt x="7468" y="41822"/>
                    <a:pt x="5975" y="40328"/>
                    <a:pt x="4481" y="38835"/>
                  </a:cubicBezTo>
                  <a:cubicBezTo>
                    <a:pt x="2987" y="37341"/>
                    <a:pt x="2987" y="34353"/>
                    <a:pt x="1494" y="32860"/>
                  </a:cubicBezTo>
                  <a:cubicBezTo>
                    <a:pt x="0" y="26885"/>
                    <a:pt x="0" y="19417"/>
                    <a:pt x="0" y="13443"/>
                  </a:cubicBezTo>
                  <a:cubicBezTo>
                    <a:pt x="0" y="10455"/>
                    <a:pt x="0" y="7468"/>
                    <a:pt x="1494" y="5974"/>
                  </a:cubicBezTo>
                  <a:cubicBezTo>
                    <a:pt x="2987" y="1494"/>
                    <a:pt x="4481" y="0"/>
                    <a:pt x="7468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9" name="任意多边形: 形状 10318"/>
            <p:cNvSpPr/>
            <p:nvPr/>
          </p:nvSpPr>
          <p:spPr>
            <a:xfrm>
              <a:off x="4155744" y="5216324"/>
              <a:ext cx="89618" cy="59745"/>
            </a:xfrm>
            <a:custGeom>
              <a:avLst/>
              <a:gdLst>
                <a:gd name="connsiteX0" fmla="*/ 81275 w 89618"/>
                <a:gd name="connsiteY0" fmla="*/ 62239 h 59745"/>
                <a:gd name="connsiteX1" fmla="*/ 63351 w 89618"/>
                <a:gd name="connsiteY1" fmla="*/ 68214 h 59745"/>
                <a:gd name="connsiteX2" fmla="*/ 26010 w 89618"/>
                <a:gd name="connsiteY2" fmla="*/ 69707 h 59745"/>
                <a:gd name="connsiteX3" fmla="*/ 20036 w 89618"/>
                <a:gd name="connsiteY3" fmla="*/ 44315 h 59745"/>
                <a:gd name="connsiteX4" fmla="*/ 11074 w 89618"/>
                <a:gd name="connsiteY4" fmla="*/ 32366 h 59745"/>
                <a:gd name="connsiteX5" fmla="*/ 619 w 89618"/>
                <a:gd name="connsiteY5" fmla="*/ 24898 h 59745"/>
                <a:gd name="connsiteX6" fmla="*/ 2112 w 89618"/>
                <a:gd name="connsiteY6" fmla="*/ 12949 h 59745"/>
                <a:gd name="connsiteX7" fmla="*/ 76794 w 89618"/>
                <a:gd name="connsiteY7" fmla="*/ 8468 h 59745"/>
                <a:gd name="connsiteX8" fmla="*/ 93224 w 89618"/>
                <a:gd name="connsiteY8" fmla="*/ 38341 h 59745"/>
                <a:gd name="connsiteX9" fmla="*/ 90237 w 89618"/>
                <a:gd name="connsiteY9" fmla="*/ 59252 h 59745"/>
                <a:gd name="connsiteX10" fmla="*/ 81275 w 89618"/>
                <a:gd name="connsiteY10" fmla="*/ 62239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618" h="59745">
                  <a:moveTo>
                    <a:pt x="81275" y="62239"/>
                  </a:moveTo>
                  <a:cubicBezTo>
                    <a:pt x="75300" y="63733"/>
                    <a:pt x="69326" y="65226"/>
                    <a:pt x="63351" y="68214"/>
                  </a:cubicBezTo>
                  <a:cubicBezTo>
                    <a:pt x="51402" y="71201"/>
                    <a:pt x="37960" y="75682"/>
                    <a:pt x="26010" y="69707"/>
                  </a:cubicBezTo>
                  <a:cubicBezTo>
                    <a:pt x="23023" y="68214"/>
                    <a:pt x="20036" y="50290"/>
                    <a:pt x="20036" y="44315"/>
                  </a:cubicBezTo>
                  <a:cubicBezTo>
                    <a:pt x="20036" y="38341"/>
                    <a:pt x="15555" y="35353"/>
                    <a:pt x="11074" y="32366"/>
                  </a:cubicBezTo>
                  <a:cubicBezTo>
                    <a:pt x="6593" y="29379"/>
                    <a:pt x="2112" y="29379"/>
                    <a:pt x="619" y="24898"/>
                  </a:cubicBezTo>
                  <a:cubicBezTo>
                    <a:pt x="-875" y="21911"/>
                    <a:pt x="619" y="17430"/>
                    <a:pt x="2112" y="12949"/>
                  </a:cubicBezTo>
                  <a:cubicBezTo>
                    <a:pt x="9580" y="-3481"/>
                    <a:pt x="61858" y="-3481"/>
                    <a:pt x="76794" y="8468"/>
                  </a:cubicBezTo>
                  <a:cubicBezTo>
                    <a:pt x="85756" y="15936"/>
                    <a:pt x="90237" y="26392"/>
                    <a:pt x="93224" y="38341"/>
                  </a:cubicBezTo>
                  <a:cubicBezTo>
                    <a:pt x="94718" y="45809"/>
                    <a:pt x="96211" y="54771"/>
                    <a:pt x="90237" y="59252"/>
                  </a:cubicBezTo>
                  <a:cubicBezTo>
                    <a:pt x="88743" y="60745"/>
                    <a:pt x="84262" y="60745"/>
                    <a:pt x="81275" y="6223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0" name="任意多边形: 形状 10319"/>
            <p:cNvSpPr/>
            <p:nvPr/>
          </p:nvSpPr>
          <p:spPr>
            <a:xfrm>
              <a:off x="4142850" y="5209245"/>
              <a:ext cx="119491" cy="74682"/>
            </a:xfrm>
            <a:custGeom>
              <a:avLst/>
              <a:gdLst>
                <a:gd name="connsiteX0" fmla="*/ 9033 w 119490"/>
                <a:gd name="connsiteY0" fmla="*/ 14053 h 74681"/>
                <a:gd name="connsiteX1" fmla="*/ 73259 w 119490"/>
                <a:gd name="connsiteY1" fmla="*/ 3598 h 74681"/>
                <a:gd name="connsiteX2" fmla="*/ 115081 w 119490"/>
                <a:gd name="connsiteY2" fmla="*/ 52887 h 74681"/>
                <a:gd name="connsiteX3" fmla="*/ 118068 w 119490"/>
                <a:gd name="connsiteY3" fmla="*/ 67824 h 74681"/>
                <a:gd name="connsiteX4" fmla="*/ 127030 w 119490"/>
                <a:gd name="connsiteY4" fmla="*/ 79773 h 74681"/>
                <a:gd name="connsiteX5" fmla="*/ 62804 w 119490"/>
                <a:gd name="connsiteY5" fmla="*/ 72305 h 74681"/>
                <a:gd name="connsiteX6" fmla="*/ 34424 w 119490"/>
                <a:gd name="connsiteY6" fmla="*/ 55875 h 74681"/>
                <a:gd name="connsiteX7" fmla="*/ 10526 w 119490"/>
                <a:gd name="connsiteY7" fmla="*/ 40939 h 74681"/>
                <a:gd name="connsiteX8" fmla="*/ 1564 w 119490"/>
                <a:gd name="connsiteY8" fmla="*/ 31977 h 74681"/>
                <a:gd name="connsiteX9" fmla="*/ 9033 w 119490"/>
                <a:gd name="connsiteY9" fmla="*/ 14053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490" h="74681">
                  <a:moveTo>
                    <a:pt x="9033" y="14053"/>
                  </a:moveTo>
                  <a:cubicBezTo>
                    <a:pt x="26956" y="610"/>
                    <a:pt x="52348" y="-3870"/>
                    <a:pt x="73259" y="3598"/>
                  </a:cubicBezTo>
                  <a:cubicBezTo>
                    <a:pt x="94170" y="11066"/>
                    <a:pt x="110600" y="30483"/>
                    <a:pt x="115081" y="52887"/>
                  </a:cubicBezTo>
                  <a:cubicBezTo>
                    <a:pt x="116574" y="57368"/>
                    <a:pt x="116574" y="63343"/>
                    <a:pt x="118068" y="67824"/>
                  </a:cubicBezTo>
                  <a:cubicBezTo>
                    <a:pt x="119562" y="72305"/>
                    <a:pt x="122549" y="76786"/>
                    <a:pt x="127030" y="79773"/>
                  </a:cubicBezTo>
                  <a:cubicBezTo>
                    <a:pt x="106119" y="84254"/>
                    <a:pt x="82221" y="81266"/>
                    <a:pt x="62804" y="72305"/>
                  </a:cubicBezTo>
                  <a:cubicBezTo>
                    <a:pt x="52348" y="67824"/>
                    <a:pt x="43386" y="61849"/>
                    <a:pt x="34424" y="55875"/>
                  </a:cubicBezTo>
                  <a:cubicBezTo>
                    <a:pt x="26956" y="51394"/>
                    <a:pt x="17994" y="45419"/>
                    <a:pt x="10526" y="40939"/>
                  </a:cubicBezTo>
                  <a:cubicBezTo>
                    <a:pt x="7539" y="39445"/>
                    <a:pt x="3058" y="36457"/>
                    <a:pt x="1564" y="31977"/>
                  </a:cubicBezTo>
                  <a:cubicBezTo>
                    <a:pt x="-2916" y="26002"/>
                    <a:pt x="3058" y="18534"/>
                    <a:pt x="9033" y="14053"/>
                  </a:cubicBez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1" name="任意多边形: 形状 10320"/>
            <p:cNvSpPr/>
            <p:nvPr/>
          </p:nvSpPr>
          <p:spPr>
            <a:xfrm>
              <a:off x="4216108" y="5426432"/>
              <a:ext cx="14936" cy="14936"/>
            </a:xfrm>
            <a:custGeom>
              <a:avLst/>
              <a:gdLst>
                <a:gd name="connsiteX0" fmla="*/ 5975 w 0"/>
                <a:gd name="connsiteY0" fmla="*/ 4481 h 0"/>
                <a:gd name="connsiteX1" fmla="*/ 2987 w 0"/>
                <a:gd name="connsiteY1" fmla="*/ 8962 h 0"/>
                <a:gd name="connsiteX2" fmla="*/ 0 w 0"/>
                <a:gd name="connsiteY2" fmla="*/ 4481 h 0"/>
                <a:gd name="connsiteX3" fmla="*/ 2987 w 0"/>
                <a:gd name="connsiteY3" fmla="*/ 0 h 0"/>
                <a:gd name="connsiteX4" fmla="*/ 5975 w 0"/>
                <a:gd name="connsiteY4" fmla="*/ 448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975" y="4481"/>
                  </a:moveTo>
                  <a:cubicBezTo>
                    <a:pt x="5975" y="7468"/>
                    <a:pt x="4481" y="8962"/>
                    <a:pt x="2987" y="8962"/>
                  </a:cubicBezTo>
                  <a:cubicBezTo>
                    <a:pt x="1494" y="8962"/>
                    <a:pt x="0" y="5974"/>
                    <a:pt x="0" y="4481"/>
                  </a:cubicBezTo>
                  <a:cubicBezTo>
                    <a:pt x="0" y="1494"/>
                    <a:pt x="1494" y="0"/>
                    <a:pt x="2987" y="0"/>
                  </a:cubicBezTo>
                  <a:cubicBezTo>
                    <a:pt x="4481" y="0"/>
                    <a:pt x="5975" y="1494"/>
                    <a:pt x="5975" y="4481"/>
                  </a:cubicBezTo>
                  <a:close/>
                </a:path>
              </a:pathLst>
            </a:custGeom>
            <a:solidFill>
              <a:srgbClr val="706F6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2" name="任意多边形: 形状 10321"/>
            <p:cNvSpPr/>
            <p:nvPr/>
          </p:nvSpPr>
          <p:spPr>
            <a:xfrm>
              <a:off x="4232538" y="5478312"/>
              <a:ext cx="14936" cy="14936"/>
            </a:xfrm>
            <a:custGeom>
              <a:avLst/>
              <a:gdLst>
                <a:gd name="connsiteX0" fmla="*/ 5975 w 0"/>
                <a:gd name="connsiteY0" fmla="*/ 4878 h 0"/>
                <a:gd name="connsiteX1" fmla="*/ 2987 w 0"/>
                <a:gd name="connsiteY1" fmla="*/ 9359 h 0"/>
                <a:gd name="connsiteX2" fmla="*/ 0 w 0"/>
                <a:gd name="connsiteY2" fmla="*/ 4878 h 0"/>
                <a:gd name="connsiteX3" fmla="*/ 2987 w 0"/>
                <a:gd name="connsiteY3" fmla="*/ 397 h 0"/>
                <a:gd name="connsiteX4" fmla="*/ 5975 w 0"/>
                <a:gd name="connsiteY4" fmla="*/ 487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975" y="4878"/>
                  </a:moveTo>
                  <a:cubicBezTo>
                    <a:pt x="5975" y="7865"/>
                    <a:pt x="4481" y="9359"/>
                    <a:pt x="2987" y="9359"/>
                  </a:cubicBezTo>
                  <a:cubicBezTo>
                    <a:pt x="1494" y="9359"/>
                    <a:pt x="0" y="6372"/>
                    <a:pt x="0" y="4878"/>
                  </a:cubicBezTo>
                  <a:cubicBezTo>
                    <a:pt x="0" y="1891"/>
                    <a:pt x="1494" y="397"/>
                    <a:pt x="2987" y="397"/>
                  </a:cubicBezTo>
                  <a:cubicBezTo>
                    <a:pt x="4481" y="-1096"/>
                    <a:pt x="5975" y="1891"/>
                    <a:pt x="5975" y="4878"/>
                  </a:cubicBezTo>
                  <a:close/>
                </a:path>
              </a:pathLst>
            </a:custGeom>
            <a:solidFill>
              <a:srgbClr val="706F6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3" name="任意多边形: 形状 10322"/>
            <p:cNvSpPr/>
            <p:nvPr/>
          </p:nvSpPr>
          <p:spPr>
            <a:xfrm>
              <a:off x="4259424" y="5587745"/>
              <a:ext cx="14936" cy="14936"/>
            </a:xfrm>
            <a:custGeom>
              <a:avLst/>
              <a:gdLst>
                <a:gd name="connsiteX0" fmla="*/ 5975 w 0"/>
                <a:gd name="connsiteY0" fmla="*/ 4481 h 0"/>
                <a:gd name="connsiteX1" fmla="*/ 2987 w 0"/>
                <a:gd name="connsiteY1" fmla="*/ 8962 h 0"/>
                <a:gd name="connsiteX2" fmla="*/ 0 w 0"/>
                <a:gd name="connsiteY2" fmla="*/ 4481 h 0"/>
                <a:gd name="connsiteX3" fmla="*/ 2987 w 0"/>
                <a:gd name="connsiteY3" fmla="*/ 0 h 0"/>
                <a:gd name="connsiteX4" fmla="*/ 5975 w 0"/>
                <a:gd name="connsiteY4" fmla="*/ 448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975" y="4481"/>
                  </a:moveTo>
                  <a:cubicBezTo>
                    <a:pt x="5975" y="7468"/>
                    <a:pt x="4481" y="8962"/>
                    <a:pt x="2987" y="8962"/>
                  </a:cubicBezTo>
                  <a:cubicBezTo>
                    <a:pt x="1494" y="8962"/>
                    <a:pt x="0" y="5975"/>
                    <a:pt x="0" y="4481"/>
                  </a:cubicBezTo>
                  <a:cubicBezTo>
                    <a:pt x="0" y="1494"/>
                    <a:pt x="1494" y="0"/>
                    <a:pt x="2987" y="0"/>
                  </a:cubicBezTo>
                  <a:cubicBezTo>
                    <a:pt x="4481" y="0"/>
                    <a:pt x="5975" y="1494"/>
                    <a:pt x="5975" y="4481"/>
                  </a:cubicBezTo>
                  <a:close/>
                </a:path>
              </a:pathLst>
            </a:custGeom>
            <a:solidFill>
              <a:srgbClr val="706F6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4" name="任意多边形: 形状 10323"/>
            <p:cNvSpPr/>
            <p:nvPr/>
          </p:nvSpPr>
          <p:spPr>
            <a:xfrm>
              <a:off x="4262411" y="5668004"/>
              <a:ext cx="14936" cy="14936"/>
            </a:xfrm>
            <a:custGeom>
              <a:avLst/>
              <a:gdLst>
                <a:gd name="connsiteX0" fmla="*/ 5975 w 0"/>
                <a:gd name="connsiteY0" fmla="*/ 4878 h 0"/>
                <a:gd name="connsiteX1" fmla="*/ 2987 w 0"/>
                <a:gd name="connsiteY1" fmla="*/ 9359 h 0"/>
                <a:gd name="connsiteX2" fmla="*/ 0 w 0"/>
                <a:gd name="connsiteY2" fmla="*/ 4878 h 0"/>
                <a:gd name="connsiteX3" fmla="*/ 2987 w 0"/>
                <a:gd name="connsiteY3" fmla="*/ 397 h 0"/>
                <a:gd name="connsiteX4" fmla="*/ 5975 w 0"/>
                <a:gd name="connsiteY4" fmla="*/ 487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975" y="4878"/>
                  </a:moveTo>
                  <a:cubicBezTo>
                    <a:pt x="5975" y="7866"/>
                    <a:pt x="4481" y="9359"/>
                    <a:pt x="2987" y="9359"/>
                  </a:cubicBezTo>
                  <a:cubicBezTo>
                    <a:pt x="1494" y="9359"/>
                    <a:pt x="0" y="6372"/>
                    <a:pt x="0" y="4878"/>
                  </a:cubicBezTo>
                  <a:cubicBezTo>
                    <a:pt x="0" y="1891"/>
                    <a:pt x="1494" y="397"/>
                    <a:pt x="2987" y="397"/>
                  </a:cubicBezTo>
                  <a:cubicBezTo>
                    <a:pt x="4481" y="-1096"/>
                    <a:pt x="5975" y="1891"/>
                    <a:pt x="5975" y="4878"/>
                  </a:cubicBezTo>
                  <a:close/>
                </a:path>
              </a:pathLst>
            </a:custGeom>
            <a:solidFill>
              <a:srgbClr val="706F6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5" name="任意多边形: 形状 10324"/>
            <p:cNvSpPr/>
            <p:nvPr/>
          </p:nvSpPr>
          <p:spPr>
            <a:xfrm>
              <a:off x="7234509" y="5686698"/>
              <a:ext cx="44809" cy="44809"/>
            </a:xfrm>
            <a:custGeom>
              <a:avLst/>
              <a:gdLst>
                <a:gd name="connsiteX0" fmla="*/ 55498 w 44809"/>
                <a:gd name="connsiteY0" fmla="*/ 4108 h 44809"/>
                <a:gd name="connsiteX1" fmla="*/ 31600 w 44809"/>
                <a:gd name="connsiteY1" fmla="*/ 2614 h 44809"/>
                <a:gd name="connsiteX2" fmla="*/ 18158 w 44809"/>
                <a:gd name="connsiteY2" fmla="*/ 20537 h 44809"/>
                <a:gd name="connsiteX3" fmla="*/ 12183 w 44809"/>
                <a:gd name="connsiteY3" fmla="*/ 32487 h 44809"/>
                <a:gd name="connsiteX4" fmla="*/ 234 w 44809"/>
                <a:gd name="connsiteY4" fmla="*/ 44436 h 44809"/>
                <a:gd name="connsiteX5" fmla="*/ 9196 w 44809"/>
                <a:gd name="connsiteY5" fmla="*/ 50410 h 44809"/>
                <a:gd name="connsiteX6" fmla="*/ 22638 w 44809"/>
                <a:gd name="connsiteY6" fmla="*/ 39955 h 44809"/>
                <a:gd name="connsiteX7" fmla="*/ 36081 w 44809"/>
                <a:gd name="connsiteY7" fmla="*/ 35474 h 44809"/>
                <a:gd name="connsiteX8" fmla="*/ 45043 w 44809"/>
                <a:gd name="connsiteY8" fmla="*/ 22031 h 44809"/>
                <a:gd name="connsiteX9" fmla="*/ 55498 w 44809"/>
                <a:gd name="connsiteY9" fmla="*/ 4108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09" h="44809">
                  <a:moveTo>
                    <a:pt x="55498" y="4108"/>
                  </a:moveTo>
                  <a:cubicBezTo>
                    <a:pt x="48030" y="-1867"/>
                    <a:pt x="40562" y="-373"/>
                    <a:pt x="31600" y="2614"/>
                  </a:cubicBezTo>
                  <a:cubicBezTo>
                    <a:pt x="24132" y="5601"/>
                    <a:pt x="19651" y="13069"/>
                    <a:pt x="18158" y="20537"/>
                  </a:cubicBezTo>
                  <a:cubicBezTo>
                    <a:pt x="16664" y="25019"/>
                    <a:pt x="15170" y="29499"/>
                    <a:pt x="12183" y="32487"/>
                  </a:cubicBezTo>
                  <a:cubicBezTo>
                    <a:pt x="9196" y="36967"/>
                    <a:pt x="1728" y="39955"/>
                    <a:pt x="234" y="44436"/>
                  </a:cubicBezTo>
                  <a:cubicBezTo>
                    <a:pt x="-1260" y="50410"/>
                    <a:pt x="4715" y="53397"/>
                    <a:pt x="9196" y="50410"/>
                  </a:cubicBezTo>
                  <a:cubicBezTo>
                    <a:pt x="19651" y="45929"/>
                    <a:pt x="21145" y="41449"/>
                    <a:pt x="22638" y="39955"/>
                  </a:cubicBezTo>
                  <a:cubicBezTo>
                    <a:pt x="25626" y="36967"/>
                    <a:pt x="31600" y="36967"/>
                    <a:pt x="36081" y="35474"/>
                  </a:cubicBezTo>
                  <a:cubicBezTo>
                    <a:pt x="40562" y="32487"/>
                    <a:pt x="43549" y="26512"/>
                    <a:pt x="45043" y="22031"/>
                  </a:cubicBezTo>
                  <a:lnTo>
                    <a:pt x="55498" y="4108"/>
                  </a:lnTo>
                  <a:close/>
                </a:path>
              </a:pathLst>
            </a:custGeom>
            <a:solidFill>
              <a:srgbClr val="FFBE63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6" name="任意多边形: 形状 10325"/>
            <p:cNvSpPr/>
            <p:nvPr/>
          </p:nvSpPr>
          <p:spPr>
            <a:xfrm>
              <a:off x="7248186" y="5687818"/>
              <a:ext cx="44809" cy="74682"/>
            </a:xfrm>
            <a:custGeom>
              <a:avLst/>
              <a:gdLst>
                <a:gd name="connsiteX0" fmla="*/ 35847 w 44809"/>
                <a:gd name="connsiteY0" fmla="*/ 70201 h 74681"/>
                <a:gd name="connsiteX1" fmla="*/ 25392 w 44809"/>
                <a:gd name="connsiteY1" fmla="*/ 82150 h 74681"/>
                <a:gd name="connsiteX2" fmla="*/ 11949 w 44809"/>
                <a:gd name="connsiteY2" fmla="*/ 85137 h 74681"/>
                <a:gd name="connsiteX3" fmla="*/ 1494 w 44809"/>
                <a:gd name="connsiteY3" fmla="*/ 76175 h 74681"/>
                <a:gd name="connsiteX4" fmla="*/ 0 w 44809"/>
                <a:gd name="connsiteY4" fmla="*/ 64226 h 74681"/>
                <a:gd name="connsiteX5" fmla="*/ 1494 w 44809"/>
                <a:gd name="connsiteY5" fmla="*/ 47796 h 74681"/>
                <a:gd name="connsiteX6" fmla="*/ 7468 w 44809"/>
                <a:gd name="connsiteY6" fmla="*/ 32860 h 74681"/>
                <a:gd name="connsiteX7" fmla="*/ 34354 w 44809"/>
                <a:gd name="connsiteY7" fmla="*/ 0 h 74681"/>
                <a:gd name="connsiteX8" fmla="*/ 49290 w 44809"/>
                <a:gd name="connsiteY8" fmla="*/ 16430 h 74681"/>
                <a:gd name="connsiteX9" fmla="*/ 46303 w 44809"/>
                <a:gd name="connsiteY9" fmla="*/ 38835 h 74681"/>
                <a:gd name="connsiteX10" fmla="*/ 41822 w 44809"/>
                <a:gd name="connsiteY10" fmla="*/ 58252 h 74681"/>
                <a:gd name="connsiteX11" fmla="*/ 35847 w 44809"/>
                <a:gd name="connsiteY11" fmla="*/ 7020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809" h="74681">
                  <a:moveTo>
                    <a:pt x="35847" y="70201"/>
                  </a:moveTo>
                  <a:cubicBezTo>
                    <a:pt x="35847" y="77669"/>
                    <a:pt x="31366" y="83644"/>
                    <a:pt x="25392" y="82150"/>
                  </a:cubicBezTo>
                  <a:cubicBezTo>
                    <a:pt x="23898" y="86631"/>
                    <a:pt x="16430" y="91112"/>
                    <a:pt x="11949" y="85137"/>
                  </a:cubicBezTo>
                  <a:cubicBezTo>
                    <a:pt x="8962" y="89618"/>
                    <a:pt x="1494" y="80656"/>
                    <a:pt x="1494" y="76175"/>
                  </a:cubicBezTo>
                  <a:cubicBezTo>
                    <a:pt x="1494" y="67214"/>
                    <a:pt x="0" y="67214"/>
                    <a:pt x="0" y="64226"/>
                  </a:cubicBezTo>
                  <a:cubicBezTo>
                    <a:pt x="0" y="58252"/>
                    <a:pt x="1494" y="52277"/>
                    <a:pt x="1494" y="47796"/>
                  </a:cubicBezTo>
                  <a:cubicBezTo>
                    <a:pt x="2987" y="41822"/>
                    <a:pt x="4481" y="37341"/>
                    <a:pt x="7468" y="32860"/>
                  </a:cubicBezTo>
                  <a:cubicBezTo>
                    <a:pt x="14936" y="20911"/>
                    <a:pt x="20911" y="5974"/>
                    <a:pt x="34354" y="0"/>
                  </a:cubicBezTo>
                  <a:cubicBezTo>
                    <a:pt x="40328" y="2987"/>
                    <a:pt x="46303" y="5974"/>
                    <a:pt x="49290" y="16430"/>
                  </a:cubicBezTo>
                  <a:cubicBezTo>
                    <a:pt x="52277" y="25392"/>
                    <a:pt x="49290" y="31366"/>
                    <a:pt x="46303" y="38835"/>
                  </a:cubicBezTo>
                  <a:cubicBezTo>
                    <a:pt x="43316" y="46303"/>
                    <a:pt x="41822" y="49290"/>
                    <a:pt x="41822" y="58252"/>
                  </a:cubicBezTo>
                  <a:cubicBezTo>
                    <a:pt x="43316" y="71694"/>
                    <a:pt x="35847" y="73188"/>
                    <a:pt x="35847" y="70201"/>
                  </a:cubicBezTo>
                  <a:close/>
                </a:path>
              </a:pathLst>
            </a:custGeom>
            <a:solidFill>
              <a:srgbClr val="FFBE63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7" name="任意多边形: 形状 10326"/>
            <p:cNvSpPr/>
            <p:nvPr/>
          </p:nvSpPr>
          <p:spPr>
            <a:xfrm>
              <a:off x="7252208" y="5532480"/>
              <a:ext cx="74682" cy="164300"/>
            </a:xfrm>
            <a:custGeom>
              <a:avLst/>
              <a:gdLst>
                <a:gd name="connsiteX0" fmla="*/ 25851 w 74681"/>
                <a:gd name="connsiteY0" fmla="*/ 177742 h 164299"/>
                <a:gd name="connsiteX1" fmla="*/ 43775 w 74681"/>
                <a:gd name="connsiteY1" fmla="*/ 174755 h 164299"/>
                <a:gd name="connsiteX2" fmla="*/ 61698 w 74681"/>
                <a:gd name="connsiteY2" fmla="*/ 150857 h 164299"/>
                <a:gd name="connsiteX3" fmla="*/ 69166 w 74681"/>
                <a:gd name="connsiteY3" fmla="*/ 100073 h 164299"/>
                <a:gd name="connsiteX4" fmla="*/ 72154 w 74681"/>
                <a:gd name="connsiteY4" fmla="*/ 80656 h 164299"/>
                <a:gd name="connsiteX5" fmla="*/ 78128 w 74681"/>
                <a:gd name="connsiteY5" fmla="*/ 34353 h 164299"/>
                <a:gd name="connsiteX6" fmla="*/ 51243 w 74681"/>
                <a:gd name="connsiteY6" fmla="*/ 0 h 164299"/>
                <a:gd name="connsiteX7" fmla="*/ 39294 w 74681"/>
                <a:gd name="connsiteY7" fmla="*/ 1494 h 164299"/>
                <a:gd name="connsiteX8" fmla="*/ 33319 w 74681"/>
                <a:gd name="connsiteY8" fmla="*/ 2987 h 164299"/>
                <a:gd name="connsiteX9" fmla="*/ 30332 w 74681"/>
                <a:gd name="connsiteY9" fmla="*/ 4481 h 164299"/>
                <a:gd name="connsiteX10" fmla="*/ 15395 w 74681"/>
                <a:gd name="connsiteY10" fmla="*/ 26885 h 164299"/>
                <a:gd name="connsiteX11" fmla="*/ 459 w 74681"/>
                <a:gd name="connsiteY11" fmla="*/ 144882 h 164299"/>
                <a:gd name="connsiteX12" fmla="*/ 25851 w 74681"/>
                <a:gd name="connsiteY12" fmla="*/ 177742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64299">
                  <a:moveTo>
                    <a:pt x="25851" y="177742"/>
                  </a:moveTo>
                  <a:cubicBezTo>
                    <a:pt x="31826" y="179236"/>
                    <a:pt x="37800" y="177742"/>
                    <a:pt x="43775" y="174755"/>
                  </a:cubicBezTo>
                  <a:cubicBezTo>
                    <a:pt x="52736" y="170274"/>
                    <a:pt x="60204" y="161312"/>
                    <a:pt x="61698" y="150857"/>
                  </a:cubicBezTo>
                  <a:lnTo>
                    <a:pt x="69166" y="100073"/>
                  </a:lnTo>
                  <a:lnTo>
                    <a:pt x="72154" y="80656"/>
                  </a:lnTo>
                  <a:lnTo>
                    <a:pt x="78128" y="34353"/>
                  </a:lnTo>
                  <a:cubicBezTo>
                    <a:pt x="79622" y="17923"/>
                    <a:pt x="69166" y="1494"/>
                    <a:pt x="51243" y="0"/>
                  </a:cubicBezTo>
                  <a:cubicBezTo>
                    <a:pt x="46762" y="0"/>
                    <a:pt x="43775" y="0"/>
                    <a:pt x="39294" y="1494"/>
                  </a:cubicBezTo>
                  <a:cubicBezTo>
                    <a:pt x="37800" y="1494"/>
                    <a:pt x="36306" y="2987"/>
                    <a:pt x="33319" y="2987"/>
                  </a:cubicBezTo>
                  <a:cubicBezTo>
                    <a:pt x="31826" y="2987"/>
                    <a:pt x="31826" y="4481"/>
                    <a:pt x="30332" y="4481"/>
                  </a:cubicBezTo>
                  <a:cubicBezTo>
                    <a:pt x="22864" y="8962"/>
                    <a:pt x="16889" y="16430"/>
                    <a:pt x="15395" y="26885"/>
                  </a:cubicBezTo>
                  <a:lnTo>
                    <a:pt x="459" y="144882"/>
                  </a:lnTo>
                  <a:cubicBezTo>
                    <a:pt x="-2528" y="159819"/>
                    <a:pt x="9421" y="176249"/>
                    <a:pt x="25851" y="177742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8" name="任意多边形: 形状 10327"/>
            <p:cNvSpPr/>
            <p:nvPr/>
          </p:nvSpPr>
          <p:spPr>
            <a:xfrm>
              <a:off x="7340045" y="6168769"/>
              <a:ext cx="89618" cy="44809"/>
            </a:xfrm>
            <a:custGeom>
              <a:avLst/>
              <a:gdLst>
                <a:gd name="connsiteX0" fmla="*/ 93352 w 89618"/>
                <a:gd name="connsiteY0" fmla="*/ 4481 h 44809"/>
                <a:gd name="connsiteX1" fmla="*/ 93352 w 89618"/>
                <a:gd name="connsiteY1" fmla="*/ 23898 h 44809"/>
                <a:gd name="connsiteX2" fmla="*/ 41075 w 89618"/>
                <a:gd name="connsiteY2" fmla="*/ 53771 h 44809"/>
                <a:gd name="connsiteX3" fmla="*/ 6721 w 89618"/>
                <a:gd name="connsiteY3" fmla="*/ 53771 h 44809"/>
                <a:gd name="connsiteX4" fmla="*/ 6721 w 89618"/>
                <a:gd name="connsiteY4" fmla="*/ 53771 h 44809"/>
                <a:gd name="connsiteX5" fmla="*/ 6721 w 89618"/>
                <a:gd name="connsiteY5" fmla="*/ 34354 h 44809"/>
                <a:gd name="connsiteX6" fmla="*/ 58999 w 89618"/>
                <a:gd name="connsiteY6" fmla="*/ 4481 h 44809"/>
                <a:gd name="connsiteX7" fmla="*/ 93352 w 89618"/>
                <a:gd name="connsiteY7" fmla="*/ 4481 h 44809"/>
                <a:gd name="connsiteX8" fmla="*/ 93352 w 89618"/>
                <a:gd name="connsiteY8" fmla="*/ 448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93352" y="4481"/>
                  </a:moveTo>
                  <a:cubicBezTo>
                    <a:pt x="102314" y="10455"/>
                    <a:pt x="102314" y="17923"/>
                    <a:pt x="93352" y="23898"/>
                  </a:cubicBezTo>
                  <a:lnTo>
                    <a:pt x="41075" y="53771"/>
                  </a:lnTo>
                  <a:cubicBezTo>
                    <a:pt x="32113" y="59745"/>
                    <a:pt x="17177" y="59745"/>
                    <a:pt x="6721" y="53771"/>
                  </a:cubicBezTo>
                  <a:lnTo>
                    <a:pt x="6721" y="53771"/>
                  </a:lnTo>
                  <a:cubicBezTo>
                    <a:pt x="-2240" y="47796"/>
                    <a:pt x="-2240" y="40328"/>
                    <a:pt x="6721" y="34354"/>
                  </a:cubicBezTo>
                  <a:lnTo>
                    <a:pt x="58999" y="4481"/>
                  </a:lnTo>
                  <a:cubicBezTo>
                    <a:pt x="69454" y="-1494"/>
                    <a:pt x="84390" y="-1494"/>
                    <a:pt x="93352" y="4481"/>
                  </a:cubicBezTo>
                  <a:lnTo>
                    <a:pt x="93352" y="4481"/>
                  </a:ln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9" name="任意多边形: 形状 10328"/>
            <p:cNvSpPr/>
            <p:nvPr/>
          </p:nvSpPr>
          <p:spPr>
            <a:xfrm>
              <a:off x="7340439" y="6138896"/>
              <a:ext cx="89618" cy="74682"/>
            </a:xfrm>
            <a:custGeom>
              <a:avLst/>
              <a:gdLst>
                <a:gd name="connsiteX0" fmla="*/ 43668 w 89618"/>
                <a:gd name="connsiteY0" fmla="*/ 2987 h 74681"/>
                <a:gd name="connsiteX1" fmla="*/ 82502 w 89618"/>
                <a:gd name="connsiteY1" fmla="*/ 0 h 74681"/>
                <a:gd name="connsiteX2" fmla="*/ 100426 w 89618"/>
                <a:gd name="connsiteY2" fmla="*/ 43315 h 74681"/>
                <a:gd name="connsiteX3" fmla="*/ 353 w 89618"/>
                <a:gd name="connsiteY3" fmla="*/ 76175 h 74681"/>
                <a:gd name="connsiteX4" fmla="*/ 33213 w 89618"/>
                <a:gd name="connsiteY4" fmla="*/ 29873 h 74681"/>
                <a:gd name="connsiteX5" fmla="*/ 43668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43668" y="2987"/>
                  </a:moveTo>
                  <a:lnTo>
                    <a:pt x="82502" y="0"/>
                  </a:lnTo>
                  <a:cubicBezTo>
                    <a:pt x="91464" y="11949"/>
                    <a:pt x="97439" y="23898"/>
                    <a:pt x="100426" y="43315"/>
                  </a:cubicBezTo>
                  <a:lnTo>
                    <a:pt x="353" y="76175"/>
                  </a:lnTo>
                  <a:cubicBezTo>
                    <a:pt x="-2635" y="62732"/>
                    <a:pt x="13795" y="43315"/>
                    <a:pt x="33213" y="29873"/>
                  </a:cubicBezTo>
                  <a:cubicBezTo>
                    <a:pt x="40681" y="23898"/>
                    <a:pt x="36200" y="10455"/>
                    <a:pt x="43668" y="2987"/>
                  </a:cubicBez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0" name="任意多边形: 形状 10329"/>
            <p:cNvSpPr/>
            <p:nvPr/>
          </p:nvSpPr>
          <p:spPr>
            <a:xfrm>
              <a:off x="7235490" y="6101182"/>
              <a:ext cx="89618" cy="44809"/>
            </a:xfrm>
            <a:custGeom>
              <a:avLst/>
              <a:gdLst>
                <a:gd name="connsiteX0" fmla="*/ 93352 w 89618"/>
                <a:gd name="connsiteY0" fmla="*/ 3361 h 44809"/>
                <a:gd name="connsiteX1" fmla="*/ 93352 w 89618"/>
                <a:gd name="connsiteY1" fmla="*/ 22778 h 44809"/>
                <a:gd name="connsiteX2" fmla="*/ 41075 w 89618"/>
                <a:gd name="connsiteY2" fmla="*/ 52651 h 44809"/>
                <a:gd name="connsiteX3" fmla="*/ 6721 w 89618"/>
                <a:gd name="connsiteY3" fmla="*/ 52651 h 44809"/>
                <a:gd name="connsiteX4" fmla="*/ 6721 w 89618"/>
                <a:gd name="connsiteY4" fmla="*/ 52651 h 44809"/>
                <a:gd name="connsiteX5" fmla="*/ 6721 w 89618"/>
                <a:gd name="connsiteY5" fmla="*/ 33233 h 44809"/>
                <a:gd name="connsiteX6" fmla="*/ 58999 w 89618"/>
                <a:gd name="connsiteY6" fmla="*/ 3361 h 44809"/>
                <a:gd name="connsiteX7" fmla="*/ 93352 w 89618"/>
                <a:gd name="connsiteY7" fmla="*/ 3361 h 44809"/>
                <a:gd name="connsiteX8" fmla="*/ 93352 w 89618"/>
                <a:gd name="connsiteY8" fmla="*/ 336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93352" y="3361"/>
                  </a:moveTo>
                  <a:cubicBezTo>
                    <a:pt x="102314" y="9335"/>
                    <a:pt x="102314" y="16803"/>
                    <a:pt x="93352" y="22778"/>
                  </a:cubicBezTo>
                  <a:lnTo>
                    <a:pt x="41075" y="52651"/>
                  </a:lnTo>
                  <a:cubicBezTo>
                    <a:pt x="32113" y="58625"/>
                    <a:pt x="17177" y="58625"/>
                    <a:pt x="6721" y="52651"/>
                  </a:cubicBezTo>
                  <a:lnTo>
                    <a:pt x="6721" y="52651"/>
                  </a:lnTo>
                  <a:cubicBezTo>
                    <a:pt x="-2240" y="46676"/>
                    <a:pt x="-2240" y="39208"/>
                    <a:pt x="6721" y="33233"/>
                  </a:cubicBezTo>
                  <a:lnTo>
                    <a:pt x="58999" y="3361"/>
                  </a:lnTo>
                  <a:cubicBezTo>
                    <a:pt x="69454" y="-1120"/>
                    <a:pt x="84390" y="-1120"/>
                    <a:pt x="93352" y="3361"/>
                  </a:cubicBezTo>
                  <a:lnTo>
                    <a:pt x="93352" y="3361"/>
                  </a:ln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1" name="任意多边形: 形状 10330"/>
            <p:cNvSpPr/>
            <p:nvPr/>
          </p:nvSpPr>
          <p:spPr>
            <a:xfrm>
              <a:off x="7235885" y="6071683"/>
              <a:ext cx="89618" cy="74682"/>
            </a:xfrm>
            <a:custGeom>
              <a:avLst/>
              <a:gdLst>
                <a:gd name="connsiteX0" fmla="*/ 43668 w 89618"/>
                <a:gd name="connsiteY0" fmla="*/ 2987 h 74681"/>
                <a:gd name="connsiteX1" fmla="*/ 82502 w 89618"/>
                <a:gd name="connsiteY1" fmla="*/ 0 h 74681"/>
                <a:gd name="connsiteX2" fmla="*/ 100426 w 89618"/>
                <a:gd name="connsiteY2" fmla="*/ 43315 h 74681"/>
                <a:gd name="connsiteX3" fmla="*/ 353 w 89618"/>
                <a:gd name="connsiteY3" fmla="*/ 76175 h 74681"/>
                <a:gd name="connsiteX4" fmla="*/ 33213 w 89618"/>
                <a:gd name="connsiteY4" fmla="*/ 29873 h 74681"/>
                <a:gd name="connsiteX5" fmla="*/ 43668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43668" y="2987"/>
                  </a:moveTo>
                  <a:lnTo>
                    <a:pt x="82502" y="0"/>
                  </a:lnTo>
                  <a:cubicBezTo>
                    <a:pt x="91464" y="11949"/>
                    <a:pt x="97439" y="23898"/>
                    <a:pt x="100426" y="43315"/>
                  </a:cubicBezTo>
                  <a:lnTo>
                    <a:pt x="353" y="76175"/>
                  </a:lnTo>
                  <a:cubicBezTo>
                    <a:pt x="-2635" y="62732"/>
                    <a:pt x="13795" y="43315"/>
                    <a:pt x="33213" y="29873"/>
                  </a:cubicBezTo>
                  <a:cubicBezTo>
                    <a:pt x="40681" y="22405"/>
                    <a:pt x="36200" y="10455"/>
                    <a:pt x="43668" y="2987"/>
                  </a:cubicBez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2" name="任意多边形: 形状 10331"/>
            <p:cNvSpPr/>
            <p:nvPr/>
          </p:nvSpPr>
          <p:spPr>
            <a:xfrm>
              <a:off x="7267603" y="5680350"/>
              <a:ext cx="104554" cy="224045"/>
            </a:xfrm>
            <a:custGeom>
              <a:avLst/>
              <a:gdLst>
                <a:gd name="connsiteX0" fmla="*/ 0 w 104554"/>
                <a:gd name="connsiteY0" fmla="*/ 216577 h 224045"/>
                <a:gd name="connsiteX1" fmla="*/ 82150 w 104554"/>
                <a:gd name="connsiteY1" fmla="*/ 227033 h 224045"/>
                <a:gd name="connsiteX2" fmla="*/ 83644 w 104554"/>
                <a:gd name="connsiteY2" fmla="*/ 209109 h 224045"/>
                <a:gd name="connsiteX3" fmla="*/ 91112 w 104554"/>
                <a:gd name="connsiteY3" fmla="*/ 155338 h 224045"/>
                <a:gd name="connsiteX4" fmla="*/ 94099 w 104554"/>
                <a:gd name="connsiteY4" fmla="*/ 135921 h 224045"/>
                <a:gd name="connsiteX5" fmla="*/ 95593 w 104554"/>
                <a:gd name="connsiteY5" fmla="*/ 131440 h 224045"/>
                <a:gd name="connsiteX6" fmla="*/ 98580 w 104554"/>
                <a:gd name="connsiteY6" fmla="*/ 107542 h 224045"/>
                <a:gd name="connsiteX7" fmla="*/ 106048 w 104554"/>
                <a:gd name="connsiteY7" fmla="*/ 53771 h 224045"/>
                <a:gd name="connsiteX8" fmla="*/ 110529 w 104554"/>
                <a:gd name="connsiteY8" fmla="*/ 10456 h 224045"/>
                <a:gd name="connsiteX9" fmla="*/ 29873 w 104554"/>
                <a:gd name="connsiteY9" fmla="*/ 0 h 224045"/>
                <a:gd name="connsiteX10" fmla="*/ 17924 w 104554"/>
                <a:gd name="connsiteY10" fmla="*/ 85137 h 224045"/>
                <a:gd name="connsiteX11" fmla="*/ 14936 w 104554"/>
                <a:gd name="connsiteY11" fmla="*/ 109035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554" h="224045">
                  <a:moveTo>
                    <a:pt x="0" y="216577"/>
                  </a:moveTo>
                  <a:lnTo>
                    <a:pt x="82150" y="227033"/>
                  </a:lnTo>
                  <a:lnTo>
                    <a:pt x="83644" y="209109"/>
                  </a:lnTo>
                  <a:lnTo>
                    <a:pt x="91112" y="155338"/>
                  </a:lnTo>
                  <a:lnTo>
                    <a:pt x="94099" y="135921"/>
                  </a:lnTo>
                  <a:lnTo>
                    <a:pt x="95593" y="131440"/>
                  </a:lnTo>
                  <a:lnTo>
                    <a:pt x="98580" y="107542"/>
                  </a:lnTo>
                  <a:lnTo>
                    <a:pt x="106048" y="53771"/>
                  </a:lnTo>
                  <a:lnTo>
                    <a:pt x="110529" y="10456"/>
                  </a:lnTo>
                  <a:lnTo>
                    <a:pt x="29873" y="0"/>
                  </a:lnTo>
                  <a:lnTo>
                    <a:pt x="17924" y="85137"/>
                  </a:lnTo>
                  <a:lnTo>
                    <a:pt x="14936" y="109035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3" name="任意多边形: 形状 10332"/>
            <p:cNvSpPr/>
            <p:nvPr/>
          </p:nvSpPr>
          <p:spPr>
            <a:xfrm>
              <a:off x="7337804" y="5771462"/>
              <a:ext cx="14936" cy="29873"/>
            </a:xfrm>
            <a:custGeom>
              <a:avLst/>
              <a:gdLst>
                <a:gd name="connsiteX0" fmla="*/ 0 w 14936"/>
                <a:gd name="connsiteY0" fmla="*/ 0 h 29872"/>
                <a:gd name="connsiteX1" fmla="*/ 7468 w 14936"/>
                <a:gd name="connsiteY1" fmla="*/ 31366 h 29872"/>
                <a:gd name="connsiteX2" fmla="*/ 25392 w 14936"/>
                <a:gd name="connsiteY2" fmla="*/ 40328 h 29872"/>
                <a:gd name="connsiteX3" fmla="*/ 28379 w 14936"/>
                <a:gd name="connsiteY3" fmla="*/ 17923 h 29872"/>
                <a:gd name="connsiteX4" fmla="*/ 25392 w 14936"/>
                <a:gd name="connsiteY4" fmla="*/ 14936 h 29872"/>
                <a:gd name="connsiteX5" fmla="*/ 0 w 14936"/>
                <a:gd name="connsiteY5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 h="29872">
                  <a:moveTo>
                    <a:pt x="0" y="0"/>
                  </a:moveTo>
                  <a:cubicBezTo>
                    <a:pt x="4481" y="10455"/>
                    <a:pt x="5975" y="20911"/>
                    <a:pt x="7468" y="31366"/>
                  </a:cubicBezTo>
                  <a:cubicBezTo>
                    <a:pt x="13443" y="34353"/>
                    <a:pt x="19417" y="37341"/>
                    <a:pt x="25392" y="40328"/>
                  </a:cubicBezTo>
                  <a:lnTo>
                    <a:pt x="28379" y="17923"/>
                  </a:lnTo>
                  <a:cubicBezTo>
                    <a:pt x="26885" y="16430"/>
                    <a:pt x="25392" y="16430"/>
                    <a:pt x="25392" y="14936"/>
                  </a:cubicBezTo>
                  <a:cubicBezTo>
                    <a:pt x="16430" y="10455"/>
                    <a:pt x="7468" y="4481"/>
                    <a:pt x="0" y="0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4" name="任意多边形: 形状 10333"/>
            <p:cNvSpPr/>
            <p:nvPr/>
          </p:nvSpPr>
          <p:spPr>
            <a:xfrm>
              <a:off x="7260262" y="6061895"/>
              <a:ext cx="74682" cy="44809"/>
            </a:xfrm>
            <a:custGeom>
              <a:avLst/>
              <a:gdLst>
                <a:gd name="connsiteX0" fmla="*/ 13316 w 74681"/>
                <a:gd name="connsiteY0" fmla="*/ 5306 h 44809"/>
                <a:gd name="connsiteX1" fmla="*/ 10329 w 74681"/>
                <a:gd name="connsiteY1" fmla="*/ 38167 h 44809"/>
                <a:gd name="connsiteX2" fmla="*/ 68581 w 74681"/>
                <a:gd name="connsiteY2" fmla="*/ 42647 h 44809"/>
                <a:gd name="connsiteX3" fmla="*/ 71568 w 74681"/>
                <a:gd name="connsiteY3" fmla="*/ 9788 h 44809"/>
                <a:gd name="connsiteX4" fmla="*/ 13316 w 74681"/>
                <a:gd name="connsiteY4" fmla="*/ 5306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13316" y="5306"/>
                  </a:moveTo>
                  <a:cubicBezTo>
                    <a:pt x="-3114" y="12775"/>
                    <a:pt x="-4608" y="27711"/>
                    <a:pt x="10329" y="38167"/>
                  </a:cubicBezTo>
                  <a:cubicBezTo>
                    <a:pt x="25265" y="48622"/>
                    <a:pt x="50657" y="50115"/>
                    <a:pt x="68581" y="42647"/>
                  </a:cubicBezTo>
                  <a:cubicBezTo>
                    <a:pt x="85010" y="35179"/>
                    <a:pt x="86504" y="20243"/>
                    <a:pt x="71568" y="9788"/>
                  </a:cubicBezTo>
                  <a:cubicBezTo>
                    <a:pt x="55138" y="-668"/>
                    <a:pt x="29746" y="-3655"/>
                    <a:pt x="13316" y="5306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5" name="任意多边形: 形状 10334"/>
            <p:cNvSpPr/>
            <p:nvPr/>
          </p:nvSpPr>
          <p:spPr>
            <a:xfrm>
              <a:off x="7259939" y="5848966"/>
              <a:ext cx="89618" cy="238981"/>
            </a:xfrm>
            <a:custGeom>
              <a:avLst/>
              <a:gdLst>
                <a:gd name="connsiteX0" fmla="*/ 82346 w 89618"/>
                <a:gd name="connsiteY0" fmla="*/ 240640 h 238981"/>
                <a:gd name="connsiteX1" fmla="*/ 89814 w 89618"/>
                <a:gd name="connsiteY1" fmla="*/ 58417 h 238981"/>
                <a:gd name="connsiteX2" fmla="*/ 77865 w 89618"/>
                <a:gd name="connsiteY2" fmla="*/ 15101 h 238981"/>
                <a:gd name="connsiteX3" fmla="*/ 45005 w 89618"/>
                <a:gd name="connsiteY3" fmla="*/ 165 h 238981"/>
                <a:gd name="connsiteX4" fmla="*/ 7665 w 89618"/>
                <a:gd name="connsiteY4" fmla="*/ 47961 h 238981"/>
                <a:gd name="connsiteX5" fmla="*/ 196 w 89618"/>
                <a:gd name="connsiteY5" fmla="*/ 234665 h 238981"/>
                <a:gd name="connsiteX6" fmla="*/ 24095 w 89618"/>
                <a:gd name="connsiteY6" fmla="*/ 236159 h 238981"/>
                <a:gd name="connsiteX7" fmla="*/ 82346 w 89618"/>
                <a:gd name="connsiteY7" fmla="*/ 240640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618" h="238981">
                  <a:moveTo>
                    <a:pt x="82346" y="240640"/>
                  </a:moveTo>
                  <a:cubicBezTo>
                    <a:pt x="91308" y="180894"/>
                    <a:pt x="91308" y="67378"/>
                    <a:pt x="89814" y="58417"/>
                  </a:cubicBezTo>
                  <a:cubicBezTo>
                    <a:pt x="88321" y="49455"/>
                    <a:pt x="83840" y="21076"/>
                    <a:pt x="77865" y="15101"/>
                  </a:cubicBezTo>
                  <a:cubicBezTo>
                    <a:pt x="68904" y="7633"/>
                    <a:pt x="56955" y="-1329"/>
                    <a:pt x="45005" y="165"/>
                  </a:cubicBezTo>
                  <a:cubicBezTo>
                    <a:pt x="30069" y="1658"/>
                    <a:pt x="10652" y="33025"/>
                    <a:pt x="7665" y="47961"/>
                  </a:cubicBezTo>
                  <a:cubicBezTo>
                    <a:pt x="6171" y="64391"/>
                    <a:pt x="-1297" y="225703"/>
                    <a:pt x="196" y="234665"/>
                  </a:cubicBezTo>
                  <a:cubicBezTo>
                    <a:pt x="1690" y="243627"/>
                    <a:pt x="15133" y="233172"/>
                    <a:pt x="24095" y="236159"/>
                  </a:cubicBezTo>
                  <a:lnTo>
                    <a:pt x="82346" y="24064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6" name="任意多边形: 形状 10335"/>
            <p:cNvSpPr/>
            <p:nvPr/>
          </p:nvSpPr>
          <p:spPr>
            <a:xfrm>
              <a:off x="7361702" y="5734121"/>
              <a:ext cx="74682" cy="209109"/>
            </a:xfrm>
            <a:custGeom>
              <a:avLst/>
              <a:gdLst>
                <a:gd name="connsiteX0" fmla="*/ 0 w 74681"/>
                <a:gd name="connsiteY0" fmla="*/ 0 h 209108"/>
                <a:gd name="connsiteX1" fmla="*/ 82150 w 74681"/>
                <a:gd name="connsiteY1" fmla="*/ 0 h 209108"/>
                <a:gd name="connsiteX2" fmla="*/ 82150 w 74681"/>
                <a:gd name="connsiteY2" fmla="*/ 218071 h 209108"/>
                <a:gd name="connsiteX3" fmla="*/ 0 w 74681"/>
                <a:gd name="connsiteY3" fmla="*/ 218071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209108">
                  <a:moveTo>
                    <a:pt x="0" y="0"/>
                  </a:moveTo>
                  <a:lnTo>
                    <a:pt x="82150" y="0"/>
                  </a:lnTo>
                  <a:lnTo>
                    <a:pt x="82150" y="218071"/>
                  </a:lnTo>
                  <a:lnTo>
                    <a:pt x="0" y="218071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7" name="任意多边形: 形状 10336"/>
            <p:cNvSpPr/>
            <p:nvPr/>
          </p:nvSpPr>
          <p:spPr>
            <a:xfrm>
              <a:off x="7266454" y="5416321"/>
              <a:ext cx="89618" cy="164300"/>
            </a:xfrm>
            <a:custGeom>
              <a:avLst/>
              <a:gdLst>
                <a:gd name="connsiteX0" fmla="*/ 1150 w 89618"/>
                <a:gd name="connsiteY0" fmla="*/ 135577 h 164299"/>
                <a:gd name="connsiteX1" fmla="*/ 22061 w 89618"/>
                <a:gd name="connsiteY1" fmla="*/ 174411 h 164299"/>
                <a:gd name="connsiteX2" fmla="*/ 22061 w 89618"/>
                <a:gd name="connsiteY2" fmla="*/ 174411 h 164299"/>
                <a:gd name="connsiteX3" fmla="*/ 60895 w 89618"/>
                <a:gd name="connsiteY3" fmla="*/ 153500 h 164299"/>
                <a:gd name="connsiteX4" fmla="*/ 93755 w 89618"/>
                <a:gd name="connsiteY4" fmla="*/ 39984 h 164299"/>
                <a:gd name="connsiteX5" fmla="*/ 72844 w 89618"/>
                <a:gd name="connsiteY5" fmla="*/ 1149 h 164299"/>
                <a:gd name="connsiteX6" fmla="*/ 72844 w 89618"/>
                <a:gd name="connsiteY6" fmla="*/ 1149 h 164299"/>
                <a:gd name="connsiteX7" fmla="*/ 34009 w 89618"/>
                <a:gd name="connsiteY7" fmla="*/ 22060 h 164299"/>
                <a:gd name="connsiteX8" fmla="*/ 1150 w 89618"/>
                <a:gd name="connsiteY8" fmla="*/ 135577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164299">
                  <a:moveTo>
                    <a:pt x="1150" y="135577"/>
                  </a:moveTo>
                  <a:cubicBezTo>
                    <a:pt x="-3331" y="152007"/>
                    <a:pt x="5631" y="168437"/>
                    <a:pt x="22061" y="174411"/>
                  </a:cubicBezTo>
                  <a:lnTo>
                    <a:pt x="22061" y="174411"/>
                  </a:lnTo>
                  <a:cubicBezTo>
                    <a:pt x="38490" y="178892"/>
                    <a:pt x="54920" y="169930"/>
                    <a:pt x="60895" y="153500"/>
                  </a:cubicBezTo>
                  <a:lnTo>
                    <a:pt x="93755" y="39984"/>
                  </a:lnTo>
                  <a:cubicBezTo>
                    <a:pt x="98236" y="23554"/>
                    <a:pt x="89274" y="7124"/>
                    <a:pt x="72844" y="1149"/>
                  </a:cubicBezTo>
                  <a:lnTo>
                    <a:pt x="72844" y="1149"/>
                  </a:lnTo>
                  <a:cubicBezTo>
                    <a:pt x="56414" y="-3331"/>
                    <a:pt x="39984" y="5631"/>
                    <a:pt x="34009" y="22060"/>
                  </a:cubicBezTo>
                  <a:lnTo>
                    <a:pt x="1150" y="135577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8" name="任意多边形: 形状 10337"/>
            <p:cNvSpPr/>
            <p:nvPr/>
          </p:nvSpPr>
          <p:spPr>
            <a:xfrm>
              <a:off x="7276565" y="5423541"/>
              <a:ext cx="194172" cy="403281"/>
            </a:xfrm>
            <a:custGeom>
              <a:avLst/>
              <a:gdLst>
                <a:gd name="connsiteX0" fmla="*/ 0 w 194172"/>
                <a:gd name="connsiteY0" fmla="*/ 337465 h 403281"/>
                <a:gd name="connsiteX1" fmla="*/ 10455 w 194172"/>
                <a:gd name="connsiteY1" fmla="*/ 344934 h 403281"/>
                <a:gd name="connsiteX2" fmla="*/ 68707 w 194172"/>
                <a:gd name="connsiteY2" fmla="*/ 380781 h 403281"/>
                <a:gd name="connsiteX3" fmla="*/ 76175 w 194172"/>
                <a:gd name="connsiteY3" fmla="*/ 383768 h 403281"/>
                <a:gd name="connsiteX4" fmla="*/ 86631 w 194172"/>
                <a:gd name="connsiteY4" fmla="*/ 389743 h 403281"/>
                <a:gd name="connsiteX5" fmla="*/ 179236 w 194172"/>
                <a:gd name="connsiteY5" fmla="*/ 392730 h 403281"/>
                <a:gd name="connsiteX6" fmla="*/ 182223 w 194172"/>
                <a:gd name="connsiteY6" fmla="*/ 377794 h 403281"/>
                <a:gd name="connsiteX7" fmla="*/ 189692 w 194172"/>
                <a:gd name="connsiteY7" fmla="*/ 255316 h 403281"/>
                <a:gd name="connsiteX8" fmla="*/ 200147 w 194172"/>
                <a:gd name="connsiteY8" fmla="*/ 73092 h 403281"/>
                <a:gd name="connsiteX9" fmla="*/ 137414 w 194172"/>
                <a:gd name="connsiteY9" fmla="*/ 11853 h 403281"/>
                <a:gd name="connsiteX10" fmla="*/ 31366 w 194172"/>
                <a:gd name="connsiteY10" fmla="*/ 58156 h 403281"/>
                <a:gd name="connsiteX11" fmla="*/ 31366 w 194172"/>
                <a:gd name="connsiteY11" fmla="*/ 58156 h 403281"/>
                <a:gd name="connsiteX12" fmla="*/ 29873 w 194172"/>
                <a:gd name="connsiteY12" fmla="*/ 79067 h 403281"/>
                <a:gd name="connsiteX13" fmla="*/ 29873 w 194172"/>
                <a:gd name="connsiteY13" fmla="*/ 83548 h 403281"/>
                <a:gd name="connsiteX14" fmla="*/ 16430 w 194172"/>
                <a:gd name="connsiteY14" fmla="*/ 244860 h 403281"/>
                <a:gd name="connsiteX15" fmla="*/ 4481 w 194172"/>
                <a:gd name="connsiteY15" fmla="*/ 332985 h 403281"/>
                <a:gd name="connsiteX16" fmla="*/ 4481 w 194172"/>
                <a:gd name="connsiteY16" fmla="*/ 332985 h 403281"/>
                <a:gd name="connsiteX17" fmla="*/ 0 w 194172"/>
                <a:gd name="connsiteY17" fmla="*/ 337465 h 403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4172" h="403281">
                  <a:moveTo>
                    <a:pt x="0" y="337465"/>
                  </a:moveTo>
                  <a:cubicBezTo>
                    <a:pt x="0" y="337465"/>
                    <a:pt x="4481" y="340453"/>
                    <a:pt x="10455" y="344934"/>
                  </a:cubicBezTo>
                  <a:cubicBezTo>
                    <a:pt x="22405" y="353896"/>
                    <a:pt x="44809" y="367338"/>
                    <a:pt x="68707" y="380781"/>
                  </a:cubicBezTo>
                  <a:cubicBezTo>
                    <a:pt x="71694" y="382275"/>
                    <a:pt x="73188" y="383768"/>
                    <a:pt x="76175" y="383768"/>
                  </a:cubicBezTo>
                  <a:cubicBezTo>
                    <a:pt x="79163" y="385262"/>
                    <a:pt x="83643" y="386756"/>
                    <a:pt x="86631" y="389743"/>
                  </a:cubicBezTo>
                  <a:cubicBezTo>
                    <a:pt x="126959" y="409160"/>
                    <a:pt x="168781" y="419615"/>
                    <a:pt x="179236" y="392730"/>
                  </a:cubicBezTo>
                  <a:cubicBezTo>
                    <a:pt x="180730" y="388249"/>
                    <a:pt x="182223" y="383768"/>
                    <a:pt x="182223" y="377794"/>
                  </a:cubicBezTo>
                  <a:lnTo>
                    <a:pt x="189692" y="255316"/>
                  </a:lnTo>
                  <a:lnTo>
                    <a:pt x="200147" y="73092"/>
                  </a:lnTo>
                  <a:cubicBezTo>
                    <a:pt x="186704" y="49194"/>
                    <a:pt x="165793" y="28283"/>
                    <a:pt x="137414" y="11853"/>
                  </a:cubicBezTo>
                  <a:cubicBezTo>
                    <a:pt x="91112" y="-16526"/>
                    <a:pt x="43315" y="8866"/>
                    <a:pt x="31366" y="58156"/>
                  </a:cubicBezTo>
                  <a:lnTo>
                    <a:pt x="31366" y="58156"/>
                  </a:lnTo>
                  <a:cubicBezTo>
                    <a:pt x="29873" y="64131"/>
                    <a:pt x="29873" y="71599"/>
                    <a:pt x="29873" y="79067"/>
                  </a:cubicBezTo>
                  <a:lnTo>
                    <a:pt x="29873" y="83548"/>
                  </a:lnTo>
                  <a:lnTo>
                    <a:pt x="16430" y="244860"/>
                  </a:lnTo>
                  <a:cubicBezTo>
                    <a:pt x="11949" y="270252"/>
                    <a:pt x="7468" y="300125"/>
                    <a:pt x="4481" y="332985"/>
                  </a:cubicBezTo>
                  <a:cubicBezTo>
                    <a:pt x="4481" y="332985"/>
                    <a:pt x="4481" y="332985"/>
                    <a:pt x="4481" y="332985"/>
                  </a:cubicBezTo>
                  <a:cubicBezTo>
                    <a:pt x="0" y="332985"/>
                    <a:pt x="0" y="334478"/>
                    <a:pt x="0" y="337465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9" name="任意多边形: 形状 10338"/>
            <p:cNvSpPr/>
            <p:nvPr/>
          </p:nvSpPr>
          <p:spPr>
            <a:xfrm>
              <a:off x="7364816" y="6130266"/>
              <a:ext cx="74682" cy="44809"/>
            </a:xfrm>
            <a:custGeom>
              <a:avLst/>
              <a:gdLst>
                <a:gd name="connsiteX0" fmla="*/ 13316 w 74681"/>
                <a:gd name="connsiteY0" fmla="*/ 4148 h 44809"/>
                <a:gd name="connsiteX1" fmla="*/ 10329 w 74681"/>
                <a:gd name="connsiteY1" fmla="*/ 37009 h 44809"/>
                <a:gd name="connsiteX2" fmla="*/ 67087 w 74681"/>
                <a:gd name="connsiteY2" fmla="*/ 42983 h 44809"/>
                <a:gd name="connsiteX3" fmla="*/ 70074 w 74681"/>
                <a:gd name="connsiteY3" fmla="*/ 10123 h 44809"/>
                <a:gd name="connsiteX4" fmla="*/ 13316 w 74681"/>
                <a:gd name="connsiteY4" fmla="*/ 4148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13316" y="4148"/>
                  </a:moveTo>
                  <a:cubicBezTo>
                    <a:pt x="-3114" y="11617"/>
                    <a:pt x="-4608" y="26553"/>
                    <a:pt x="10329" y="37009"/>
                  </a:cubicBezTo>
                  <a:cubicBezTo>
                    <a:pt x="25265" y="47464"/>
                    <a:pt x="50657" y="50451"/>
                    <a:pt x="67087" y="42983"/>
                  </a:cubicBezTo>
                  <a:cubicBezTo>
                    <a:pt x="83517" y="35515"/>
                    <a:pt x="85010" y="20579"/>
                    <a:pt x="70074" y="10123"/>
                  </a:cubicBezTo>
                  <a:cubicBezTo>
                    <a:pt x="55138" y="-332"/>
                    <a:pt x="29746" y="-3320"/>
                    <a:pt x="13316" y="4148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0" name="任意多边形: 形状 10339"/>
            <p:cNvSpPr/>
            <p:nvPr/>
          </p:nvSpPr>
          <p:spPr>
            <a:xfrm>
              <a:off x="7360465" y="5916152"/>
              <a:ext cx="74682" cy="238981"/>
            </a:xfrm>
            <a:custGeom>
              <a:avLst/>
              <a:gdLst>
                <a:gd name="connsiteX0" fmla="*/ 84881 w 74681"/>
                <a:gd name="connsiteY0" fmla="*/ 242161 h 238981"/>
                <a:gd name="connsiteX1" fmla="*/ 84881 w 74681"/>
                <a:gd name="connsiteY1" fmla="*/ 36040 h 238981"/>
                <a:gd name="connsiteX2" fmla="*/ 68451 w 74681"/>
                <a:gd name="connsiteY2" fmla="*/ 13635 h 238981"/>
                <a:gd name="connsiteX3" fmla="*/ 34097 w 74681"/>
                <a:gd name="connsiteY3" fmla="*/ 192 h 238981"/>
                <a:gd name="connsiteX4" fmla="*/ 1237 w 74681"/>
                <a:gd name="connsiteY4" fmla="*/ 34546 h 238981"/>
                <a:gd name="connsiteX5" fmla="*/ 4225 w 74681"/>
                <a:gd name="connsiteY5" fmla="*/ 231705 h 238981"/>
                <a:gd name="connsiteX6" fmla="*/ 14680 w 74681"/>
                <a:gd name="connsiteY6" fmla="*/ 243655 h 238981"/>
                <a:gd name="connsiteX7" fmla="*/ 84881 w 74681"/>
                <a:gd name="connsiteY7" fmla="*/ 242161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238981">
                  <a:moveTo>
                    <a:pt x="84881" y="242161"/>
                  </a:moveTo>
                  <a:cubicBezTo>
                    <a:pt x="89362" y="180922"/>
                    <a:pt x="87868" y="43508"/>
                    <a:pt x="84881" y="36040"/>
                  </a:cubicBezTo>
                  <a:cubicBezTo>
                    <a:pt x="81894" y="28572"/>
                    <a:pt x="75919" y="19610"/>
                    <a:pt x="68451" y="13635"/>
                  </a:cubicBezTo>
                  <a:cubicBezTo>
                    <a:pt x="57996" y="6167"/>
                    <a:pt x="47540" y="-1301"/>
                    <a:pt x="34097" y="192"/>
                  </a:cubicBezTo>
                  <a:cubicBezTo>
                    <a:pt x="19161" y="1686"/>
                    <a:pt x="5718" y="21103"/>
                    <a:pt x="1237" y="34546"/>
                  </a:cubicBezTo>
                  <a:cubicBezTo>
                    <a:pt x="-1750" y="49482"/>
                    <a:pt x="1237" y="222744"/>
                    <a:pt x="4225" y="231705"/>
                  </a:cubicBezTo>
                  <a:cubicBezTo>
                    <a:pt x="5718" y="240667"/>
                    <a:pt x="5718" y="240667"/>
                    <a:pt x="14680" y="243655"/>
                  </a:cubicBezTo>
                  <a:lnTo>
                    <a:pt x="84881" y="242161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1" name="任意多边形: 形状 10340"/>
            <p:cNvSpPr/>
            <p:nvPr/>
          </p:nvSpPr>
          <p:spPr>
            <a:xfrm>
              <a:off x="7328842" y="5441369"/>
              <a:ext cx="44809" cy="89618"/>
            </a:xfrm>
            <a:custGeom>
              <a:avLst/>
              <a:gdLst>
                <a:gd name="connsiteX0" fmla="*/ 47796 w 44809"/>
                <a:gd name="connsiteY0" fmla="*/ 67214 h 89618"/>
                <a:gd name="connsiteX1" fmla="*/ 58252 w 44809"/>
                <a:gd name="connsiteY1" fmla="*/ 35847 h 89618"/>
                <a:gd name="connsiteX2" fmla="*/ 58252 w 44809"/>
                <a:gd name="connsiteY2" fmla="*/ 31366 h 89618"/>
                <a:gd name="connsiteX3" fmla="*/ 11949 w 44809"/>
                <a:gd name="connsiteY3" fmla="*/ 1494 h 89618"/>
                <a:gd name="connsiteX4" fmla="*/ 10455 w 44809"/>
                <a:gd name="connsiteY4" fmla="*/ 0 h 89618"/>
                <a:gd name="connsiteX5" fmla="*/ 0 w 44809"/>
                <a:gd name="connsiteY5" fmla="*/ 46303 h 89618"/>
                <a:gd name="connsiteX6" fmla="*/ 11949 w 44809"/>
                <a:gd name="connsiteY6" fmla="*/ 92606 h 89618"/>
                <a:gd name="connsiteX7" fmla="*/ 13443 w 44809"/>
                <a:gd name="connsiteY7" fmla="*/ 101567 h 89618"/>
                <a:gd name="connsiteX8" fmla="*/ 47796 w 44809"/>
                <a:gd name="connsiteY8" fmla="*/ 67214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09" h="89618">
                  <a:moveTo>
                    <a:pt x="47796" y="67214"/>
                  </a:moveTo>
                  <a:lnTo>
                    <a:pt x="58252" y="35847"/>
                  </a:lnTo>
                  <a:lnTo>
                    <a:pt x="58252" y="31366"/>
                  </a:lnTo>
                  <a:lnTo>
                    <a:pt x="11949" y="1494"/>
                  </a:lnTo>
                  <a:lnTo>
                    <a:pt x="10455" y="0"/>
                  </a:lnTo>
                  <a:cubicBezTo>
                    <a:pt x="2987" y="11949"/>
                    <a:pt x="4481" y="26885"/>
                    <a:pt x="0" y="46303"/>
                  </a:cubicBezTo>
                  <a:cubicBezTo>
                    <a:pt x="2987" y="62733"/>
                    <a:pt x="7468" y="79162"/>
                    <a:pt x="11949" y="92606"/>
                  </a:cubicBezTo>
                  <a:lnTo>
                    <a:pt x="13443" y="101567"/>
                  </a:lnTo>
                  <a:cubicBezTo>
                    <a:pt x="11949" y="104554"/>
                    <a:pt x="47796" y="67214"/>
                    <a:pt x="47796" y="67214"/>
                  </a:cubicBezTo>
                  <a:close/>
                </a:path>
              </a:pathLst>
            </a:custGeom>
            <a:solidFill>
              <a:srgbClr val="FFFF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2" name="任意多边形: 形状 10341"/>
            <p:cNvSpPr/>
            <p:nvPr/>
          </p:nvSpPr>
          <p:spPr>
            <a:xfrm>
              <a:off x="7346766" y="5454811"/>
              <a:ext cx="14936" cy="29873"/>
            </a:xfrm>
            <a:custGeom>
              <a:avLst/>
              <a:gdLst>
                <a:gd name="connsiteX0" fmla="*/ 0 w 14936"/>
                <a:gd name="connsiteY0" fmla="*/ 23898 h 29872"/>
                <a:gd name="connsiteX1" fmla="*/ 10455 w 14936"/>
                <a:gd name="connsiteY1" fmla="*/ 29873 h 29872"/>
                <a:gd name="connsiteX2" fmla="*/ 17924 w 14936"/>
                <a:gd name="connsiteY2" fmla="*/ 7468 h 29872"/>
                <a:gd name="connsiteX3" fmla="*/ 0 w 14936"/>
                <a:gd name="connsiteY3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29872">
                  <a:moveTo>
                    <a:pt x="0" y="23898"/>
                  </a:moveTo>
                  <a:lnTo>
                    <a:pt x="10455" y="29873"/>
                  </a:lnTo>
                  <a:lnTo>
                    <a:pt x="17924" y="74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162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3" name="任意多边形: 形状 10342"/>
            <p:cNvSpPr/>
            <p:nvPr/>
          </p:nvSpPr>
          <p:spPr>
            <a:xfrm>
              <a:off x="7336823" y="5418404"/>
              <a:ext cx="74682" cy="74682"/>
            </a:xfrm>
            <a:custGeom>
              <a:avLst/>
              <a:gdLst>
                <a:gd name="connsiteX0" fmla="*/ 72675 w 74681"/>
                <a:gd name="connsiteY0" fmla="*/ 3548 h 74681"/>
                <a:gd name="connsiteX1" fmla="*/ 86118 w 74681"/>
                <a:gd name="connsiteY1" fmla="*/ 22965 h 74681"/>
                <a:gd name="connsiteX2" fmla="*/ 86118 w 74681"/>
                <a:gd name="connsiteY2" fmla="*/ 31927 h 74681"/>
                <a:gd name="connsiteX3" fmla="*/ 71182 w 74681"/>
                <a:gd name="connsiteY3" fmla="*/ 52837 h 74681"/>
                <a:gd name="connsiteX4" fmla="*/ 35335 w 74681"/>
                <a:gd name="connsiteY4" fmla="*/ 78229 h 74681"/>
                <a:gd name="connsiteX5" fmla="*/ 20398 w 74681"/>
                <a:gd name="connsiteY5" fmla="*/ 42382 h 74681"/>
                <a:gd name="connsiteX6" fmla="*/ 981 w 74681"/>
                <a:gd name="connsiteY6" fmla="*/ 58812 h 74681"/>
                <a:gd name="connsiteX7" fmla="*/ 2475 w 74681"/>
                <a:gd name="connsiteY7" fmla="*/ 28939 h 74681"/>
                <a:gd name="connsiteX8" fmla="*/ 18905 w 74681"/>
                <a:gd name="connsiteY8" fmla="*/ 5041 h 74681"/>
                <a:gd name="connsiteX9" fmla="*/ 44297 w 74681"/>
                <a:gd name="connsiteY9" fmla="*/ 560 h 74681"/>
                <a:gd name="connsiteX10" fmla="*/ 69688 w 74681"/>
                <a:gd name="connsiteY10" fmla="*/ 6535 h 74681"/>
                <a:gd name="connsiteX11" fmla="*/ 72675 w 74681"/>
                <a:gd name="connsiteY11" fmla="*/ 3548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74681">
                  <a:moveTo>
                    <a:pt x="72675" y="3548"/>
                  </a:moveTo>
                  <a:cubicBezTo>
                    <a:pt x="75663" y="9522"/>
                    <a:pt x="83131" y="18484"/>
                    <a:pt x="86118" y="22965"/>
                  </a:cubicBezTo>
                  <a:cubicBezTo>
                    <a:pt x="87612" y="25952"/>
                    <a:pt x="87612" y="28939"/>
                    <a:pt x="86118" y="31927"/>
                  </a:cubicBezTo>
                  <a:cubicBezTo>
                    <a:pt x="83131" y="40888"/>
                    <a:pt x="78650" y="46863"/>
                    <a:pt x="71182" y="52837"/>
                  </a:cubicBezTo>
                  <a:cubicBezTo>
                    <a:pt x="59233" y="61799"/>
                    <a:pt x="47284" y="69267"/>
                    <a:pt x="35335" y="78229"/>
                  </a:cubicBezTo>
                  <a:cubicBezTo>
                    <a:pt x="29360" y="66280"/>
                    <a:pt x="24879" y="55825"/>
                    <a:pt x="20398" y="42382"/>
                  </a:cubicBezTo>
                  <a:cubicBezTo>
                    <a:pt x="14424" y="48357"/>
                    <a:pt x="6956" y="52837"/>
                    <a:pt x="981" y="58812"/>
                  </a:cubicBezTo>
                  <a:cubicBezTo>
                    <a:pt x="-513" y="48357"/>
                    <a:pt x="-513" y="37901"/>
                    <a:pt x="2475" y="28939"/>
                  </a:cubicBezTo>
                  <a:cubicBezTo>
                    <a:pt x="5462" y="18484"/>
                    <a:pt x="9943" y="9522"/>
                    <a:pt x="18905" y="5041"/>
                  </a:cubicBezTo>
                  <a:cubicBezTo>
                    <a:pt x="26373" y="560"/>
                    <a:pt x="35335" y="-934"/>
                    <a:pt x="44297" y="560"/>
                  </a:cubicBezTo>
                  <a:cubicBezTo>
                    <a:pt x="53258" y="2054"/>
                    <a:pt x="62220" y="3548"/>
                    <a:pt x="69688" y="6535"/>
                  </a:cubicBezTo>
                  <a:cubicBezTo>
                    <a:pt x="71182" y="5041"/>
                    <a:pt x="71182" y="560"/>
                    <a:pt x="72675" y="3548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4" name="任意多边形: 形状 10343"/>
            <p:cNvSpPr/>
            <p:nvPr/>
          </p:nvSpPr>
          <p:spPr>
            <a:xfrm>
              <a:off x="7334817" y="5478710"/>
              <a:ext cx="14936" cy="74682"/>
            </a:xfrm>
            <a:custGeom>
              <a:avLst/>
              <a:gdLst>
                <a:gd name="connsiteX0" fmla="*/ 4481 w 14936"/>
                <a:gd name="connsiteY0" fmla="*/ 71694 h 74681"/>
                <a:gd name="connsiteX1" fmla="*/ 2987 w 14936"/>
                <a:gd name="connsiteY1" fmla="*/ 74682 h 74681"/>
                <a:gd name="connsiteX2" fmla="*/ 10455 w 14936"/>
                <a:gd name="connsiteY2" fmla="*/ 80656 h 74681"/>
                <a:gd name="connsiteX3" fmla="*/ 20911 w 14936"/>
                <a:gd name="connsiteY3" fmla="*/ 70201 h 74681"/>
                <a:gd name="connsiteX4" fmla="*/ 20911 w 14936"/>
                <a:gd name="connsiteY4" fmla="*/ 41822 h 74681"/>
                <a:gd name="connsiteX5" fmla="*/ 20911 w 14936"/>
                <a:gd name="connsiteY5" fmla="*/ 5974 h 74681"/>
                <a:gd name="connsiteX6" fmla="*/ 10455 w 14936"/>
                <a:gd name="connsiteY6" fmla="*/ 0 h 74681"/>
                <a:gd name="connsiteX7" fmla="*/ 4481 w 14936"/>
                <a:gd name="connsiteY7" fmla="*/ 40328 h 74681"/>
                <a:gd name="connsiteX8" fmla="*/ 0 w 14936"/>
                <a:gd name="connsiteY8" fmla="*/ 62733 h 74681"/>
                <a:gd name="connsiteX9" fmla="*/ 4481 w 14936"/>
                <a:gd name="connsiteY9" fmla="*/ 71694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74681">
                  <a:moveTo>
                    <a:pt x="4481" y="71694"/>
                  </a:moveTo>
                  <a:cubicBezTo>
                    <a:pt x="4481" y="73188"/>
                    <a:pt x="2987" y="73188"/>
                    <a:pt x="2987" y="74682"/>
                  </a:cubicBezTo>
                  <a:lnTo>
                    <a:pt x="10455" y="80656"/>
                  </a:lnTo>
                  <a:lnTo>
                    <a:pt x="20911" y="70201"/>
                  </a:lnTo>
                  <a:lnTo>
                    <a:pt x="20911" y="41822"/>
                  </a:lnTo>
                  <a:lnTo>
                    <a:pt x="20911" y="5974"/>
                  </a:lnTo>
                  <a:lnTo>
                    <a:pt x="10455" y="0"/>
                  </a:lnTo>
                  <a:lnTo>
                    <a:pt x="4481" y="40328"/>
                  </a:lnTo>
                  <a:lnTo>
                    <a:pt x="0" y="62733"/>
                  </a:lnTo>
                  <a:lnTo>
                    <a:pt x="4481" y="71694"/>
                  </a:lnTo>
                  <a:close/>
                </a:path>
              </a:pathLst>
            </a:custGeom>
            <a:solidFill>
              <a:srgbClr val="99121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5" name="任意多边形: 形状 10344"/>
            <p:cNvSpPr/>
            <p:nvPr/>
          </p:nvSpPr>
          <p:spPr>
            <a:xfrm>
              <a:off x="7412486" y="5426432"/>
              <a:ext cx="14936" cy="14936"/>
            </a:xfrm>
            <a:custGeom>
              <a:avLst/>
              <a:gdLst>
                <a:gd name="connsiteX0" fmla="*/ 0 w 0"/>
                <a:gd name="connsiteY0" fmla="*/ 0 h 0"/>
                <a:gd name="connsiteX1" fmla="*/ 1494 w 0"/>
                <a:gd name="connsiteY1" fmla="*/ 1494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1494" y="1494"/>
                  </a:lnTo>
                  <a:cubicBezTo>
                    <a:pt x="1494" y="149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6" name="任意多边形: 形状 10345"/>
            <p:cNvSpPr/>
            <p:nvPr/>
          </p:nvSpPr>
          <p:spPr>
            <a:xfrm>
              <a:off x="7328842" y="5426432"/>
              <a:ext cx="89618" cy="149363"/>
            </a:xfrm>
            <a:custGeom>
              <a:avLst/>
              <a:gdLst>
                <a:gd name="connsiteX0" fmla="*/ 0 w 89618"/>
                <a:gd name="connsiteY0" fmla="*/ 149363 h 149363"/>
                <a:gd name="connsiteX1" fmla="*/ 16430 w 89618"/>
                <a:gd name="connsiteY1" fmla="*/ 131440 h 149363"/>
                <a:gd name="connsiteX2" fmla="*/ 26885 w 89618"/>
                <a:gd name="connsiteY2" fmla="*/ 120984 h 149363"/>
                <a:gd name="connsiteX3" fmla="*/ 55264 w 89618"/>
                <a:gd name="connsiteY3" fmla="*/ 91112 h 149363"/>
                <a:gd name="connsiteX4" fmla="*/ 74682 w 89618"/>
                <a:gd name="connsiteY4" fmla="*/ 71694 h 149363"/>
                <a:gd name="connsiteX5" fmla="*/ 67214 w 89618"/>
                <a:gd name="connsiteY5" fmla="*/ 56758 h 149363"/>
                <a:gd name="connsiteX6" fmla="*/ 79163 w 89618"/>
                <a:gd name="connsiteY6" fmla="*/ 65720 h 149363"/>
                <a:gd name="connsiteX7" fmla="*/ 95593 w 89618"/>
                <a:gd name="connsiteY7" fmla="*/ 13443 h 149363"/>
                <a:gd name="connsiteX8" fmla="*/ 85137 w 89618"/>
                <a:gd name="connsiteY8" fmla="*/ 0 h 149363"/>
                <a:gd name="connsiteX9" fmla="*/ 64226 w 89618"/>
                <a:gd name="connsiteY9" fmla="*/ 43315 h 149363"/>
                <a:gd name="connsiteX10" fmla="*/ 56758 w 89618"/>
                <a:gd name="connsiteY10" fmla="*/ 49290 h 149363"/>
                <a:gd name="connsiteX11" fmla="*/ 28379 w 89618"/>
                <a:gd name="connsiteY11" fmla="*/ 88124 h 149363"/>
                <a:gd name="connsiteX12" fmla="*/ 25392 w 89618"/>
                <a:gd name="connsiteY12" fmla="*/ 91112 h 149363"/>
                <a:gd name="connsiteX13" fmla="*/ 10455 w 89618"/>
                <a:gd name="connsiteY13" fmla="*/ 117997 h 149363"/>
                <a:gd name="connsiteX14" fmla="*/ 8962 w 89618"/>
                <a:gd name="connsiteY14" fmla="*/ 122478 h 149363"/>
                <a:gd name="connsiteX15" fmla="*/ 7468 w 89618"/>
                <a:gd name="connsiteY15" fmla="*/ 125465 h 149363"/>
                <a:gd name="connsiteX16" fmla="*/ 0 w 89618"/>
                <a:gd name="connsiteY16" fmla="*/ 149363 h 14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9618" h="149363">
                  <a:moveTo>
                    <a:pt x="0" y="149363"/>
                  </a:moveTo>
                  <a:lnTo>
                    <a:pt x="16430" y="131440"/>
                  </a:lnTo>
                  <a:lnTo>
                    <a:pt x="26885" y="120984"/>
                  </a:lnTo>
                  <a:lnTo>
                    <a:pt x="55264" y="91112"/>
                  </a:lnTo>
                  <a:lnTo>
                    <a:pt x="74682" y="71694"/>
                  </a:lnTo>
                  <a:lnTo>
                    <a:pt x="67214" y="56758"/>
                  </a:lnTo>
                  <a:lnTo>
                    <a:pt x="79163" y="65720"/>
                  </a:lnTo>
                  <a:cubicBezTo>
                    <a:pt x="98580" y="44809"/>
                    <a:pt x="107542" y="25392"/>
                    <a:pt x="95593" y="13443"/>
                  </a:cubicBezTo>
                  <a:lnTo>
                    <a:pt x="85137" y="0"/>
                  </a:lnTo>
                  <a:cubicBezTo>
                    <a:pt x="88124" y="4481"/>
                    <a:pt x="95593" y="19417"/>
                    <a:pt x="64226" y="43315"/>
                  </a:cubicBezTo>
                  <a:cubicBezTo>
                    <a:pt x="61239" y="44809"/>
                    <a:pt x="59745" y="47796"/>
                    <a:pt x="56758" y="49290"/>
                  </a:cubicBezTo>
                  <a:cubicBezTo>
                    <a:pt x="47796" y="58252"/>
                    <a:pt x="41822" y="68707"/>
                    <a:pt x="28379" y="88124"/>
                  </a:cubicBezTo>
                  <a:cubicBezTo>
                    <a:pt x="26885" y="89618"/>
                    <a:pt x="26885" y="91112"/>
                    <a:pt x="25392" y="91112"/>
                  </a:cubicBezTo>
                  <a:cubicBezTo>
                    <a:pt x="19417" y="100074"/>
                    <a:pt x="14936" y="109035"/>
                    <a:pt x="10455" y="117997"/>
                  </a:cubicBezTo>
                  <a:cubicBezTo>
                    <a:pt x="10455" y="119491"/>
                    <a:pt x="8962" y="120984"/>
                    <a:pt x="8962" y="122478"/>
                  </a:cubicBezTo>
                  <a:cubicBezTo>
                    <a:pt x="8962" y="123971"/>
                    <a:pt x="7468" y="123971"/>
                    <a:pt x="7468" y="125465"/>
                  </a:cubicBezTo>
                  <a:cubicBezTo>
                    <a:pt x="2987" y="138908"/>
                    <a:pt x="0" y="149363"/>
                    <a:pt x="0" y="149363"/>
                  </a:cubicBez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7" name="任意多边形: 形状 10346"/>
            <p:cNvSpPr/>
            <p:nvPr/>
          </p:nvSpPr>
          <p:spPr>
            <a:xfrm>
              <a:off x="7316893" y="5429420"/>
              <a:ext cx="14936" cy="119491"/>
            </a:xfrm>
            <a:custGeom>
              <a:avLst/>
              <a:gdLst>
                <a:gd name="connsiteX0" fmla="*/ 0 w 14936"/>
                <a:gd name="connsiteY0" fmla="*/ 23898 h 119490"/>
                <a:gd name="connsiteX1" fmla="*/ 5974 w 14936"/>
                <a:gd name="connsiteY1" fmla="*/ 61239 h 119490"/>
                <a:gd name="connsiteX2" fmla="*/ 17924 w 14936"/>
                <a:gd name="connsiteY2" fmla="*/ 112023 h 119490"/>
                <a:gd name="connsiteX3" fmla="*/ 20911 w 14936"/>
                <a:gd name="connsiteY3" fmla="*/ 120984 h 119490"/>
                <a:gd name="connsiteX4" fmla="*/ 23898 w 14936"/>
                <a:gd name="connsiteY4" fmla="*/ 126959 h 119490"/>
                <a:gd name="connsiteX5" fmla="*/ 23898 w 14936"/>
                <a:gd name="connsiteY5" fmla="*/ 117997 h 119490"/>
                <a:gd name="connsiteX6" fmla="*/ 22405 w 14936"/>
                <a:gd name="connsiteY6" fmla="*/ 89618 h 119490"/>
                <a:gd name="connsiteX7" fmla="*/ 22405 w 14936"/>
                <a:gd name="connsiteY7" fmla="*/ 14936 h 119490"/>
                <a:gd name="connsiteX8" fmla="*/ 23898 w 14936"/>
                <a:gd name="connsiteY8" fmla="*/ 2987 h 119490"/>
                <a:gd name="connsiteX9" fmla="*/ 17924 w 14936"/>
                <a:gd name="connsiteY9" fmla="*/ 0 h 119490"/>
                <a:gd name="connsiteX10" fmla="*/ 2987 w 14936"/>
                <a:gd name="connsiteY10" fmla="*/ 17923 h 119490"/>
                <a:gd name="connsiteX11" fmla="*/ 14936 w 14936"/>
                <a:gd name="connsiteY11" fmla="*/ 22405 h 119490"/>
                <a:gd name="connsiteX12" fmla="*/ 0 w 14936"/>
                <a:gd name="connsiteY12" fmla="*/ 23898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936" h="119490">
                  <a:moveTo>
                    <a:pt x="0" y="23898"/>
                  </a:moveTo>
                  <a:cubicBezTo>
                    <a:pt x="0" y="23898"/>
                    <a:pt x="2987" y="40328"/>
                    <a:pt x="5974" y="61239"/>
                  </a:cubicBezTo>
                  <a:cubicBezTo>
                    <a:pt x="8962" y="77669"/>
                    <a:pt x="13443" y="97086"/>
                    <a:pt x="17924" y="112023"/>
                  </a:cubicBezTo>
                  <a:lnTo>
                    <a:pt x="20911" y="120984"/>
                  </a:lnTo>
                  <a:cubicBezTo>
                    <a:pt x="22405" y="122478"/>
                    <a:pt x="22405" y="125465"/>
                    <a:pt x="23898" y="126959"/>
                  </a:cubicBezTo>
                  <a:cubicBezTo>
                    <a:pt x="23898" y="123971"/>
                    <a:pt x="23898" y="120984"/>
                    <a:pt x="23898" y="117997"/>
                  </a:cubicBezTo>
                  <a:cubicBezTo>
                    <a:pt x="23898" y="109035"/>
                    <a:pt x="22405" y="100073"/>
                    <a:pt x="22405" y="89618"/>
                  </a:cubicBezTo>
                  <a:cubicBezTo>
                    <a:pt x="20911" y="61239"/>
                    <a:pt x="20911" y="32860"/>
                    <a:pt x="22405" y="14936"/>
                  </a:cubicBezTo>
                  <a:cubicBezTo>
                    <a:pt x="22405" y="10455"/>
                    <a:pt x="23898" y="5974"/>
                    <a:pt x="23898" y="2987"/>
                  </a:cubicBezTo>
                  <a:lnTo>
                    <a:pt x="17924" y="0"/>
                  </a:lnTo>
                  <a:lnTo>
                    <a:pt x="2987" y="17923"/>
                  </a:lnTo>
                  <a:lnTo>
                    <a:pt x="14936" y="22405"/>
                  </a:lnTo>
                  <a:cubicBezTo>
                    <a:pt x="13443" y="22405"/>
                    <a:pt x="0" y="23898"/>
                    <a:pt x="0" y="23898"/>
                  </a:cubicBez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8" name="任意多边形: 形状 10347"/>
            <p:cNvSpPr/>
            <p:nvPr/>
          </p:nvSpPr>
          <p:spPr>
            <a:xfrm>
              <a:off x="7282540" y="5765487"/>
              <a:ext cx="149363" cy="119491"/>
            </a:xfrm>
            <a:custGeom>
              <a:avLst/>
              <a:gdLst>
                <a:gd name="connsiteX0" fmla="*/ 0 w 149363"/>
                <a:gd name="connsiteY0" fmla="*/ 23898 h 119490"/>
                <a:gd name="connsiteX1" fmla="*/ 2987 w 149363"/>
                <a:gd name="connsiteY1" fmla="*/ 0 h 119490"/>
                <a:gd name="connsiteX2" fmla="*/ 62733 w 149363"/>
                <a:gd name="connsiteY2" fmla="*/ 35847 h 119490"/>
                <a:gd name="connsiteX3" fmla="*/ 70201 w 149363"/>
                <a:gd name="connsiteY3" fmla="*/ 40328 h 119490"/>
                <a:gd name="connsiteX4" fmla="*/ 71694 w 149363"/>
                <a:gd name="connsiteY4" fmla="*/ 40328 h 119490"/>
                <a:gd name="connsiteX5" fmla="*/ 79163 w 149363"/>
                <a:gd name="connsiteY5" fmla="*/ 43315 h 119490"/>
                <a:gd name="connsiteX6" fmla="*/ 79163 w 149363"/>
                <a:gd name="connsiteY6" fmla="*/ 43315 h 119490"/>
                <a:gd name="connsiteX7" fmla="*/ 79163 w 149363"/>
                <a:gd name="connsiteY7" fmla="*/ 43315 h 119490"/>
                <a:gd name="connsiteX8" fmla="*/ 161313 w 149363"/>
                <a:gd name="connsiteY8" fmla="*/ 58252 h 119490"/>
                <a:gd name="connsiteX9" fmla="*/ 161313 w 149363"/>
                <a:gd name="connsiteY9" fmla="*/ 89618 h 119490"/>
                <a:gd name="connsiteX10" fmla="*/ 132934 w 149363"/>
                <a:gd name="connsiteY10" fmla="*/ 89618 h 119490"/>
                <a:gd name="connsiteX11" fmla="*/ 91112 w 149363"/>
                <a:gd name="connsiteY11" fmla="*/ 74682 h 119490"/>
                <a:gd name="connsiteX12" fmla="*/ 79163 w 149363"/>
                <a:gd name="connsiteY12" fmla="*/ 68707 h 119490"/>
                <a:gd name="connsiteX13" fmla="*/ 79163 w 149363"/>
                <a:gd name="connsiteY13" fmla="*/ 47796 h 119490"/>
                <a:gd name="connsiteX14" fmla="*/ 76175 w 149363"/>
                <a:gd name="connsiteY14" fmla="*/ 67214 h 119490"/>
                <a:gd name="connsiteX15" fmla="*/ 76175 w 149363"/>
                <a:gd name="connsiteY15" fmla="*/ 67214 h 119490"/>
                <a:gd name="connsiteX16" fmla="*/ 68707 w 149363"/>
                <a:gd name="connsiteY16" fmla="*/ 120984 h 119490"/>
                <a:gd name="connsiteX17" fmla="*/ 64226 w 149363"/>
                <a:gd name="connsiteY17" fmla="*/ 62732 h 119490"/>
                <a:gd name="connsiteX18" fmla="*/ 64226 w 149363"/>
                <a:gd name="connsiteY18" fmla="*/ 61239 h 119490"/>
                <a:gd name="connsiteX19" fmla="*/ 1494 w 149363"/>
                <a:gd name="connsiteY19" fmla="*/ 23898 h 119490"/>
                <a:gd name="connsiteX20" fmla="*/ 0 w 149363"/>
                <a:gd name="connsiteY20" fmla="*/ 23898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9363" h="119490">
                  <a:moveTo>
                    <a:pt x="0" y="23898"/>
                  </a:moveTo>
                  <a:lnTo>
                    <a:pt x="2987" y="0"/>
                  </a:lnTo>
                  <a:cubicBezTo>
                    <a:pt x="14936" y="7468"/>
                    <a:pt x="37341" y="22405"/>
                    <a:pt x="62733" y="35847"/>
                  </a:cubicBezTo>
                  <a:cubicBezTo>
                    <a:pt x="65720" y="37341"/>
                    <a:pt x="68707" y="38834"/>
                    <a:pt x="70201" y="40328"/>
                  </a:cubicBezTo>
                  <a:cubicBezTo>
                    <a:pt x="70201" y="40328"/>
                    <a:pt x="70201" y="40328"/>
                    <a:pt x="71694" y="40328"/>
                  </a:cubicBezTo>
                  <a:cubicBezTo>
                    <a:pt x="74682" y="41822"/>
                    <a:pt x="76175" y="43315"/>
                    <a:pt x="79163" y="43315"/>
                  </a:cubicBezTo>
                  <a:cubicBezTo>
                    <a:pt x="79163" y="43315"/>
                    <a:pt x="79163" y="43315"/>
                    <a:pt x="79163" y="43315"/>
                  </a:cubicBezTo>
                  <a:cubicBezTo>
                    <a:pt x="79163" y="43315"/>
                    <a:pt x="79163" y="43315"/>
                    <a:pt x="79163" y="43315"/>
                  </a:cubicBezTo>
                  <a:cubicBezTo>
                    <a:pt x="110529" y="58252"/>
                    <a:pt x="143389" y="68707"/>
                    <a:pt x="161313" y="58252"/>
                  </a:cubicBezTo>
                  <a:lnTo>
                    <a:pt x="161313" y="89618"/>
                  </a:lnTo>
                  <a:cubicBezTo>
                    <a:pt x="152351" y="91111"/>
                    <a:pt x="141895" y="91111"/>
                    <a:pt x="132934" y="89618"/>
                  </a:cubicBezTo>
                  <a:cubicBezTo>
                    <a:pt x="117997" y="86631"/>
                    <a:pt x="104554" y="80656"/>
                    <a:pt x="91112" y="74682"/>
                  </a:cubicBezTo>
                  <a:cubicBezTo>
                    <a:pt x="86631" y="73188"/>
                    <a:pt x="82150" y="70201"/>
                    <a:pt x="79163" y="68707"/>
                  </a:cubicBezTo>
                  <a:lnTo>
                    <a:pt x="79163" y="47796"/>
                  </a:lnTo>
                  <a:lnTo>
                    <a:pt x="76175" y="67214"/>
                  </a:lnTo>
                  <a:lnTo>
                    <a:pt x="76175" y="67214"/>
                  </a:lnTo>
                  <a:lnTo>
                    <a:pt x="68707" y="120984"/>
                  </a:lnTo>
                  <a:cubicBezTo>
                    <a:pt x="67214" y="101567"/>
                    <a:pt x="65720" y="82150"/>
                    <a:pt x="64226" y="62732"/>
                  </a:cubicBezTo>
                  <a:cubicBezTo>
                    <a:pt x="64226" y="62732"/>
                    <a:pt x="64226" y="61239"/>
                    <a:pt x="64226" y="61239"/>
                  </a:cubicBezTo>
                  <a:cubicBezTo>
                    <a:pt x="43316" y="49290"/>
                    <a:pt x="22405" y="37341"/>
                    <a:pt x="1494" y="23898"/>
                  </a:cubicBezTo>
                  <a:cubicBezTo>
                    <a:pt x="1494" y="25392"/>
                    <a:pt x="0" y="25392"/>
                    <a:pt x="0" y="23898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9" name="任意多边形: 形状 10348"/>
            <p:cNvSpPr/>
            <p:nvPr/>
          </p:nvSpPr>
          <p:spPr>
            <a:xfrm>
              <a:off x="7351247" y="5519038"/>
              <a:ext cx="104554" cy="298727"/>
            </a:xfrm>
            <a:custGeom>
              <a:avLst/>
              <a:gdLst>
                <a:gd name="connsiteX0" fmla="*/ 0 w 104554"/>
                <a:gd name="connsiteY0" fmla="*/ 286778 h 298726"/>
                <a:gd name="connsiteX1" fmla="*/ 10455 w 104554"/>
                <a:gd name="connsiteY1" fmla="*/ 292752 h 298726"/>
                <a:gd name="connsiteX2" fmla="*/ 103061 w 104554"/>
                <a:gd name="connsiteY2" fmla="*/ 295739 h 298726"/>
                <a:gd name="connsiteX3" fmla="*/ 106048 w 104554"/>
                <a:gd name="connsiteY3" fmla="*/ 280803 h 298726"/>
                <a:gd name="connsiteX4" fmla="*/ 113516 w 104554"/>
                <a:gd name="connsiteY4" fmla="*/ 158325 h 298726"/>
                <a:gd name="connsiteX5" fmla="*/ 77669 w 104554"/>
                <a:gd name="connsiteY5" fmla="*/ 0 h 298726"/>
                <a:gd name="connsiteX6" fmla="*/ 76175 w 104554"/>
                <a:gd name="connsiteY6" fmla="*/ 59745 h 298726"/>
                <a:gd name="connsiteX7" fmla="*/ 62733 w 104554"/>
                <a:gd name="connsiteY7" fmla="*/ 197159 h 298726"/>
                <a:gd name="connsiteX8" fmla="*/ 56758 w 104554"/>
                <a:gd name="connsiteY8" fmla="*/ 219564 h 298726"/>
                <a:gd name="connsiteX9" fmla="*/ 13443 w 104554"/>
                <a:gd name="connsiteY9" fmla="*/ 276322 h 298726"/>
                <a:gd name="connsiteX10" fmla="*/ 0 w 104554"/>
                <a:gd name="connsiteY10" fmla="*/ 286778 h 298726"/>
                <a:gd name="connsiteX11" fmla="*/ 0 w 104554"/>
                <a:gd name="connsiteY11" fmla="*/ 286778 h 29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554" h="298726">
                  <a:moveTo>
                    <a:pt x="0" y="286778"/>
                  </a:moveTo>
                  <a:cubicBezTo>
                    <a:pt x="2987" y="288271"/>
                    <a:pt x="7468" y="289765"/>
                    <a:pt x="10455" y="292752"/>
                  </a:cubicBezTo>
                  <a:cubicBezTo>
                    <a:pt x="50783" y="312169"/>
                    <a:pt x="92605" y="322625"/>
                    <a:pt x="103061" y="295739"/>
                  </a:cubicBezTo>
                  <a:cubicBezTo>
                    <a:pt x="104554" y="291259"/>
                    <a:pt x="106048" y="286778"/>
                    <a:pt x="106048" y="280803"/>
                  </a:cubicBezTo>
                  <a:lnTo>
                    <a:pt x="113516" y="158325"/>
                  </a:lnTo>
                  <a:cubicBezTo>
                    <a:pt x="107542" y="104554"/>
                    <a:pt x="94099" y="52277"/>
                    <a:pt x="77669" y="0"/>
                  </a:cubicBezTo>
                  <a:cubicBezTo>
                    <a:pt x="74682" y="19417"/>
                    <a:pt x="76175" y="40328"/>
                    <a:pt x="76175" y="59745"/>
                  </a:cubicBezTo>
                  <a:cubicBezTo>
                    <a:pt x="76175" y="106048"/>
                    <a:pt x="71694" y="152350"/>
                    <a:pt x="62733" y="197159"/>
                  </a:cubicBezTo>
                  <a:cubicBezTo>
                    <a:pt x="61239" y="204628"/>
                    <a:pt x="59745" y="212096"/>
                    <a:pt x="56758" y="219564"/>
                  </a:cubicBezTo>
                  <a:cubicBezTo>
                    <a:pt x="49290" y="241968"/>
                    <a:pt x="32860" y="262879"/>
                    <a:pt x="13443" y="276322"/>
                  </a:cubicBezTo>
                  <a:cubicBezTo>
                    <a:pt x="8962" y="279309"/>
                    <a:pt x="4481" y="282297"/>
                    <a:pt x="0" y="286778"/>
                  </a:cubicBezTo>
                  <a:cubicBezTo>
                    <a:pt x="1493" y="286778"/>
                    <a:pt x="1493" y="286778"/>
                    <a:pt x="0" y="286778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0" name="任意多边形: 形状 10349"/>
            <p:cNvSpPr/>
            <p:nvPr/>
          </p:nvSpPr>
          <p:spPr>
            <a:xfrm>
              <a:off x="7422482" y="5485719"/>
              <a:ext cx="74682" cy="164300"/>
            </a:xfrm>
            <a:custGeom>
              <a:avLst/>
              <a:gdLst>
                <a:gd name="connsiteX0" fmla="*/ 18383 w 74681"/>
                <a:gd name="connsiteY0" fmla="*/ 152810 h 164299"/>
                <a:gd name="connsiteX1" fmla="*/ 54230 w 74681"/>
                <a:gd name="connsiteY1" fmla="*/ 178202 h 164299"/>
                <a:gd name="connsiteX2" fmla="*/ 54230 w 74681"/>
                <a:gd name="connsiteY2" fmla="*/ 178202 h 164299"/>
                <a:gd name="connsiteX3" fmla="*/ 79622 w 74681"/>
                <a:gd name="connsiteY3" fmla="*/ 142354 h 164299"/>
                <a:gd name="connsiteX4" fmla="*/ 61698 w 74681"/>
                <a:gd name="connsiteY4" fmla="*/ 25851 h 164299"/>
                <a:gd name="connsiteX5" fmla="*/ 25851 w 74681"/>
                <a:gd name="connsiteY5" fmla="*/ 459 h 164299"/>
                <a:gd name="connsiteX6" fmla="*/ 25851 w 74681"/>
                <a:gd name="connsiteY6" fmla="*/ 459 h 164299"/>
                <a:gd name="connsiteX7" fmla="*/ 459 w 74681"/>
                <a:gd name="connsiteY7" fmla="*/ 36306 h 164299"/>
                <a:gd name="connsiteX8" fmla="*/ 18383 w 74681"/>
                <a:gd name="connsiteY8" fmla="*/ 152810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681" h="164299">
                  <a:moveTo>
                    <a:pt x="18383" y="152810"/>
                  </a:moveTo>
                  <a:cubicBezTo>
                    <a:pt x="21370" y="169240"/>
                    <a:pt x="36306" y="181189"/>
                    <a:pt x="54230" y="178202"/>
                  </a:cubicBezTo>
                  <a:lnTo>
                    <a:pt x="54230" y="178202"/>
                  </a:lnTo>
                  <a:cubicBezTo>
                    <a:pt x="70660" y="175215"/>
                    <a:pt x="82609" y="160278"/>
                    <a:pt x="79622" y="142354"/>
                  </a:cubicBezTo>
                  <a:lnTo>
                    <a:pt x="61698" y="25851"/>
                  </a:lnTo>
                  <a:cubicBezTo>
                    <a:pt x="58711" y="9421"/>
                    <a:pt x="43774" y="-2528"/>
                    <a:pt x="25851" y="459"/>
                  </a:cubicBezTo>
                  <a:lnTo>
                    <a:pt x="25851" y="459"/>
                  </a:lnTo>
                  <a:cubicBezTo>
                    <a:pt x="9421" y="3447"/>
                    <a:pt x="-2528" y="18383"/>
                    <a:pt x="459" y="36306"/>
                  </a:cubicBezTo>
                  <a:lnTo>
                    <a:pt x="18383" y="15281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1" name="任意多边形: 形状 10350"/>
            <p:cNvSpPr/>
            <p:nvPr/>
          </p:nvSpPr>
          <p:spPr>
            <a:xfrm>
              <a:off x="7276565" y="5504051"/>
              <a:ext cx="14936" cy="253918"/>
            </a:xfrm>
            <a:custGeom>
              <a:avLst/>
              <a:gdLst>
                <a:gd name="connsiteX0" fmla="*/ 0 w 14936"/>
                <a:gd name="connsiteY0" fmla="*/ 256956 h 253917"/>
                <a:gd name="connsiteX1" fmla="*/ 10455 w 14936"/>
                <a:gd name="connsiteY1" fmla="*/ 264424 h 253917"/>
                <a:gd name="connsiteX2" fmla="*/ 11949 w 14936"/>
                <a:gd name="connsiteY2" fmla="*/ 261437 h 253917"/>
                <a:gd name="connsiteX3" fmla="*/ 25392 w 14936"/>
                <a:gd name="connsiteY3" fmla="*/ 174806 h 253917"/>
                <a:gd name="connsiteX4" fmla="*/ 28379 w 14936"/>
                <a:gd name="connsiteY4" fmla="*/ 138959 h 253917"/>
                <a:gd name="connsiteX5" fmla="*/ 26885 w 14936"/>
                <a:gd name="connsiteY5" fmla="*/ 51 h 253917"/>
                <a:gd name="connsiteX6" fmla="*/ 13443 w 14936"/>
                <a:gd name="connsiteY6" fmla="*/ 161363 h 253917"/>
                <a:gd name="connsiteX7" fmla="*/ 1493 w 14936"/>
                <a:gd name="connsiteY7" fmla="*/ 249487 h 253917"/>
                <a:gd name="connsiteX8" fmla="*/ 1493 w 14936"/>
                <a:gd name="connsiteY8" fmla="*/ 249487 h 253917"/>
                <a:gd name="connsiteX9" fmla="*/ 0 w 14936"/>
                <a:gd name="connsiteY9" fmla="*/ 256956 h 253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53917">
                  <a:moveTo>
                    <a:pt x="0" y="256956"/>
                  </a:moveTo>
                  <a:cubicBezTo>
                    <a:pt x="0" y="256956"/>
                    <a:pt x="4481" y="259943"/>
                    <a:pt x="10455" y="264424"/>
                  </a:cubicBezTo>
                  <a:cubicBezTo>
                    <a:pt x="10455" y="262930"/>
                    <a:pt x="10455" y="262930"/>
                    <a:pt x="11949" y="261437"/>
                  </a:cubicBezTo>
                  <a:cubicBezTo>
                    <a:pt x="20911" y="233057"/>
                    <a:pt x="23898" y="204678"/>
                    <a:pt x="25392" y="174806"/>
                  </a:cubicBezTo>
                  <a:lnTo>
                    <a:pt x="28379" y="138959"/>
                  </a:lnTo>
                  <a:cubicBezTo>
                    <a:pt x="29873" y="127010"/>
                    <a:pt x="28379" y="-2937"/>
                    <a:pt x="26885" y="51"/>
                  </a:cubicBezTo>
                  <a:lnTo>
                    <a:pt x="13443" y="161363"/>
                  </a:lnTo>
                  <a:cubicBezTo>
                    <a:pt x="8962" y="186755"/>
                    <a:pt x="4481" y="216628"/>
                    <a:pt x="1493" y="249487"/>
                  </a:cubicBezTo>
                  <a:cubicBezTo>
                    <a:pt x="1493" y="249487"/>
                    <a:pt x="1493" y="249487"/>
                    <a:pt x="1493" y="249487"/>
                  </a:cubicBezTo>
                  <a:cubicBezTo>
                    <a:pt x="0" y="252475"/>
                    <a:pt x="0" y="253969"/>
                    <a:pt x="0" y="256956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2" name="任意多边形: 形状 10351"/>
            <p:cNvSpPr/>
            <p:nvPr/>
          </p:nvSpPr>
          <p:spPr>
            <a:xfrm>
              <a:off x="7331830" y="5607162"/>
              <a:ext cx="14936" cy="14936"/>
            </a:xfrm>
            <a:custGeom>
              <a:avLst/>
              <a:gdLst>
                <a:gd name="connsiteX0" fmla="*/ 0 w 0"/>
                <a:gd name="connsiteY0" fmla="*/ 2987 h 0"/>
                <a:gd name="connsiteX1" fmla="*/ 4481 w 0"/>
                <a:gd name="connsiteY1" fmla="*/ 10455 h 0"/>
                <a:gd name="connsiteX2" fmla="*/ 8962 w 0"/>
                <a:gd name="connsiteY2" fmla="*/ 7468 h 0"/>
                <a:gd name="connsiteX3" fmla="*/ 4481 w 0"/>
                <a:gd name="connsiteY3" fmla="*/ 0 h 0"/>
                <a:gd name="connsiteX4" fmla="*/ 0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2987"/>
                  </a:moveTo>
                  <a:cubicBezTo>
                    <a:pt x="0" y="5974"/>
                    <a:pt x="1494" y="8962"/>
                    <a:pt x="4481" y="10455"/>
                  </a:cubicBezTo>
                  <a:cubicBezTo>
                    <a:pt x="7468" y="11949"/>
                    <a:pt x="8962" y="10455"/>
                    <a:pt x="8962" y="7468"/>
                  </a:cubicBezTo>
                  <a:cubicBezTo>
                    <a:pt x="8962" y="4481"/>
                    <a:pt x="7468" y="1494"/>
                    <a:pt x="4481" y="0"/>
                  </a:cubicBezTo>
                  <a:cubicBezTo>
                    <a:pt x="1494" y="0"/>
                    <a:pt x="0" y="1494"/>
                    <a:pt x="0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3" name="任意多边形: 形状 10352"/>
            <p:cNvSpPr/>
            <p:nvPr/>
          </p:nvSpPr>
          <p:spPr>
            <a:xfrm>
              <a:off x="7331830" y="5672882"/>
              <a:ext cx="14936" cy="14936"/>
            </a:xfrm>
            <a:custGeom>
              <a:avLst/>
              <a:gdLst>
                <a:gd name="connsiteX0" fmla="*/ 0 w 0"/>
                <a:gd name="connsiteY0" fmla="*/ 2987 h 0"/>
                <a:gd name="connsiteX1" fmla="*/ 4481 w 0"/>
                <a:gd name="connsiteY1" fmla="*/ 10456 h 0"/>
                <a:gd name="connsiteX2" fmla="*/ 8962 w 0"/>
                <a:gd name="connsiteY2" fmla="*/ 7468 h 0"/>
                <a:gd name="connsiteX3" fmla="*/ 4481 w 0"/>
                <a:gd name="connsiteY3" fmla="*/ 0 h 0"/>
                <a:gd name="connsiteX4" fmla="*/ 0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2987"/>
                  </a:moveTo>
                  <a:cubicBezTo>
                    <a:pt x="0" y="5974"/>
                    <a:pt x="1494" y="8962"/>
                    <a:pt x="4481" y="10456"/>
                  </a:cubicBezTo>
                  <a:cubicBezTo>
                    <a:pt x="7468" y="11949"/>
                    <a:pt x="8962" y="10456"/>
                    <a:pt x="8962" y="7468"/>
                  </a:cubicBezTo>
                  <a:cubicBezTo>
                    <a:pt x="8962" y="4481"/>
                    <a:pt x="7468" y="1494"/>
                    <a:pt x="4481" y="0"/>
                  </a:cubicBezTo>
                  <a:cubicBezTo>
                    <a:pt x="1494" y="0"/>
                    <a:pt x="0" y="0"/>
                    <a:pt x="0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4" name="任意多边形: 形状 10353"/>
            <p:cNvSpPr/>
            <p:nvPr/>
          </p:nvSpPr>
          <p:spPr>
            <a:xfrm>
              <a:off x="7331830" y="5738602"/>
              <a:ext cx="14936" cy="14936"/>
            </a:xfrm>
            <a:custGeom>
              <a:avLst/>
              <a:gdLst>
                <a:gd name="connsiteX0" fmla="*/ 0 w 0"/>
                <a:gd name="connsiteY0" fmla="*/ 2987 h 0"/>
                <a:gd name="connsiteX1" fmla="*/ 4481 w 0"/>
                <a:gd name="connsiteY1" fmla="*/ 10456 h 0"/>
                <a:gd name="connsiteX2" fmla="*/ 8962 w 0"/>
                <a:gd name="connsiteY2" fmla="*/ 7468 h 0"/>
                <a:gd name="connsiteX3" fmla="*/ 4481 w 0"/>
                <a:gd name="connsiteY3" fmla="*/ 0 h 0"/>
                <a:gd name="connsiteX4" fmla="*/ 0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2987"/>
                  </a:moveTo>
                  <a:cubicBezTo>
                    <a:pt x="0" y="5974"/>
                    <a:pt x="1494" y="8962"/>
                    <a:pt x="4481" y="10456"/>
                  </a:cubicBezTo>
                  <a:cubicBezTo>
                    <a:pt x="7468" y="11949"/>
                    <a:pt x="8962" y="10456"/>
                    <a:pt x="8962" y="7468"/>
                  </a:cubicBezTo>
                  <a:cubicBezTo>
                    <a:pt x="8962" y="4481"/>
                    <a:pt x="7468" y="1494"/>
                    <a:pt x="4481" y="0"/>
                  </a:cubicBezTo>
                  <a:cubicBezTo>
                    <a:pt x="1494" y="0"/>
                    <a:pt x="0" y="0"/>
                    <a:pt x="0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5" name="任意多边形: 形状 10354"/>
            <p:cNvSpPr/>
            <p:nvPr/>
          </p:nvSpPr>
          <p:spPr>
            <a:xfrm>
              <a:off x="7370664" y="5590732"/>
              <a:ext cx="29873" cy="14936"/>
            </a:xfrm>
            <a:custGeom>
              <a:avLst/>
              <a:gdLst>
                <a:gd name="connsiteX0" fmla="*/ 0 w 29872"/>
                <a:gd name="connsiteY0" fmla="*/ 8962 h 14936"/>
                <a:gd name="connsiteX1" fmla="*/ 31366 w 29872"/>
                <a:gd name="connsiteY1" fmla="*/ 28379 h 14936"/>
                <a:gd name="connsiteX2" fmla="*/ 31366 w 29872"/>
                <a:gd name="connsiteY2" fmla="*/ 17924 h 14936"/>
                <a:gd name="connsiteX3" fmla="*/ 0 w 29872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0" y="8962"/>
                  </a:moveTo>
                  <a:lnTo>
                    <a:pt x="31366" y="28379"/>
                  </a:lnTo>
                  <a:lnTo>
                    <a:pt x="31366" y="179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6" name="任意多边形: 形状 10355"/>
            <p:cNvSpPr/>
            <p:nvPr/>
          </p:nvSpPr>
          <p:spPr>
            <a:xfrm>
              <a:off x="7346766" y="5768796"/>
              <a:ext cx="179236" cy="238981"/>
            </a:xfrm>
            <a:custGeom>
              <a:avLst/>
              <a:gdLst>
                <a:gd name="connsiteX0" fmla="*/ 0 w 179236"/>
                <a:gd name="connsiteY0" fmla="*/ 117675 h 238981"/>
                <a:gd name="connsiteX1" fmla="*/ 10455 w 179236"/>
                <a:gd name="connsiteY1" fmla="*/ 98258 h 238981"/>
                <a:gd name="connsiteX2" fmla="*/ 179236 w 179236"/>
                <a:gd name="connsiteY2" fmla="*/ 1172 h 238981"/>
                <a:gd name="connsiteX3" fmla="*/ 189692 w 179236"/>
                <a:gd name="connsiteY3" fmla="*/ 7146 h 238981"/>
                <a:gd name="connsiteX4" fmla="*/ 189692 w 179236"/>
                <a:gd name="connsiteY4" fmla="*/ 50462 h 238981"/>
                <a:gd name="connsiteX5" fmla="*/ 189692 w 179236"/>
                <a:gd name="connsiteY5" fmla="*/ 50462 h 238981"/>
                <a:gd name="connsiteX6" fmla="*/ 189692 w 179236"/>
                <a:gd name="connsiteY6" fmla="*/ 135599 h 238981"/>
                <a:gd name="connsiteX7" fmla="*/ 179236 w 179236"/>
                <a:gd name="connsiteY7" fmla="*/ 155016 h 238981"/>
                <a:gd name="connsiteX8" fmla="*/ 10455 w 179236"/>
                <a:gd name="connsiteY8" fmla="*/ 252102 h 238981"/>
                <a:gd name="connsiteX9" fmla="*/ 0 w 179236"/>
                <a:gd name="connsiteY9" fmla="*/ 246128 h 238981"/>
                <a:gd name="connsiteX10" fmla="*/ 0 w 179236"/>
                <a:gd name="connsiteY10" fmla="*/ 160991 h 238981"/>
                <a:gd name="connsiteX11" fmla="*/ 0 w 179236"/>
                <a:gd name="connsiteY11" fmla="*/ 160991 h 238981"/>
                <a:gd name="connsiteX12" fmla="*/ 0 w 179236"/>
                <a:gd name="connsiteY12" fmla="*/ 117675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236" h="238981">
                  <a:moveTo>
                    <a:pt x="0" y="117675"/>
                  </a:moveTo>
                  <a:cubicBezTo>
                    <a:pt x="0" y="110207"/>
                    <a:pt x="4481" y="101246"/>
                    <a:pt x="10455" y="98258"/>
                  </a:cubicBezTo>
                  <a:lnTo>
                    <a:pt x="179236" y="1172"/>
                  </a:lnTo>
                  <a:cubicBezTo>
                    <a:pt x="185211" y="-1815"/>
                    <a:pt x="189692" y="1172"/>
                    <a:pt x="189692" y="7146"/>
                  </a:cubicBezTo>
                  <a:lnTo>
                    <a:pt x="189692" y="50462"/>
                  </a:lnTo>
                  <a:lnTo>
                    <a:pt x="189692" y="50462"/>
                  </a:lnTo>
                  <a:lnTo>
                    <a:pt x="189692" y="135599"/>
                  </a:lnTo>
                  <a:cubicBezTo>
                    <a:pt x="189692" y="143067"/>
                    <a:pt x="185211" y="152029"/>
                    <a:pt x="179236" y="155016"/>
                  </a:cubicBezTo>
                  <a:lnTo>
                    <a:pt x="10455" y="252102"/>
                  </a:lnTo>
                  <a:cubicBezTo>
                    <a:pt x="4481" y="255090"/>
                    <a:pt x="0" y="252102"/>
                    <a:pt x="0" y="246128"/>
                  </a:cubicBezTo>
                  <a:lnTo>
                    <a:pt x="0" y="160991"/>
                  </a:lnTo>
                  <a:lnTo>
                    <a:pt x="0" y="160991"/>
                  </a:lnTo>
                  <a:lnTo>
                    <a:pt x="0" y="117675"/>
                  </a:ln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7" name="任意多边形: 形状 10356"/>
            <p:cNvSpPr/>
            <p:nvPr/>
          </p:nvSpPr>
          <p:spPr>
            <a:xfrm>
              <a:off x="7348260" y="5769968"/>
              <a:ext cx="194172" cy="253918"/>
            </a:xfrm>
            <a:custGeom>
              <a:avLst/>
              <a:gdLst>
                <a:gd name="connsiteX0" fmla="*/ 186704 w 194172"/>
                <a:gd name="connsiteY0" fmla="*/ 0 h 253917"/>
                <a:gd name="connsiteX1" fmla="*/ 198653 w 194172"/>
                <a:gd name="connsiteY1" fmla="*/ 10456 h 253917"/>
                <a:gd name="connsiteX2" fmla="*/ 11949 w 194172"/>
                <a:gd name="connsiteY2" fmla="*/ 262880 h 253917"/>
                <a:gd name="connsiteX3" fmla="*/ 0 w 194172"/>
                <a:gd name="connsiteY3" fmla="*/ 252424 h 253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172" h="253917">
                  <a:moveTo>
                    <a:pt x="186704" y="0"/>
                  </a:moveTo>
                  <a:lnTo>
                    <a:pt x="198653" y="10456"/>
                  </a:lnTo>
                  <a:lnTo>
                    <a:pt x="11949" y="262880"/>
                  </a:lnTo>
                  <a:lnTo>
                    <a:pt x="0" y="252424"/>
                  </a:lnTo>
                  <a:close/>
                </a:path>
              </a:pathLst>
            </a:custGeom>
            <a:solidFill>
              <a:srgbClr val="26262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8" name="任意多边形: 形状 10357"/>
            <p:cNvSpPr/>
            <p:nvPr/>
          </p:nvSpPr>
          <p:spPr>
            <a:xfrm>
              <a:off x="7358715" y="5779812"/>
              <a:ext cx="179236" cy="253918"/>
            </a:xfrm>
            <a:custGeom>
              <a:avLst/>
              <a:gdLst>
                <a:gd name="connsiteX0" fmla="*/ 0 w 179236"/>
                <a:gd name="connsiteY0" fmla="*/ 118609 h 253917"/>
                <a:gd name="connsiteX1" fmla="*/ 0 w 179236"/>
                <a:gd name="connsiteY1" fmla="*/ 247062 h 253917"/>
                <a:gd name="connsiteX2" fmla="*/ 10455 w 179236"/>
                <a:gd name="connsiteY2" fmla="*/ 253036 h 253917"/>
                <a:gd name="connsiteX3" fmla="*/ 179236 w 179236"/>
                <a:gd name="connsiteY3" fmla="*/ 155950 h 253917"/>
                <a:gd name="connsiteX4" fmla="*/ 189692 w 179236"/>
                <a:gd name="connsiteY4" fmla="*/ 136532 h 253917"/>
                <a:gd name="connsiteX5" fmla="*/ 189692 w 179236"/>
                <a:gd name="connsiteY5" fmla="*/ 8080 h 253917"/>
                <a:gd name="connsiteX6" fmla="*/ 179236 w 179236"/>
                <a:gd name="connsiteY6" fmla="*/ 2105 h 253917"/>
                <a:gd name="connsiteX7" fmla="*/ 10455 w 179236"/>
                <a:gd name="connsiteY7" fmla="*/ 99191 h 253917"/>
                <a:gd name="connsiteX8" fmla="*/ 0 w 179236"/>
                <a:gd name="connsiteY8" fmla="*/ 118609 h 253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9236" h="253917">
                  <a:moveTo>
                    <a:pt x="0" y="118609"/>
                  </a:moveTo>
                  <a:lnTo>
                    <a:pt x="0" y="247062"/>
                  </a:lnTo>
                  <a:cubicBezTo>
                    <a:pt x="0" y="254530"/>
                    <a:pt x="4481" y="257517"/>
                    <a:pt x="10455" y="253036"/>
                  </a:cubicBezTo>
                  <a:lnTo>
                    <a:pt x="179236" y="155950"/>
                  </a:lnTo>
                  <a:cubicBezTo>
                    <a:pt x="185211" y="152962"/>
                    <a:pt x="189692" y="144000"/>
                    <a:pt x="189692" y="136532"/>
                  </a:cubicBezTo>
                  <a:lnTo>
                    <a:pt x="189692" y="8080"/>
                  </a:lnTo>
                  <a:cubicBezTo>
                    <a:pt x="189692" y="612"/>
                    <a:pt x="185211" y="-2376"/>
                    <a:pt x="179236" y="2105"/>
                  </a:cubicBezTo>
                  <a:lnTo>
                    <a:pt x="10455" y="99191"/>
                  </a:lnTo>
                  <a:cubicBezTo>
                    <a:pt x="4481" y="102179"/>
                    <a:pt x="0" y="111141"/>
                    <a:pt x="0" y="118609"/>
                  </a:cubicBezTo>
                  <a:close/>
                </a:path>
              </a:pathLst>
            </a:custGeom>
            <a:solidFill>
              <a:srgbClr val="42424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9" name="任意多边形: 形状 10358"/>
            <p:cNvSpPr/>
            <p:nvPr/>
          </p:nvSpPr>
          <p:spPr>
            <a:xfrm>
              <a:off x="7358715" y="5779812"/>
              <a:ext cx="179236" cy="164300"/>
            </a:xfrm>
            <a:custGeom>
              <a:avLst/>
              <a:gdLst>
                <a:gd name="connsiteX0" fmla="*/ 0 w 179236"/>
                <a:gd name="connsiteY0" fmla="*/ 118609 h 164299"/>
                <a:gd name="connsiteX1" fmla="*/ 0 w 179236"/>
                <a:gd name="connsiteY1" fmla="*/ 161924 h 164299"/>
                <a:gd name="connsiteX2" fmla="*/ 22405 w 179236"/>
                <a:gd name="connsiteY2" fmla="*/ 173873 h 164299"/>
                <a:gd name="connsiteX3" fmla="*/ 170274 w 179236"/>
                <a:gd name="connsiteY3" fmla="*/ 88736 h 164299"/>
                <a:gd name="connsiteX4" fmla="*/ 192679 w 179236"/>
                <a:gd name="connsiteY4" fmla="*/ 51395 h 164299"/>
                <a:gd name="connsiteX5" fmla="*/ 192679 w 179236"/>
                <a:gd name="connsiteY5" fmla="*/ 8080 h 164299"/>
                <a:gd name="connsiteX6" fmla="*/ 182223 w 179236"/>
                <a:gd name="connsiteY6" fmla="*/ 2105 h 164299"/>
                <a:gd name="connsiteX7" fmla="*/ 13443 w 179236"/>
                <a:gd name="connsiteY7" fmla="*/ 99191 h 164299"/>
                <a:gd name="connsiteX8" fmla="*/ 0 w 179236"/>
                <a:gd name="connsiteY8" fmla="*/ 118609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9236" h="164299">
                  <a:moveTo>
                    <a:pt x="0" y="118609"/>
                  </a:moveTo>
                  <a:lnTo>
                    <a:pt x="0" y="161924"/>
                  </a:lnTo>
                  <a:cubicBezTo>
                    <a:pt x="0" y="175367"/>
                    <a:pt x="10455" y="181341"/>
                    <a:pt x="22405" y="173873"/>
                  </a:cubicBezTo>
                  <a:lnTo>
                    <a:pt x="170274" y="88736"/>
                  </a:lnTo>
                  <a:cubicBezTo>
                    <a:pt x="182223" y="81268"/>
                    <a:pt x="192679" y="64838"/>
                    <a:pt x="192679" y="51395"/>
                  </a:cubicBezTo>
                  <a:lnTo>
                    <a:pt x="192679" y="8080"/>
                  </a:lnTo>
                  <a:cubicBezTo>
                    <a:pt x="192679" y="612"/>
                    <a:pt x="188198" y="-2376"/>
                    <a:pt x="182223" y="2105"/>
                  </a:cubicBezTo>
                  <a:lnTo>
                    <a:pt x="13443" y="99191"/>
                  </a:lnTo>
                  <a:cubicBezTo>
                    <a:pt x="4481" y="102179"/>
                    <a:pt x="0" y="111141"/>
                    <a:pt x="0" y="118609"/>
                  </a:cubicBezTo>
                  <a:close/>
                </a:path>
              </a:pathLst>
            </a:custGeom>
            <a:solidFill>
              <a:srgbClr val="4D4D4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0" name="任意多边形: 形状 10359"/>
            <p:cNvSpPr/>
            <p:nvPr/>
          </p:nvSpPr>
          <p:spPr>
            <a:xfrm>
              <a:off x="7443852" y="5886472"/>
              <a:ext cx="14936" cy="44809"/>
            </a:xfrm>
            <a:custGeom>
              <a:avLst/>
              <a:gdLst>
                <a:gd name="connsiteX0" fmla="*/ 5974 w 14936"/>
                <a:gd name="connsiteY0" fmla="*/ 49290 h 44809"/>
                <a:gd name="connsiteX1" fmla="*/ 13443 w 14936"/>
                <a:gd name="connsiteY1" fmla="*/ 44809 h 44809"/>
                <a:gd name="connsiteX2" fmla="*/ 17924 w 14936"/>
                <a:gd name="connsiteY2" fmla="*/ 35848 h 44809"/>
                <a:gd name="connsiteX3" fmla="*/ 17924 w 14936"/>
                <a:gd name="connsiteY3" fmla="*/ 0 h 44809"/>
                <a:gd name="connsiteX4" fmla="*/ 0 w 14936"/>
                <a:gd name="connsiteY4" fmla="*/ 10456 h 44809"/>
                <a:gd name="connsiteX5" fmla="*/ 0 w 14936"/>
                <a:gd name="connsiteY5" fmla="*/ 46303 h 44809"/>
                <a:gd name="connsiteX6" fmla="*/ 5974 w 14936"/>
                <a:gd name="connsiteY6" fmla="*/ 49290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36" h="44809">
                  <a:moveTo>
                    <a:pt x="5974" y="49290"/>
                  </a:moveTo>
                  <a:lnTo>
                    <a:pt x="13443" y="44809"/>
                  </a:lnTo>
                  <a:cubicBezTo>
                    <a:pt x="16430" y="43316"/>
                    <a:pt x="17924" y="38835"/>
                    <a:pt x="17924" y="35848"/>
                  </a:cubicBezTo>
                  <a:lnTo>
                    <a:pt x="17924" y="0"/>
                  </a:lnTo>
                  <a:lnTo>
                    <a:pt x="0" y="10456"/>
                  </a:lnTo>
                  <a:lnTo>
                    <a:pt x="0" y="46303"/>
                  </a:lnTo>
                  <a:cubicBezTo>
                    <a:pt x="1494" y="49290"/>
                    <a:pt x="4481" y="50784"/>
                    <a:pt x="5974" y="49290"/>
                  </a:cubicBezTo>
                  <a:close/>
                </a:path>
              </a:pathLst>
            </a:custGeom>
            <a:solidFill>
              <a:srgbClr val="B3B3B3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1" name="任意多边形: 形状 10360"/>
            <p:cNvSpPr/>
            <p:nvPr/>
          </p:nvSpPr>
          <p:spPr>
            <a:xfrm>
              <a:off x="7437878" y="5883997"/>
              <a:ext cx="29873" cy="29873"/>
            </a:xfrm>
            <a:custGeom>
              <a:avLst/>
              <a:gdLst>
                <a:gd name="connsiteX0" fmla="*/ 2987 w 29872"/>
                <a:gd name="connsiteY0" fmla="*/ 30854 h 29872"/>
                <a:gd name="connsiteX1" fmla="*/ 29873 w 29872"/>
                <a:gd name="connsiteY1" fmla="*/ 15918 h 29872"/>
                <a:gd name="connsiteX2" fmla="*/ 32860 w 29872"/>
                <a:gd name="connsiteY2" fmla="*/ 9943 h 29872"/>
                <a:gd name="connsiteX3" fmla="*/ 32860 w 29872"/>
                <a:gd name="connsiteY3" fmla="*/ 2474 h 29872"/>
                <a:gd name="connsiteX4" fmla="*/ 29873 w 29872"/>
                <a:gd name="connsiteY4" fmla="*/ 981 h 29872"/>
                <a:gd name="connsiteX5" fmla="*/ 2987 w 29872"/>
                <a:gd name="connsiteY5" fmla="*/ 15918 h 29872"/>
                <a:gd name="connsiteX6" fmla="*/ 0 w 29872"/>
                <a:gd name="connsiteY6" fmla="*/ 21892 h 29872"/>
                <a:gd name="connsiteX7" fmla="*/ 0 w 29872"/>
                <a:gd name="connsiteY7" fmla="*/ 29360 h 29872"/>
                <a:gd name="connsiteX8" fmla="*/ 2987 w 29872"/>
                <a:gd name="connsiteY8" fmla="*/ 30854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72" h="29872">
                  <a:moveTo>
                    <a:pt x="2987" y="30854"/>
                  </a:moveTo>
                  <a:lnTo>
                    <a:pt x="29873" y="15918"/>
                  </a:lnTo>
                  <a:cubicBezTo>
                    <a:pt x="31366" y="14424"/>
                    <a:pt x="32860" y="11436"/>
                    <a:pt x="32860" y="9943"/>
                  </a:cubicBezTo>
                  <a:lnTo>
                    <a:pt x="32860" y="2474"/>
                  </a:lnTo>
                  <a:cubicBezTo>
                    <a:pt x="32860" y="-513"/>
                    <a:pt x="31366" y="-513"/>
                    <a:pt x="29873" y="981"/>
                  </a:cubicBezTo>
                  <a:lnTo>
                    <a:pt x="2987" y="15918"/>
                  </a:lnTo>
                  <a:cubicBezTo>
                    <a:pt x="1494" y="17411"/>
                    <a:pt x="0" y="20398"/>
                    <a:pt x="0" y="21892"/>
                  </a:cubicBezTo>
                  <a:lnTo>
                    <a:pt x="0" y="29360"/>
                  </a:lnTo>
                  <a:cubicBezTo>
                    <a:pt x="0" y="30854"/>
                    <a:pt x="1494" y="32347"/>
                    <a:pt x="2987" y="30854"/>
                  </a:cubicBezTo>
                  <a:close/>
                </a:path>
              </a:pathLst>
            </a:custGeom>
            <a:solidFill>
              <a:srgbClr val="999999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2" name="任意多边形: 形状 10361"/>
            <p:cNvSpPr/>
            <p:nvPr/>
          </p:nvSpPr>
          <p:spPr>
            <a:xfrm>
              <a:off x="7472231" y="5784905"/>
              <a:ext cx="14936" cy="14936"/>
            </a:xfrm>
            <a:custGeom>
              <a:avLst/>
              <a:gdLst>
                <a:gd name="connsiteX0" fmla="*/ 0 w 0"/>
                <a:gd name="connsiteY0" fmla="*/ 0 h 14936"/>
                <a:gd name="connsiteX1" fmla="*/ 0 w 0"/>
                <a:gd name="connsiteY1" fmla="*/ 20911 h 14936"/>
                <a:gd name="connsiteX2" fmla="*/ 10456 w 0"/>
                <a:gd name="connsiteY2" fmla="*/ 20911 h 14936"/>
                <a:gd name="connsiteX3" fmla="*/ 10456 w 0"/>
                <a:gd name="connsiteY3" fmla="*/ 7468 h 14936"/>
                <a:gd name="connsiteX4" fmla="*/ 7468 w 0"/>
                <a:gd name="connsiteY4" fmla="*/ 0 h 14936"/>
                <a:gd name="connsiteX5" fmla="*/ 0 w 0"/>
                <a:gd name="connsiteY5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14936">
                  <a:moveTo>
                    <a:pt x="0" y="0"/>
                  </a:moveTo>
                  <a:lnTo>
                    <a:pt x="0" y="20911"/>
                  </a:lnTo>
                  <a:lnTo>
                    <a:pt x="10456" y="20911"/>
                  </a:lnTo>
                  <a:lnTo>
                    <a:pt x="10456" y="7468"/>
                  </a:lnTo>
                  <a:cubicBezTo>
                    <a:pt x="10456" y="4481"/>
                    <a:pt x="8962" y="2987"/>
                    <a:pt x="74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3" name="任意多边形: 形状 10362"/>
            <p:cNvSpPr/>
            <p:nvPr/>
          </p:nvSpPr>
          <p:spPr>
            <a:xfrm>
              <a:off x="7472605" y="5803202"/>
              <a:ext cx="14936" cy="14936"/>
            </a:xfrm>
            <a:custGeom>
              <a:avLst/>
              <a:gdLst>
                <a:gd name="connsiteX0" fmla="*/ 1120 w 0"/>
                <a:gd name="connsiteY0" fmla="*/ 1120 h 0"/>
                <a:gd name="connsiteX1" fmla="*/ 1120 w 0"/>
                <a:gd name="connsiteY1" fmla="*/ 5601 h 0"/>
                <a:gd name="connsiteX2" fmla="*/ 8588 w 0"/>
                <a:gd name="connsiteY2" fmla="*/ 5601 h 0"/>
                <a:gd name="connsiteX3" fmla="*/ 8588 w 0"/>
                <a:gd name="connsiteY3" fmla="*/ 1120 h 0"/>
                <a:gd name="connsiteX4" fmla="*/ 1120 w 0"/>
                <a:gd name="connsiteY4" fmla="*/ 11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120" y="1120"/>
                  </a:moveTo>
                  <a:cubicBezTo>
                    <a:pt x="-373" y="2614"/>
                    <a:pt x="-373" y="4107"/>
                    <a:pt x="1120" y="5601"/>
                  </a:cubicBezTo>
                  <a:cubicBezTo>
                    <a:pt x="2614" y="7095"/>
                    <a:pt x="7095" y="7095"/>
                    <a:pt x="8588" y="5601"/>
                  </a:cubicBezTo>
                  <a:cubicBezTo>
                    <a:pt x="10082" y="4107"/>
                    <a:pt x="10082" y="2614"/>
                    <a:pt x="8588" y="1120"/>
                  </a:cubicBezTo>
                  <a:cubicBezTo>
                    <a:pt x="7095" y="-373"/>
                    <a:pt x="2614" y="-373"/>
                    <a:pt x="1120" y="1120"/>
                  </a:cubicBezTo>
                  <a:close/>
                </a:path>
              </a:pathLst>
            </a:custGeom>
            <a:solidFill>
              <a:srgbClr val="4D4D4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4" name="任意多边形: 形状 10363"/>
            <p:cNvSpPr/>
            <p:nvPr/>
          </p:nvSpPr>
          <p:spPr>
            <a:xfrm>
              <a:off x="7455801" y="5781917"/>
              <a:ext cx="14936" cy="14936"/>
            </a:xfrm>
            <a:custGeom>
              <a:avLst/>
              <a:gdLst>
                <a:gd name="connsiteX0" fmla="*/ 7468 w 14936"/>
                <a:gd name="connsiteY0" fmla="*/ 25392 h 14936"/>
                <a:gd name="connsiteX1" fmla="*/ 25392 w 14936"/>
                <a:gd name="connsiteY1" fmla="*/ 13443 h 14936"/>
                <a:gd name="connsiteX2" fmla="*/ 17924 w 14936"/>
                <a:gd name="connsiteY2" fmla="*/ 0 h 14936"/>
                <a:gd name="connsiteX3" fmla="*/ 0 w 14936"/>
                <a:gd name="connsiteY3" fmla="*/ 1045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7468" y="25392"/>
                  </a:moveTo>
                  <a:lnTo>
                    <a:pt x="25392" y="13443"/>
                  </a:lnTo>
                  <a:lnTo>
                    <a:pt x="17924" y="0"/>
                  </a:lnTo>
                  <a:lnTo>
                    <a:pt x="0" y="10456"/>
                  </a:lnTo>
                  <a:close/>
                </a:path>
              </a:pathLst>
            </a:custGeom>
            <a:solidFill>
              <a:srgbClr val="4D4D4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5" name="任意多边形: 形状 10364"/>
            <p:cNvSpPr/>
            <p:nvPr/>
          </p:nvSpPr>
          <p:spPr>
            <a:xfrm>
              <a:off x="7454308" y="5792312"/>
              <a:ext cx="14936" cy="14936"/>
            </a:xfrm>
            <a:custGeom>
              <a:avLst/>
              <a:gdLst>
                <a:gd name="connsiteX0" fmla="*/ 0 w 0"/>
                <a:gd name="connsiteY0" fmla="*/ 4541 h 14936"/>
                <a:gd name="connsiteX1" fmla="*/ 5974 w 0"/>
                <a:gd name="connsiteY1" fmla="*/ 14997 h 14936"/>
                <a:gd name="connsiteX2" fmla="*/ 11949 w 0"/>
                <a:gd name="connsiteY2" fmla="*/ 12009 h 14936"/>
                <a:gd name="connsiteX3" fmla="*/ 5974 w 0"/>
                <a:gd name="connsiteY3" fmla="*/ 1554 h 14936"/>
                <a:gd name="connsiteX4" fmla="*/ 0 w 0"/>
                <a:gd name="connsiteY4" fmla="*/ 4541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14936">
                  <a:moveTo>
                    <a:pt x="0" y="4541"/>
                  </a:moveTo>
                  <a:cubicBezTo>
                    <a:pt x="0" y="7529"/>
                    <a:pt x="2987" y="12009"/>
                    <a:pt x="5974" y="14997"/>
                  </a:cubicBezTo>
                  <a:cubicBezTo>
                    <a:pt x="8961" y="17984"/>
                    <a:pt x="11949" y="14997"/>
                    <a:pt x="11949" y="12009"/>
                  </a:cubicBezTo>
                  <a:cubicBezTo>
                    <a:pt x="11949" y="9022"/>
                    <a:pt x="8961" y="4541"/>
                    <a:pt x="5974" y="1554"/>
                  </a:cubicBezTo>
                  <a:cubicBezTo>
                    <a:pt x="2987" y="-1433"/>
                    <a:pt x="0" y="61"/>
                    <a:pt x="0" y="454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6" name="任意多边形: 形状 10365"/>
            <p:cNvSpPr/>
            <p:nvPr/>
          </p:nvSpPr>
          <p:spPr>
            <a:xfrm>
              <a:off x="7470737" y="5779304"/>
              <a:ext cx="14936" cy="14936"/>
            </a:xfrm>
            <a:custGeom>
              <a:avLst/>
              <a:gdLst>
                <a:gd name="connsiteX0" fmla="*/ 1494 w 0"/>
                <a:gd name="connsiteY0" fmla="*/ 7095 h 14936"/>
                <a:gd name="connsiteX1" fmla="*/ 1494 w 0"/>
                <a:gd name="connsiteY1" fmla="*/ 10082 h 14936"/>
                <a:gd name="connsiteX2" fmla="*/ 5975 w 0"/>
                <a:gd name="connsiteY2" fmla="*/ 16057 h 14936"/>
                <a:gd name="connsiteX3" fmla="*/ 8962 w 0"/>
                <a:gd name="connsiteY3" fmla="*/ 16057 h 14936"/>
                <a:gd name="connsiteX4" fmla="*/ 8962 w 0"/>
                <a:gd name="connsiteY4" fmla="*/ 16057 h 14936"/>
                <a:gd name="connsiteX5" fmla="*/ 8962 w 0"/>
                <a:gd name="connsiteY5" fmla="*/ 16057 h 14936"/>
                <a:gd name="connsiteX6" fmla="*/ 10456 w 0"/>
                <a:gd name="connsiteY6" fmla="*/ 11575 h 14936"/>
                <a:gd name="connsiteX7" fmla="*/ 7468 w 0"/>
                <a:gd name="connsiteY7" fmla="*/ 4107 h 14936"/>
                <a:gd name="connsiteX8" fmla="*/ 4481 w 0"/>
                <a:gd name="connsiteY8" fmla="*/ 1120 h 14936"/>
                <a:gd name="connsiteX9" fmla="*/ 0 w 0"/>
                <a:gd name="connsiteY9" fmla="*/ 1120 h 14936"/>
                <a:gd name="connsiteX10" fmla="*/ 0 w 0"/>
                <a:gd name="connsiteY10" fmla="*/ 1120 h 14936"/>
                <a:gd name="connsiteX11" fmla="*/ 0 w 0"/>
                <a:gd name="connsiteY11" fmla="*/ 1120 h 14936"/>
                <a:gd name="connsiteX12" fmla="*/ 0 w 0"/>
                <a:gd name="connsiteY12" fmla="*/ 1120 h 14936"/>
                <a:gd name="connsiteX13" fmla="*/ 1494 w 0"/>
                <a:gd name="connsiteY13" fmla="*/ 7095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h="14936">
                  <a:moveTo>
                    <a:pt x="1494" y="7095"/>
                  </a:moveTo>
                  <a:cubicBezTo>
                    <a:pt x="1494" y="8588"/>
                    <a:pt x="1494" y="10082"/>
                    <a:pt x="1494" y="10082"/>
                  </a:cubicBezTo>
                  <a:cubicBezTo>
                    <a:pt x="2987" y="13069"/>
                    <a:pt x="4481" y="14563"/>
                    <a:pt x="5975" y="16057"/>
                  </a:cubicBezTo>
                  <a:cubicBezTo>
                    <a:pt x="7468" y="17550"/>
                    <a:pt x="8962" y="17550"/>
                    <a:pt x="8962" y="16057"/>
                  </a:cubicBezTo>
                  <a:lnTo>
                    <a:pt x="8962" y="16057"/>
                  </a:lnTo>
                  <a:lnTo>
                    <a:pt x="8962" y="16057"/>
                  </a:lnTo>
                  <a:cubicBezTo>
                    <a:pt x="10456" y="16057"/>
                    <a:pt x="10456" y="14563"/>
                    <a:pt x="10456" y="11575"/>
                  </a:cubicBezTo>
                  <a:cubicBezTo>
                    <a:pt x="10456" y="8588"/>
                    <a:pt x="8962" y="7095"/>
                    <a:pt x="7468" y="4107"/>
                  </a:cubicBezTo>
                  <a:cubicBezTo>
                    <a:pt x="5975" y="2614"/>
                    <a:pt x="5975" y="2614"/>
                    <a:pt x="4481" y="1120"/>
                  </a:cubicBezTo>
                  <a:cubicBezTo>
                    <a:pt x="2987" y="-373"/>
                    <a:pt x="1494" y="-373"/>
                    <a:pt x="0" y="1120"/>
                  </a:cubicBezTo>
                  <a:cubicBezTo>
                    <a:pt x="0" y="1120"/>
                    <a:pt x="0" y="1120"/>
                    <a:pt x="0" y="1120"/>
                  </a:cubicBezTo>
                  <a:lnTo>
                    <a:pt x="0" y="1120"/>
                  </a:lnTo>
                  <a:cubicBezTo>
                    <a:pt x="0" y="1120"/>
                    <a:pt x="0" y="1120"/>
                    <a:pt x="0" y="1120"/>
                  </a:cubicBezTo>
                  <a:cubicBezTo>
                    <a:pt x="1494" y="4107"/>
                    <a:pt x="1494" y="5601"/>
                    <a:pt x="1494" y="7095"/>
                  </a:cubicBezTo>
                  <a:close/>
                </a:path>
              </a:pathLst>
            </a:custGeom>
            <a:solidFill>
              <a:srgbClr val="4D4D4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7" name="任意多边形: 形状 10366"/>
            <p:cNvSpPr/>
            <p:nvPr/>
          </p:nvSpPr>
          <p:spPr>
            <a:xfrm>
              <a:off x="7411366" y="5758532"/>
              <a:ext cx="59745" cy="74682"/>
            </a:xfrm>
            <a:custGeom>
              <a:avLst/>
              <a:gdLst>
                <a:gd name="connsiteX0" fmla="*/ 60865 w 59745"/>
                <a:gd name="connsiteY0" fmla="*/ 57739 h 74681"/>
                <a:gd name="connsiteX1" fmla="*/ 53397 w 59745"/>
                <a:gd name="connsiteY1" fmla="*/ 66701 h 74681"/>
                <a:gd name="connsiteX2" fmla="*/ 13069 w 59745"/>
                <a:gd name="connsiteY2" fmla="*/ 71182 h 74681"/>
                <a:gd name="connsiteX3" fmla="*/ 23525 w 59745"/>
                <a:gd name="connsiteY3" fmla="*/ 60726 h 74681"/>
                <a:gd name="connsiteX4" fmla="*/ 20538 w 59745"/>
                <a:gd name="connsiteY4" fmla="*/ 39815 h 74681"/>
                <a:gd name="connsiteX5" fmla="*/ 17550 w 59745"/>
                <a:gd name="connsiteY5" fmla="*/ 56245 h 74681"/>
                <a:gd name="connsiteX6" fmla="*/ 4108 w 59745"/>
                <a:gd name="connsiteY6" fmla="*/ 65207 h 74681"/>
                <a:gd name="connsiteX7" fmla="*/ 2614 w 59745"/>
                <a:gd name="connsiteY7" fmla="*/ 65207 h 74681"/>
                <a:gd name="connsiteX8" fmla="*/ 1120 w 59745"/>
                <a:gd name="connsiteY8" fmla="*/ 63714 h 74681"/>
                <a:gd name="connsiteX9" fmla="*/ 1120 w 59745"/>
                <a:gd name="connsiteY9" fmla="*/ 54752 h 74681"/>
                <a:gd name="connsiteX10" fmla="*/ 4108 w 59745"/>
                <a:gd name="connsiteY10" fmla="*/ 48777 h 74681"/>
                <a:gd name="connsiteX11" fmla="*/ 5601 w 59745"/>
                <a:gd name="connsiteY11" fmla="*/ 39815 h 74681"/>
                <a:gd name="connsiteX12" fmla="*/ 20538 w 59745"/>
                <a:gd name="connsiteY12" fmla="*/ 6956 h 74681"/>
                <a:gd name="connsiteX13" fmla="*/ 26512 w 59745"/>
                <a:gd name="connsiteY13" fmla="*/ 2475 h 74681"/>
                <a:gd name="connsiteX14" fmla="*/ 42942 w 59745"/>
                <a:gd name="connsiteY14" fmla="*/ 981 h 74681"/>
                <a:gd name="connsiteX15" fmla="*/ 45929 w 59745"/>
                <a:gd name="connsiteY15" fmla="*/ 2475 h 74681"/>
                <a:gd name="connsiteX16" fmla="*/ 48917 w 59745"/>
                <a:gd name="connsiteY16" fmla="*/ 3968 h 74681"/>
                <a:gd name="connsiteX17" fmla="*/ 59372 w 59745"/>
                <a:gd name="connsiteY17" fmla="*/ 24879 h 74681"/>
                <a:gd name="connsiteX18" fmla="*/ 60865 w 59745"/>
                <a:gd name="connsiteY18" fmla="*/ 57739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9745" h="74681">
                  <a:moveTo>
                    <a:pt x="60865" y="57739"/>
                  </a:moveTo>
                  <a:cubicBezTo>
                    <a:pt x="59372" y="60726"/>
                    <a:pt x="54891" y="65207"/>
                    <a:pt x="53397" y="66701"/>
                  </a:cubicBezTo>
                  <a:cubicBezTo>
                    <a:pt x="44435" y="72676"/>
                    <a:pt x="17550" y="87612"/>
                    <a:pt x="13069" y="71182"/>
                  </a:cubicBezTo>
                  <a:cubicBezTo>
                    <a:pt x="11576" y="63714"/>
                    <a:pt x="23525" y="68194"/>
                    <a:pt x="23525" y="60726"/>
                  </a:cubicBezTo>
                  <a:cubicBezTo>
                    <a:pt x="23525" y="53258"/>
                    <a:pt x="20538" y="47284"/>
                    <a:pt x="20538" y="39815"/>
                  </a:cubicBezTo>
                  <a:cubicBezTo>
                    <a:pt x="20538" y="45790"/>
                    <a:pt x="20538" y="51765"/>
                    <a:pt x="17550" y="56245"/>
                  </a:cubicBezTo>
                  <a:cubicBezTo>
                    <a:pt x="14563" y="60726"/>
                    <a:pt x="10082" y="65207"/>
                    <a:pt x="4108" y="65207"/>
                  </a:cubicBezTo>
                  <a:cubicBezTo>
                    <a:pt x="4108" y="65207"/>
                    <a:pt x="2614" y="65207"/>
                    <a:pt x="2614" y="65207"/>
                  </a:cubicBezTo>
                  <a:cubicBezTo>
                    <a:pt x="2614" y="65207"/>
                    <a:pt x="2614" y="65207"/>
                    <a:pt x="1120" y="63714"/>
                  </a:cubicBezTo>
                  <a:cubicBezTo>
                    <a:pt x="-373" y="60726"/>
                    <a:pt x="-373" y="57739"/>
                    <a:pt x="1120" y="54752"/>
                  </a:cubicBezTo>
                  <a:cubicBezTo>
                    <a:pt x="2614" y="53258"/>
                    <a:pt x="4108" y="50271"/>
                    <a:pt x="4108" y="48777"/>
                  </a:cubicBezTo>
                  <a:cubicBezTo>
                    <a:pt x="5601" y="45790"/>
                    <a:pt x="5601" y="42803"/>
                    <a:pt x="5601" y="39815"/>
                  </a:cubicBezTo>
                  <a:cubicBezTo>
                    <a:pt x="7095" y="27867"/>
                    <a:pt x="11576" y="15917"/>
                    <a:pt x="20538" y="6956"/>
                  </a:cubicBezTo>
                  <a:cubicBezTo>
                    <a:pt x="22031" y="5462"/>
                    <a:pt x="23525" y="3968"/>
                    <a:pt x="26512" y="2475"/>
                  </a:cubicBezTo>
                  <a:cubicBezTo>
                    <a:pt x="30993" y="-512"/>
                    <a:pt x="36967" y="-512"/>
                    <a:pt x="42942" y="981"/>
                  </a:cubicBezTo>
                  <a:cubicBezTo>
                    <a:pt x="44435" y="981"/>
                    <a:pt x="45929" y="981"/>
                    <a:pt x="45929" y="2475"/>
                  </a:cubicBezTo>
                  <a:cubicBezTo>
                    <a:pt x="47423" y="2475"/>
                    <a:pt x="47423" y="3968"/>
                    <a:pt x="48917" y="3968"/>
                  </a:cubicBezTo>
                  <a:cubicBezTo>
                    <a:pt x="54891" y="9943"/>
                    <a:pt x="57879" y="17411"/>
                    <a:pt x="59372" y="24879"/>
                  </a:cubicBezTo>
                  <a:cubicBezTo>
                    <a:pt x="63853" y="33841"/>
                    <a:pt x="63853" y="54752"/>
                    <a:pt x="60865" y="57739"/>
                  </a:cubicBezTo>
                  <a:close/>
                </a:path>
              </a:pathLst>
            </a:custGeom>
            <a:solidFill>
              <a:srgbClr val="FFBE63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8" name="任意多边形: 形状 10367"/>
            <p:cNvSpPr/>
            <p:nvPr/>
          </p:nvSpPr>
          <p:spPr>
            <a:xfrm>
              <a:off x="7413980" y="5805815"/>
              <a:ext cx="14936" cy="14936"/>
            </a:xfrm>
            <a:custGeom>
              <a:avLst/>
              <a:gdLst>
                <a:gd name="connsiteX0" fmla="*/ 8962 w 14936"/>
                <a:gd name="connsiteY0" fmla="*/ 25392 h 14936"/>
                <a:gd name="connsiteX1" fmla="*/ 26885 w 14936"/>
                <a:gd name="connsiteY1" fmla="*/ 13443 h 14936"/>
                <a:gd name="connsiteX2" fmla="*/ 17924 w 14936"/>
                <a:gd name="connsiteY2" fmla="*/ 0 h 14936"/>
                <a:gd name="connsiteX3" fmla="*/ 0 w 14936"/>
                <a:gd name="connsiteY3" fmla="*/ 1045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8962" y="25392"/>
                  </a:moveTo>
                  <a:lnTo>
                    <a:pt x="26885" y="13443"/>
                  </a:lnTo>
                  <a:lnTo>
                    <a:pt x="17924" y="0"/>
                  </a:lnTo>
                  <a:lnTo>
                    <a:pt x="0" y="10456"/>
                  </a:lnTo>
                  <a:close/>
                </a:path>
              </a:pathLst>
            </a:custGeom>
            <a:solidFill>
              <a:srgbClr val="4D4D4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9" name="任意多边形: 形状 10368"/>
            <p:cNvSpPr/>
            <p:nvPr/>
          </p:nvSpPr>
          <p:spPr>
            <a:xfrm>
              <a:off x="7412486" y="5816210"/>
              <a:ext cx="14936" cy="14936"/>
            </a:xfrm>
            <a:custGeom>
              <a:avLst/>
              <a:gdLst>
                <a:gd name="connsiteX0" fmla="*/ 0 w 0"/>
                <a:gd name="connsiteY0" fmla="*/ 4541 h 14936"/>
                <a:gd name="connsiteX1" fmla="*/ 5975 w 0"/>
                <a:gd name="connsiteY1" fmla="*/ 14997 h 14936"/>
                <a:gd name="connsiteX2" fmla="*/ 11949 w 0"/>
                <a:gd name="connsiteY2" fmla="*/ 12009 h 14936"/>
                <a:gd name="connsiteX3" fmla="*/ 5975 w 0"/>
                <a:gd name="connsiteY3" fmla="*/ 1554 h 14936"/>
                <a:gd name="connsiteX4" fmla="*/ 0 w 0"/>
                <a:gd name="connsiteY4" fmla="*/ 4541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14936">
                  <a:moveTo>
                    <a:pt x="0" y="4541"/>
                  </a:moveTo>
                  <a:cubicBezTo>
                    <a:pt x="0" y="7529"/>
                    <a:pt x="2987" y="12009"/>
                    <a:pt x="5975" y="14997"/>
                  </a:cubicBezTo>
                  <a:cubicBezTo>
                    <a:pt x="8962" y="16491"/>
                    <a:pt x="11949" y="14997"/>
                    <a:pt x="11949" y="12009"/>
                  </a:cubicBezTo>
                  <a:cubicBezTo>
                    <a:pt x="11949" y="9022"/>
                    <a:pt x="8962" y="4541"/>
                    <a:pt x="5975" y="1554"/>
                  </a:cubicBezTo>
                  <a:cubicBezTo>
                    <a:pt x="2987" y="-1433"/>
                    <a:pt x="0" y="61"/>
                    <a:pt x="0" y="4541"/>
                  </a:cubicBezTo>
                  <a:close/>
                </a:path>
              </a:pathLst>
            </a:custGeom>
            <a:solidFill>
              <a:srgbClr val="4D4D4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0" name="任意多边形: 形状 10369"/>
            <p:cNvSpPr/>
            <p:nvPr/>
          </p:nvSpPr>
          <p:spPr>
            <a:xfrm>
              <a:off x="7430410" y="5805229"/>
              <a:ext cx="14936" cy="14936"/>
            </a:xfrm>
            <a:custGeom>
              <a:avLst/>
              <a:gdLst>
                <a:gd name="connsiteX0" fmla="*/ 0 w 0"/>
                <a:gd name="connsiteY0" fmla="*/ 3573 h 0"/>
                <a:gd name="connsiteX1" fmla="*/ 5974 w 0"/>
                <a:gd name="connsiteY1" fmla="*/ 14029 h 0"/>
                <a:gd name="connsiteX2" fmla="*/ 11949 w 0"/>
                <a:gd name="connsiteY2" fmla="*/ 11042 h 0"/>
                <a:gd name="connsiteX3" fmla="*/ 5974 w 0"/>
                <a:gd name="connsiteY3" fmla="*/ 586 h 0"/>
                <a:gd name="connsiteX4" fmla="*/ 0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573"/>
                  </a:moveTo>
                  <a:cubicBezTo>
                    <a:pt x="0" y="6560"/>
                    <a:pt x="2987" y="11042"/>
                    <a:pt x="5974" y="14029"/>
                  </a:cubicBezTo>
                  <a:cubicBezTo>
                    <a:pt x="8962" y="15522"/>
                    <a:pt x="11949" y="14029"/>
                    <a:pt x="11949" y="11042"/>
                  </a:cubicBezTo>
                  <a:cubicBezTo>
                    <a:pt x="11949" y="8054"/>
                    <a:pt x="8962" y="3573"/>
                    <a:pt x="5974" y="586"/>
                  </a:cubicBezTo>
                  <a:cubicBezTo>
                    <a:pt x="2987" y="-908"/>
                    <a:pt x="0" y="586"/>
                    <a:pt x="0" y="3573"/>
                  </a:cubicBezTo>
                  <a:close/>
                </a:path>
              </a:pathLst>
            </a:custGeom>
            <a:solidFill>
              <a:srgbClr val="4D4D4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1" name="任意多边形: 形状 10370"/>
            <p:cNvSpPr/>
            <p:nvPr/>
          </p:nvSpPr>
          <p:spPr>
            <a:xfrm>
              <a:off x="7413980" y="5805815"/>
              <a:ext cx="14936" cy="14936"/>
            </a:xfrm>
            <a:custGeom>
              <a:avLst/>
              <a:gdLst>
                <a:gd name="connsiteX0" fmla="*/ 8962 w 14936"/>
                <a:gd name="connsiteY0" fmla="*/ 25392 h 14936"/>
                <a:gd name="connsiteX1" fmla="*/ 26885 w 14936"/>
                <a:gd name="connsiteY1" fmla="*/ 13443 h 14936"/>
                <a:gd name="connsiteX2" fmla="*/ 17924 w 14936"/>
                <a:gd name="connsiteY2" fmla="*/ 0 h 14936"/>
                <a:gd name="connsiteX3" fmla="*/ 0 w 14936"/>
                <a:gd name="connsiteY3" fmla="*/ 1045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8962" y="25392"/>
                  </a:moveTo>
                  <a:lnTo>
                    <a:pt x="26885" y="13443"/>
                  </a:lnTo>
                  <a:lnTo>
                    <a:pt x="17924" y="0"/>
                  </a:lnTo>
                  <a:lnTo>
                    <a:pt x="0" y="10456"/>
                  </a:lnTo>
                  <a:close/>
                </a:path>
              </a:pathLst>
            </a:custGeom>
            <a:solidFill>
              <a:srgbClr val="4D4D4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2" name="任意多边形: 形状 10371"/>
            <p:cNvSpPr/>
            <p:nvPr/>
          </p:nvSpPr>
          <p:spPr>
            <a:xfrm>
              <a:off x="7412486" y="5816210"/>
              <a:ext cx="14936" cy="14936"/>
            </a:xfrm>
            <a:custGeom>
              <a:avLst/>
              <a:gdLst>
                <a:gd name="connsiteX0" fmla="*/ 0 w 0"/>
                <a:gd name="connsiteY0" fmla="*/ 4541 h 14936"/>
                <a:gd name="connsiteX1" fmla="*/ 5975 w 0"/>
                <a:gd name="connsiteY1" fmla="*/ 14997 h 14936"/>
                <a:gd name="connsiteX2" fmla="*/ 11949 w 0"/>
                <a:gd name="connsiteY2" fmla="*/ 12009 h 14936"/>
                <a:gd name="connsiteX3" fmla="*/ 5975 w 0"/>
                <a:gd name="connsiteY3" fmla="*/ 1554 h 14936"/>
                <a:gd name="connsiteX4" fmla="*/ 0 w 0"/>
                <a:gd name="connsiteY4" fmla="*/ 4541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14936">
                  <a:moveTo>
                    <a:pt x="0" y="4541"/>
                  </a:moveTo>
                  <a:cubicBezTo>
                    <a:pt x="0" y="7529"/>
                    <a:pt x="2987" y="12009"/>
                    <a:pt x="5975" y="14997"/>
                  </a:cubicBezTo>
                  <a:cubicBezTo>
                    <a:pt x="8962" y="16491"/>
                    <a:pt x="11949" y="14997"/>
                    <a:pt x="11949" y="12009"/>
                  </a:cubicBezTo>
                  <a:cubicBezTo>
                    <a:pt x="11949" y="9022"/>
                    <a:pt x="8962" y="4541"/>
                    <a:pt x="5975" y="1554"/>
                  </a:cubicBezTo>
                  <a:cubicBezTo>
                    <a:pt x="2987" y="-1433"/>
                    <a:pt x="0" y="61"/>
                    <a:pt x="0" y="4541"/>
                  </a:cubicBezTo>
                  <a:close/>
                </a:path>
              </a:pathLst>
            </a:custGeom>
            <a:solidFill>
              <a:srgbClr val="4D4D4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3" name="任意多边形: 形状 10372"/>
            <p:cNvSpPr/>
            <p:nvPr/>
          </p:nvSpPr>
          <p:spPr>
            <a:xfrm>
              <a:off x="7430410" y="5805229"/>
              <a:ext cx="14936" cy="14936"/>
            </a:xfrm>
            <a:custGeom>
              <a:avLst/>
              <a:gdLst>
                <a:gd name="connsiteX0" fmla="*/ 0 w 0"/>
                <a:gd name="connsiteY0" fmla="*/ 3573 h 0"/>
                <a:gd name="connsiteX1" fmla="*/ 5974 w 0"/>
                <a:gd name="connsiteY1" fmla="*/ 14029 h 0"/>
                <a:gd name="connsiteX2" fmla="*/ 11949 w 0"/>
                <a:gd name="connsiteY2" fmla="*/ 11042 h 0"/>
                <a:gd name="connsiteX3" fmla="*/ 5974 w 0"/>
                <a:gd name="connsiteY3" fmla="*/ 586 h 0"/>
                <a:gd name="connsiteX4" fmla="*/ 0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573"/>
                  </a:moveTo>
                  <a:cubicBezTo>
                    <a:pt x="0" y="6560"/>
                    <a:pt x="2987" y="11042"/>
                    <a:pt x="5974" y="14029"/>
                  </a:cubicBezTo>
                  <a:cubicBezTo>
                    <a:pt x="8962" y="15522"/>
                    <a:pt x="11949" y="14029"/>
                    <a:pt x="11949" y="11042"/>
                  </a:cubicBezTo>
                  <a:cubicBezTo>
                    <a:pt x="11949" y="8054"/>
                    <a:pt x="8962" y="3573"/>
                    <a:pt x="5974" y="586"/>
                  </a:cubicBezTo>
                  <a:cubicBezTo>
                    <a:pt x="2987" y="-908"/>
                    <a:pt x="0" y="586"/>
                    <a:pt x="0" y="3573"/>
                  </a:cubicBezTo>
                  <a:close/>
                </a:path>
              </a:pathLst>
            </a:custGeom>
            <a:solidFill>
              <a:srgbClr val="4D4D4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4" name="任意多边形: 形状 10373"/>
            <p:cNvSpPr/>
            <p:nvPr/>
          </p:nvSpPr>
          <p:spPr>
            <a:xfrm>
              <a:off x="7412486" y="5820752"/>
              <a:ext cx="14936" cy="14936"/>
            </a:xfrm>
            <a:custGeom>
              <a:avLst/>
              <a:gdLst>
                <a:gd name="connsiteX0" fmla="*/ 0 w 0"/>
                <a:gd name="connsiteY0" fmla="*/ 0 h 14936"/>
                <a:gd name="connsiteX1" fmla="*/ 10455 w 0"/>
                <a:gd name="connsiteY1" fmla="*/ 0 h 14936"/>
                <a:gd name="connsiteX2" fmla="*/ 10455 w 0"/>
                <a:gd name="connsiteY2" fmla="*/ 20911 h 14936"/>
                <a:gd name="connsiteX3" fmla="*/ 0 w 0"/>
                <a:gd name="connsiteY3" fmla="*/ 20911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936">
                  <a:moveTo>
                    <a:pt x="0" y="0"/>
                  </a:moveTo>
                  <a:lnTo>
                    <a:pt x="10455" y="0"/>
                  </a:lnTo>
                  <a:lnTo>
                    <a:pt x="10455" y="20911"/>
                  </a:lnTo>
                  <a:lnTo>
                    <a:pt x="0" y="20911"/>
                  </a:lnTo>
                  <a:close/>
                </a:path>
              </a:pathLst>
            </a:custGeom>
            <a:solidFill>
              <a:srgbClr val="4D4D4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5" name="任意多边形: 形状 10374"/>
            <p:cNvSpPr/>
            <p:nvPr/>
          </p:nvSpPr>
          <p:spPr>
            <a:xfrm>
              <a:off x="7412486" y="5838675"/>
              <a:ext cx="14936" cy="14936"/>
            </a:xfrm>
            <a:custGeom>
              <a:avLst/>
              <a:gdLst>
                <a:gd name="connsiteX0" fmla="*/ 11949 w 0"/>
                <a:gd name="connsiteY0" fmla="*/ 2987 h 0"/>
                <a:gd name="connsiteX1" fmla="*/ 5975 w 0"/>
                <a:gd name="connsiteY1" fmla="*/ 5975 h 0"/>
                <a:gd name="connsiteX2" fmla="*/ 0 w 0"/>
                <a:gd name="connsiteY2" fmla="*/ 2987 h 0"/>
                <a:gd name="connsiteX3" fmla="*/ 5975 w 0"/>
                <a:gd name="connsiteY3" fmla="*/ 0 h 0"/>
                <a:gd name="connsiteX4" fmla="*/ 11949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1949" y="2987"/>
                  </a:moveTo>
                  <a:cubicBezTo>
                    <a:pt x="11949" y="4637"/>
                    <a:pt x="9274" y="5975"/>
                    <a:pt x="5975" y="5975"/>
                  </a:cubicBezTo>
                  <a:cubicBezTo>
                    <a:pt x="2675" y="5975"/>
                    <a:pt x="0" y="4637"/>
                    <a:pt x="0" y="2987"/>
                  </a:cubicBezTo>
                  <a:cubicBezTo>
                    <a:pt x="0" y="1337"/>
                    <a:pt x="2675" y="0"/>
                    <a:pt x="5975" y="0"/>
                  </a:cubicBezTo>
                  <a:cubicBezTo>
                    <a:pt x="9274" y="0"/>
                    <a:pt x="11949" y="1337"/>
                    <a:pt x="11949" y="2987"/>
                  </a:cubicBezTo>
                  <a:close/>
                </a:path>
              </a:pathLst>
            </a:custGeom>
            <a:solidFill>
              <a:srgbClr val="4D4D4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6" name="任意多边形: 形状 10375"/>
            <p:cNvSpPr/>
            <p:nvPr/>
          </p:nvSpPr>
          <p:spPr>
            <a:xfrm>
              <a:off x="7423374" y="5605211"/>
              <a:ext cx="74682" cy="164300"/>
            </a:xfrm>
            <a:custGeom>
              <a:avLst/>
              <a:gdLst>
                <a:gd name="connsiteX0" fmla="*/ 1060 w 74681"/>
                <a:gd name="connsiteY0" fmla="*/ 143847 h 164299"/>
                <a:gd name="connsiteX1" fmla="*/ 42882 w 74681"/>
                <a:gd name="connsiteY1" fmla="*/ 178200 h 164299"/>
                <a:gd name="connsiteX2" fmla="*/ 62299 w 74681"/>
                <a:gd name="connsiteY2" fmla="*/ 152808 h 164299"/>
                <a:gd name="connsiteX3" fmla="*/ 78729 w 74681"/>
                <a:gd name="connsiteY3" fmla="*/ 34811 h 164299"/>
                <a:gd name="connsiteX4" fmla="*/ 51844 w 74681"/>
                <a:gd name="connsiteY4" fmla="*/ 458 h 164299"/>
                <a:gd name="connsiteX5" fmla="*/ 51844 w 74681"/>
                <a:gd name="connsiteY5" fmla="*/ 458 h 164299"/>
                <a:gd name="connsiteX6" fmla="*/ 17490 w 74681"/>
                <a:gd name="connsiteY6" fmla="*/ 27343 h 164299"/>
                <a:gd name="connsiteX7" fmla="*/ 1060 w 74681"/>
                <a:gd name="connsiteY7" fmla="*/ 143847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164299">
                  <a:moveTo>
                    <a:pt x="1060" y="143847"/>
                  </a:moveTo>
                  <a:cubicBezTo>
                    <a:pt x="-7901" y="184174"/>
                    <a:pt x="42882" y="178200"/>
                    <a:pt x="42882" y="178200"/>
                  </a:cubicBezTo>
                  <a:cubicBezTo>
                    <a:pt x="54831" y="176706"/>
                    <a:pt x="59312" y="169238"/>
                    <a:pt x="62299" y="152808"/>
                  </a:cubicBezTo>
                  <a:lnTo>
                    <a:pt x="78729" y="34811"/>
                  </a:lnTo>
                  <a:cubicBezTo>
                    <a:pt x="81717" y="18381"/>
                    <a:pt x="69768" y="1951"/>
                    <a:pt x="51844" y="458"/>
                  </a:cubicBezTo>
                  <a:lnTo>
                    <a:pt x="51844" y="458"/>
                  </a:lnTo>
                  <a:cubicBezTo>
                    <a:pt x="35414" y="-2530"/>
                    <a:pt x="18984" y="9419"/>
                    <a:pt x="17490" y="27343"/>
                  </a:cubicBezTo>
                  <a:lnTo>
                    <a:pt x="1060" y="143847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7" name="任意多边形: 形状 10376"/>
            <p:cNvSpPr/>
            <p:nvPr/>
          </p:nvSpPr>
          <p:spPr>
            <a:xfrm>
              <a:off x="7346766" y="5422885"/>
              <a:ext cx="59745" cy="29873"/>
            </a:xfrm>
            <a:custGeom>
              <a:avLst/>
              <a:gdLst>
                <a:gd name="connsiteX0" fmla="*/ 1494 w 59745"/>
                <a:gd name="connsiteY0" fmla="*/ 24458 h 29872"/>
                <a:gd name="connsiteX1" fmla="*/ 8962 w 59745"/>
                <a:gd name="connsiteY1" fmla="*/ 31926 h 29872"/>
                <a:gd name="connsiteX2" fmla="*/ 53771 w 59745"/>
                <a:gd name="connsiteY2" fmla="*/ 31926 h 29872"/>
                <a:gd name="connsiteX3" fmla="*/ 53771 w 59745"/>
                <a:gd name="connsiteY3" fmla="*/ 6535 h 29872"/>
                <a:gd name="connsiteX4" fmla="*/ 44809 w 59745"/>
                <a:gd name="connsiteY4" fmla="*/ 2054 h 29872"/>
                <a:gd name="connsiteX5" fmla="*/ 38835 w 59745"/>
                <a:gd name="connsiteY5" fmla="*/ 560 h 29872"/>
                <a:gd name="connsiteX6" fmla="*/ 8962 w 59745"/>
                <a:gd name="connsiteY6" fmla="*/ 5041 h 29872"/>
                <a:gd name="connsiteX7" fmla="*/ 0 w 59745"/>
                <a:gd name="connsiteY7" fmla="*/ 14003 h 29872"/>
                <a:gd name="connsiteX8" fmla="*/ 1494 w 59745"/>
                <a:gd name="connsiteY8" fmla="*/ 24458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9872">
                  <a:moveTo>
                    <a:pt x="1494" y="24458"/>
                  </a:moveTo>
                  <a:cubicBezTo>
                    <a:pt x="2987" y="27446"/>
                    <a:pt x="5974" y="30433"/>
                    <a:pt x="8962" y="31926"/>
                  </a:cubicBezTo>
                  <a:cubicBezTo>
                    <a:pt x="20911" y="39395"/>
                    <a:pt x="41822" y="39395"/>
                    <a:pt x="53771" y="31926"/>
                  </a:cubicBezTo>
                  <a:cubicBezTo>
                    <a:pt x="65720" y="24458"/>
                    <a:pt x="65720" y="12509"/>
                    <a:pt x="53771" y="6535"/>
                  </a:cubicBezTo>
                  <a:cubicBezTo>
                    <a:pt x="50783" y="5041"/>
                    <a:pt x="47796" y="3547"/>
                    <a:pt x="44809" y="2054"/>
                  </a:cubicBezTo>
                  <a:cubicBezTo>
                    <a:pt x="43315" y="2054"/>
                    <a:pt x="41822" y="560"/>
                    <a:pt x="38835" y="560"/>
                  </a:cubicBezTo>
                  <a:cubicBezTo>
                    <a:pt x="28379" y="-933"/>
                    <a:pt x="16430" y="560"/>
                    <a:pt x="8962" y="5041"/>
                  </a:cubicBezTo>
                  <a:cubicBezTo>
                    <a:pt x="4481" y="8028"/>
                    <a:pt x="1494" y="11016"/>
                    <a:pt x="0" y="14003"/>
                  </a:cubicBezTo>
                  <a:cubicBezTo>
                    <a:pt x="0" y="18484"/>
                    <a:pt x="0" y="21471"/>
                    <a:pt x="1494" y="24458"/>
                  </a:cubicBezTo>
                  <a:close/>
                </a:path>
              </a:pathLst>
            </a:custGeom>
            <a:solidFill>
              <a:srgbClr val="FFBE63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8" name="任意多边形: 形状 10377"/>
            <p:cNvSpPr/>
            <p:nvPr/>
          </p:nvSpPr>
          <p:spPr>
            <a:xfrm>
              <a:off x="7346766" y="5359219"/>
              <a:ext cx="59745" cy="74682"/>
            </a:xfrm>
            <a:custGeom>
              <a:avLst/>
              <a:gdLst>
                <a:gd name="connsiteX0" fmla="*/ 0 w 59745"/>
                <a:gd name="connsiteY0" fmla="*/ 0 h 74681"/>
                <a:gd name="connsiteX1" fmla="*/ 64226 w 59745"/>
                <a:gd name="connsiteY1" fmla="*/ 0 h 74681"/>
                <a:gd name="connsiteX2" fmla="*/ 64226 w 59745"/>
                <a:gd name="connsiteY2" fmla="*/ 82150 h 74681"/>
                <a:gd name="connsiteX3" fmla="*/ 0 w 59745"/>
                <a:gd name="connsiteY3" fmla="*/ 8215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74681">
                  <a:moveTo>
                    <a:pt x="0" y="0"/>
                  </a:moveTo>
                  <a:lnTo>
                    <a:pt x="64226" y="0"/>
                  </a:lnTo>
                  <a:lnTo>
                    <a:pt x="64226" y="82150"/>
                  </a:lnTo>
                  <a:lnTo>
                    <a:pt x="0" y="82150"/>
                  </a:lnTo>
                  <a:close/>
                </a:path>
              </a:pathLst>
            </a:custGeom>
            <a:solidFill>
              <a:srgbClr val="FFBE63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9" name="任意多边形: 形状 10378"/>
            <p:cNvSpPr/>
            <p:nvPr/>
          </p:nvSpPr>
          <p:spPr>
            <a:xfrm>
              <a:off x="7322919" y="5299093"/>
              <a:ext cx="74682" cy="119491"/>
            </a:xfrm>
            <a:custGeom>
              <a:avLst/>
              <a:gdLst>
                <a:gd name="connsiteX0" fmla="*/ 77618 w 74681"/>
                <a:gd name="connsiteY0" fmla="*/ 64607 h 119490"/>
                <a:gd name="connsiteX1" fmla="*/ 74630 w 74681"/>
                <a:gd name="connsiteY1" fmla="*/ 91492 h 119490"/>
                <a:gd name="connsiteX2" fmla="*/ 62682 w 74681"/>
                <a:gd name="connsiteY2" fmla="*/ 115391 h 119490"/>
                <a:gd name="connsiteX3" fmla="*/ 25341 w 74681"/>
                <a:gd name="connsiteY3" fmla="*/ 127340 h 119490"/>
                <a:gd name="connsiteX4" fmla="*/ 16379 w 74681"/>
                <a:gd name="connsiteY4" fmla="*/ 124352 h 119490"/>
                <a:gd name="connsiteX5" fmla="*/ 7417 w 74681"/>
                <a:gd name="connsiteY5" fmla="*/ 107923 h 119490"/>
                <a:gd name="connsiteX6" fmla="*/ 1442 w 74681"/>
                <a:gd name="connsiteY6" fmla="*/ 31747 h 119490"/>
                <a:gd name="connsiteX7" fmla="*/ 2936 w 74681"/>
                <a:gd name="connsiteY7" fmla="*/ 19798 h 119490"/>
                <a:gd name="connsiteX8" fmla="*/ 28328 w 74681"/>
                <a:gd name="connsiteY8" fmla="*/ 381 h 119490"/>
                <a:gd name="connsiteX9" fmla="*/ 61188 w 74681"/>
                <a:gd name="connsiteY9" fmla="*/ 7849 h 119490"/>
                <a:gd name="connsiteX10" fmla="*/ 68656 w 74681"/>
                <a:gd name="connsiteY10" fmla="*/ 12330 h 119490"/>
                <a:gd name="connsiteX11" fmla="*/ 74630 w 74681"/>
                <a:gd name="connsiteY11" fmla="*/ 19798 h 119490"/>
                <a:gd name="connsiteX12" fmla="*/ 77618 w 74681"/>
                <a:gd name="connsiteY12" fmla="*/ 64607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77618" y="64607"/>
                  </a:moveTo>
                  <a:cubicBezTo>
                    <a:pt x="77618" y="73569"/>
                    <a:pt x="76124" y="82531"/>
                    <a:pt x="74630" y="91492"/>
                  </a:cubicBezTo>
                  <a:cubicBezTo>
                    <a:pt x="73137" y="100454"/>
                    <a:pt x="68656" y="109416"/>
                    <a:pt x="62682" y="115391"/>
                  </a:cubicBezTo>
                  <a:cubicBezTo>
                    <a:pt x="53720" y="125846"/>
                    <a:pt x="38783" y="130327"/>
                    <a:pt x="25341" y="127340"/>
                  </a:cubicBezTo>
                  <a:cubicBezTo>
                    <a:pt x="22353" y="127340"/>
                    <a:pt x="19366" y="125846"/>
                    <a:pt x="16379" y="124352"/>
                  </a:cubicBezTo>
                  <a:cubicBezTo>
                    <a:pt x="11898" y="121365"/>
                    <a:pt x="8911" y="113897"/>
                    <a:pt x="7417" y="107923"/>
                  </a:cubicBezTo>
                  <a:cubicBezTo>
                    <a:pt x="-51" y="82531"/>
                    <a:pt x="-1545" y="57139"/>
                    <a:pt x="1442" y="31747"/>
                  </a:cubicBezTo>
                  <a:cubicBezTo>
                    <a:pt x="1442" y="27266"/>
                    <a:pt x="1442" y="24279"/>
                    <a:pt x="2936" y="19798"/>
                  </a:cubicBezTo>
                  <a:cubicBezTo>
                    <a:pt x="5923" y="9343"/>
                    <a:pt x="17873" y="1874"/>
                    <a:pt x="28328" y="381"/>
                  </a:cubicBezTo>
                  <a:cubicBezTo>
                    <a:pt x="40277" y="-1113"/>
                    <a:pt x="50732" y="1874"/>
                    <a:pt x="61188" y="7849"/>
                  </a:cubicBezTo>
                  <a:cubicBezTo>
                    <a:pt x="64175" y="9343"/>
                    <a:pt x="67162" y="10836"/>
                    <a:pt x="68656" y="12330"/>
                  </a:cubicBezTo>
                  <a:cubicBezTo>
                    <a:pt x="70150" y="13823"/>
                    <a:pt x="71643" y="16811"/>
                    <a:pt x="74630" y="19798"/>
                  </a:cubicBezTo>
                  <a:cubicBezTo>
                    <a:pt x="77618" y="24279"/>
                    <a:pt x="77618" y="51164"/>
                    <a:pt x="77618" y="6460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0" name="任意多边形: 形状 10379"/>
            <p:cNvSpPr/>
            <p:nvPr/>
          </p:nvSpPr>
          <p:spPr>
            <a:xfrm>
              <a:off x="7322919" y="5309548"/>
              <a:ext cx="74682" cy="119491"/>
            </a:xfrm>
            <a:custGeom>
              <a:avLst/>
              <a:gdLst>
                <a:gd name="connsiteX0" fmla="*/ 77618 w 74681"/>
                <a:gd name="connsiteY0" fmla="*/ 64607 h 119490"/>
                <a:gd name="connsiteX1" fmla="*/ 74630 w 74681"/>
                <a:gd name="connsiteY1" fmla="*/ 91492 h 119490"/>
                <a:gd name="connsiteX2" fmla="*/ 62682 w 74681"/>
                <a:gd name="connsiteY2" fmla="*/ 115390 h 119490"/>
                <a:gd name="connsiteX3" fmla="*/ 25341 w 74681"/>
                <a:gd name="connsiteY3" fmla="*/ 127340 h 119490"/>
                <a:gd name="connsiteX4" fmla="*/ 16379 w 74681"/>
                <a:gd name="connsiteY4" fmla="*/ 124352 h 119490"/>
                <a:gd name="connsiteX5" fmla="*/ 7417 w 74681"/>
                <a:gd name="connsiteY5" fmla="*/ 107922 h 119490"/>
                <a:gd name="connsiteX6" fmla="*/ 1442 w 74681"/>
                <a:gd name="connsiteY6" fmla="*/ 31747 h 119490"/>
                <a:gd name="connsiteX7" fmla="*/ 2936 w 74681"/>
                <a:gd name="connsiteY7" fmla="*/ 19798 h 119490"/>
                <a:gd name="connsiteX8" fmla="*/ 28328 w 74681"/>
                <a:gd name="connsiteY8" fmla="*/ 381 h 119490"/>
                <a:gd name="connsiteX9" fmla="*/ 61188 w 74681"/>
                <a:gd name="connsiteY9" fmla="*/ 7849 h 119490"/>
                <a:gd name="connsiteX10" fmla="*/ 68656 w 74681"/>
                <a:gd name="connsiteY10" fmla="*/ 12330 h 119490"/>
                <a:gd name="connsiteX11" fmla="*/ 74630 w 74681"/>
                <a:gd name="connsiteY11" fmla="*/ 19798 h 119490"/>
                <a:gd name="connsiteX12" fmla="*/ 77618 w 74681"/>
                <a:gd name="connsiteY12" fmla="*/ 64607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77618" y="64607"/>
                  </a:moveTo>
                  <a:cubicBezTo>
                    <a:pt x="77618" y="73569"/>
                    <a:pt x="76124" y="82531"/>
                    <a:pt x="74630" y="91492"/>
                  </a:cubicBezTo>
                  <a:cubicBezTo>
                    <a:pt x="73137" y="100454"/>
                    <a:pt x="68656" y="109416"/>
                    <a:pt x="62682" y="115390"/>
                  </a:cubicBezTo>
                  <a:cubicBezTo>
                    <a:pt x="53720" y="125846"/>
                    <a:pt x="38783" y="130327"/>
                    <a:pt x="25341" y="127340"/>
                  </a:cubicBezTo>
                  <a:cubicBezTo>
                    <a:pt x="22353" y="127340"/>
                    <a:pt x="19366" y="125846"/>
                    <a:pt x="16379" y="124352"/>
                  </a:cubicBezTo>
                  <a:cubicBezTo>
                    <a:pt x="11898" y="121365"/>
                    <a:pt x="8911" y="113897"/>
                    <a:pt x="7417" y="107922"/>
                  </a:cubicBezTo>
                  <a:cubicBezTo>
                    <a:pt x="-51" y="82531"/>
                    <a:pt x="-1545" y="57139"/>
                    <a:pt x="1442" y="31747"/>
                  </a:cubicBezTo>
                  <a:cubicBezTo>
                    <a:pt x="1442" y="27266"/>
                    <a:pt x="1442" y="24278"/>
                    <a:pt x="2936" y="19798"/>
                  </a:cubicBezTo>
                  <a:cubicBezTo>
                    <a:pt x="5923" y="9342"/>
                    <a:pt x="17873" y="1874"/>
                    <a:pt x="28328" y="381"/>
                  </a:cubicBezTo>
                  <a:cubicBezTo>
                    <a:pt x="40277" y="-1113"/>
                    <a:pt x="50732" y="1874"/>
                    <a:pt x="61188" y="7849"/>
                  </a:cubicBezTo>
                  <a:cubicBezTo>
                    <a:pt x="64175" y="9342"/>
                    <a:pt x="67162" y="10836"/>
                    <a:pt x="68656" y="12330"/>
                  </a:cubicBezTo>
                  <a:cubicBezTo>
                    <a:pt x="70150" y="13823"/>
                    <a:pt x="71643" y="16810"/>
                    <a:pt x="74630" y="19798"/>
                  </a:cubicBezTo>
                  <a:cubicBezTo>
                    <a:pt x="77618" y="22785"/>
                    <a:pt x="77618" y="51164"/>
                    <a:pt x="77618" y="64607"/>
                  </a:cubicBezTo>
                  <a:close/>
                </a:path>
              </a:pathLst>
            </a:custGeom>
            <a:solidFill>
              <a:srgbClr val="FFBE63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1" name="任意多边形: 形状 10380"/>
            <p:cNvSpPr/>
            <p:nvPr/>
          </p:nvSpPr>
          <p:spPr>
            <a:xfrm>
              <a:off x="7347139" y="5368181"/>
              <a:ext cx="44809" cy="74682"/>
            </a:xfrm>
            <a:custGeom>
              <a:avLst/>
              <a:gdLst>
                <a:gd name="connsiteX0" fmla="*/ 1120 w 44809"/>
                <a:gd name="connsiteY0" fmla="*/ 79162 h 74681"/>
                <a:gd name="connsiteX1" fmla="*/ 38461 w 44809"/>
                <a:gd name="connsiteY1" fmla="*/ 67214 h 74681"/>
                <a:gd name="connsiteX2" fmla="*/ 45929 w 44809"/>
                <a:gd name="connsiteY2" fmla="*/ 56758 h 74681"/>
                <a:gd name="connsiteX3" fmla="*/ 50410 w 44809"/>
                <a:gd name="connsiteY3" fmla="*/ 43315 h 74681"/>
                <a:gd name="connsiteX4" fmla="*/ 53397 w 44809"/>
                <a:gd name="connsiteY4" fmla="*/ 16430 h 74681"/>
                <a:gd name="connsiteX5" fmla="*/ 53397 w 44809"/>
                <a:gd name="connsiteY5" fmla="*/ 0 h 74681"/>
                <a:gd name="connsiteX6" fmla="*/ 53397 w 44809"/>
                <a:gd name="connsiteY6" fmla="*/ 5974 h 74681"/>
                <a:gd name="connsiteX7" fmla="*/ 50410 w 44809"/>
                <a:gd name="connsiteY7" fmla="*/ 32860 h 74681"/>
                <a:gd name="connsiteX8" fmla="*/ 39955 w 44809"/>
                <a:gd name="connsiteY8" fmla="*/ 55264 h 74681"/>
                <a:gd name="connsiteX9" fmla="*/ 38461 w 44809"/>
                <a:gd name="connsiteY9" fmla="*/ 56758 h 74681"/>
                <a:gd name="connsiteX10" fmla="*/ 1120 w 44809"/>
                <a:gd name="connsiteY10" fmla="*/ 68707 h 74681"/>
                <a:gd name="connsiteX11" fmla="*/ 1120 w 44809"/>
                <a:gd name="connsiteY11" fmla="*/ 68707 h 74681"/>
                <a:gd name="connsiteX12" fmla="*/ 1120 w 44809"/>
                <a:gd name="connsiteY12" fmla="*/ 79162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09" h="74681">
                  <a:moveTo>
                    <a:pt x="1120" y="79162"/>
                  </a:moveTo>
                  <a:cubicBezTo>
                    <a:pt x="14563" y="82150"/>
                    <a:pt x="28006" y="77669"/>
                    <a:pt x="38461" y="67214"/>
                  </a:cubicBezTo>
                  <a:cubicBezTo>
                    <a:pt x="41448" y="64226"/>
                    <a:pt x="42942" y="61239"/>
                    <a:pt x="45929" y="56758"/>
                  </a:cubicBezTo>
                  <a:cubicBezTo>
                    <a:pt x="48917" y="52277"/>
                    <a:pt x="50410" y="47796"/>
                    <a:pt x="50410" y="43315"/>
                  </a:cubicBezTo>
                  <a:cubicBezTo>
                    <a:pt x="51904" y="34353"/>
                    <a:pt x="53397" y="25392"/>
                    <a:pt x="53397" y="16430"/>
                  </a:cubicBezTo>
                  <a:cubicBezTo>
                    <a:pt x="53397" y="11949"/>
                    <a:pt x="53397" y="5974"/>
                    <a:pt x="53397" y="0"/>
                  </a:cubicBezTo>
                  <a:cubicBezTo>
                    <a:pt x="53397" y="2987"/>
                    <a:pt x="53397" y="4481"/>
                    <a:pt x="53397" y="5974"/>
                  </a:cubicBezTo>
                  <a:cubicBezTo>
                    <a:pt x="53397" y="14936"/>
                    <a:pt x="51904" y="23898"/>
                    <a:pt x="50410" y="32860"/>
                  </a:cubicBezTo>
                  <a:cubicBezTo>
                    <a:pt x="48917" y="41822"/>
                    <a:pt x="45929" y="49290"/>
                    <a:pt x="39955" y="55264"/>
                  </a:cubicBezTo>
                  <a:cubicBezTo>
                    <a:pt x="39955" y="55264"/>
                    <a:pt x="38461" y="56758"/>
                    <a:pt x="38461" y="56758"/>
                  </a:cubicBezTo>
                  <a:cubicBezTo>
                    <a:pt x="29499" y="67214"/>
                    <a:pt x="14563" y="71694"/>
                    <a:pt x="1120" y="68707"/>
                  </a:cubicBezTo>
                  <a:cubicBezTo>
                    <a:pt x="1120" y="68707"/>
                    <a:pt x="1120" y="68707"/>
                    <a:pt x="1120" y="68707"/>
                  </a:cubicBezTo>
                  <a:cubicBezTo>
                    <a:pt x="-373" y="73188"/>
                    <a:pt x="-373" y="76175"/>
                    <a:pt x="1120" y="79162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2" name="任意多边形: 形状 10381"/>
            <p:cNvSpPr/>
            <p:nvPr/>
          </p:nvSpPr>
          <p:spPr>
            <a:xfrm>
              <a:off x="7321374" y="5292005"/>
              <a:ext cx="104554" cy="119491"/>
            </a:xfrm>
            <a:custGeom>
              <a:avLst/>
              <a:gdLst>
                <a:gd name="connsiteX0" fmla="*/ 74682 w 104554"/>
                <a:gd name="connsiteY0" fmla="*/ 79162 h 119490"/>
                <a:gd name="connsiteX1" fmla="*/ 83643 w 104554"/>
                <a:gd name="connsiteY1" fmla="*/ 74682 h 119490"/>
                <a:gd name="connsiteX2" fmla="*/ 79163 w 104554"/>
                <a:gd name="connsiteY2" fmla="*/ 119491 h 119490"/>
                <a:gd name="connsiteX3" fmla="*/ 80656 w 104554"/>
                <a:gd name="connsiteY3" fmla="*/ 125465 h 119490"/>
                <a:gd name="connsiteX4" fmla="*/ 85137 w 104554"/>
                <a:gd name="connsiteY4" fmla="*/ 126959 h 119490"/>
                <a:gd name="connsiteX5" fmla="*/ 100073 w 104554"/>
                <a:gd name="connsiteY5" fmla="*/ 117997 h 119490"/>
                <a:gd name="connsiteX6" fmla="*/ 106048 w 104554"/>
                <a:gd name="connsiteY6" fmla="*/ 101567 h 119490"/>
                <a:gd name="connsiteX7" fmla="*/ 109035 w 104554"/>
                <a:gd name="connsiteY7" fmla="*/ 79162 h 119490"/>
                <a:gd name="connsiteX8" fmla="*/ 107542 w 104554"/>
                <a:gd name="connsiteY8" fmla="*/ 32860 h 119490"/>
                <a:gd name="connsiteX9" fmla="*/ 85137 w 104554"/>
                <a:gd name="connsiteY9" fmla="*/ 7468 h 119490"/>
                <a:gd name="connsiteX10" fmla="*/ 49290 w 104554"/>
                <a:gd name="connsiteY10" fmla="*/ 0 h 119490"/>
                <a:gd name="connsiteX11" fmla="*/ 20911 w 104554"/>
                <a:gd name="connsiteY11" fmla="*/ 7468 h 119490"/>
                <a:gd name="connsiteX12" fmla="*/ 1493 w 104554"/>
                <a:gd name="connsiteY12" fmla="*/ 29873 h 119490"/>
                <a:gd name="connsiteX13" fmla="*/ 0 w 104554"/>
                <a:gd name="connsiteY13" fmla="*/ 41822 h 119490"/>
                <a:gd name="connsiteX14" fmla="*/ 17924 w 104554"/>
                <a:gd name="connsiteY14" fmla="*/ 56758 h 119490"/>
                <a:gd name="connsiteX15" fmla="*/ 58252 w 104554"/>
                <a:gd name="connsiteY15" fmla="*/ 53771 h 119490"/>
                <a:gd name="connsiteX16" fmla="*/ 65720 w 104554"/>
                <a:gd name="connsiteY16" fmla="*/ 50783 h 119490"/>
                <a:gd name="connsiteX17" fmla="*/ 73188 w 104554"/>
                <a:gd name="connsiteY17" fmla="*/ 53771 h 119490"/>
                <a:gd name="connsiteX18" fmla="*/ 74682 w 104554"/>
                <a:gd name="connsiteY18" fmla="*/ 58252 h 119490"/>
                <a:gd name="connsiteX19" fmla="*/ 74682 w 104554"/>
                <a:gd name="connsiteY19" fmla="*/ 79162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4554" h="119490">
                  <a:moveTo>
                    <a:pt x="74682" y="79162"/>
                  </a:moveTo>
                  <a:cubicBezTo>
                    <a:pt x="74682" y="79162"/>
                    <a:pt x="80656" y="76175"/>
                    <a:pt x="83643" y="74682"/>
                  </a:cubicBezTo>
                  <a:cubicBezTo>
                    <a:pt x="79163" y="89618"/>
                    <a:pt x="77669" y="104554"/>
                    <a:pt x="79163" y="119491"/>
                  </a:cubicBezTo>
                  <a:cubicBezTo>
                    <a:pt x="79163" y="120984"/>
                    <a:pt x="79163" y="123971"/>
                    <a:pt x="80656" y="125465"/>
                  </a:cubicBezTo>
                  <a:cubicBezTo>
                    <a:pt x="82150" y="126959"/>
                    <a:pt x="83643" y="126959"/>
                    <a:pt x="85137" y="126959"/>
                  </a:cubicBezTo>
                  <a:cubicBezTo>
                    <a:pt x="91112" y="126959"/>
                    <a:pt x="97086" y="123971"/>
                    <a:pt x="100073" y="117997"/>
                  </a:cubicBezTo>
                  <a:cubicBezTo>
                    <a:pt x="103061" y="113516"/>
                    <a:pt x="104554" y="107542"/>
                    <a:pt x="106048" y="101567"/>
                  </a:cubicBezTo>
                  <a:cubicBezTo>
                    <a:pt x="107542" y="94099"/>
                    <a:pt x="109035" y="86631"/>
                    <a:pt x="109035" y="79162"/>
                  </a:cubicBezTo>
                  <a:cubicBezTo>
                    <a:pt x="110529" y="64226"/>
                    <a:pt x="113516" y="47796"/>
                    <a:pt x="107542" y="32860"/>
                  </a:cubicBezTo>
                  <a:cubicBezTo>
                    <a:pt x="103061" y="22405"/>
                    <a:pt x="95593" y="13443"/>
                    <a:pt x="85137" y="7468"/>
                  </a:cubicBezTo>
                  <a:cubicBezTo>
                    <a:pt x="74682" y="1494"/>
                    <a:pt x="61239" y="0"/>
                    <a:pt x="49290" y="0"/>
                  </a:cubicBezTo>
                  <a:cubicBezTo>
                    <a:pt x="38834" y="0"/>
                    <a:pt x="29873" y="1494"/>
                    <a:pt x="20911" y="7468"/>
                  </a:cubicBezTo>
                  <a:cubicBezTo>
                    <a:pt x="11949" y="11949"/>
                    <a:pt x="4481" y="19417"/>
                    <a:pt x="1493" y="29873"/>
                  </a:cubicBezTo>
                  <a:cubicBezTo>
                    <a:pt x="0" y="34353"/>
                    <a:pt x="0" y="38835"/>
                    <a:pt x="0" y="41822"/>
                  </a:cubicBezTo>
                  <a:cubicBezTo>
                    <a:pt x="2987" y="49290"/>
                    <a:pt x="10455" y="53771"/>
                    <a:pt x="17924" y="56758"/>
                  </a:cubicBezTo>
                  <a:cubicBezTo>
                    <a:pt x="31366" y="59745"/>
                    <a:pt x="46303" y="58252"/>
                    <a:pt x="58252" y="53771"/>
                  </a:cubicBezTo>
                  <a:cubicBezTo>
                    <a:pt x="61239" y="52277"/>
                    <a:pt x="62733" y="50783"/>
                    <a:pt x="65720" y="50783"/>
                  </a:cubicBezTo>
                  <a:cubicBezTo>
                    <a:pt x="68707" y="50783"/>
                    <a:pt x="71694" y="50783"/>
                    <a:pt x="73188" y="53771"/>
                  </a:cubicBezTo>
                  <a:cubicBezTo>
                    <a:pt x="73188" y="55265"/>
                    <a:pt x="74682" y="56758"/>
                    <a:pt x="74682" y="58252"/>
                  </a:cubicBezTo>
                  <a:cubicBezTo>
                    <a:pt x="74682" y="61239"/>
                    <a:pt x="74682" y="79162"/>
                    <a:pt x="74682" y="79162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3" name="任意多边形: 形状 10382"/>
            <p:cNvSpPr/>
            <p:nvPr/>
          </p:nvSpPr>
          <p:spPr>
            <a:xfrm>
              <a:off x="7393898" y="5359219"/>
              <a:ext cx="14936" cy="29873"/>
            </a:xfrm>
            <a:custGeom>
              <a:avLst/>
              <a:gdLst>
                <a:gd name="connsiteX0" fmla="*/ 11119 w 14936"/>
                <a:gd name="connsiteY0" fmla="*/ 0 h 29872"/>
                <a:gd name="connsiteX1" fmla="*/ 3651 w 14936"/>
                <a:gd name="connsiteY1" fmla="*/ 5974 h 29872"/>
                <a:gd name="connsiteX2" fmla="*/ 664 w 14936"/>
                <a:gd name="connsiteY2" fmla="*/ 17924 h 29872"/>
                <a:gd name="connsiteX3" fmla="*/ 664 w 14936"/>
                <a:gd name="connsiteY3" fmla="*/ 32860 h 29872"/>
                <a:gd name="connsiteX4" fmla="*/ 3651 w 14936"/>
                <a:gd name="connsiteY4" fmla="*/ 35847 h 29872"/>
                <a:gd name="connsiteX5" fmla="*/ 9626 w 14936"/>
                <a:gd name="connsiteY5" fmla="*/ 34353 h 29872"/>
                <a:gd name="connsiteX6" fmla="*/ 12613 w 14936"/>
                <a:gd name="connsiteY6" fmla="*/ 28379 h 29872"/>
                <a:gd name="connsiteX7" fmla="*/ 17094 w 14936"/>
                <a:gd name="connsiteY7" fmla="*/ 10456 h 29872"/>
                <a:gd name="connsiteX8" fmla="*/ 17094 w 14936"/>
                <a:gd name="connsiteY8" fmla="*/ 2987 h 29872"/>
                <a:gd name="connsiteX9" fmla="*/ 11119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11119" y="0"/>
                  </a:moveTo>
                  <a:cubicBezTo>
                    <a:pt x="8132" y="0"/>
                    <a:pt x="5145" y="2987"/>
                    <a:pt x="3651" y="5974"/>
                  </a:cubicBezTo>
                  <a:cubicBezTo>
                    <a:pt x="2158" y="8962"/>
                    <a:pt x="664" y="13443"/>
                    <a:pt x="664" y="17924"/>
                  </a:cubicBezTo>
                  <a:cubicBezTo>
                    <a:pt x="664" y="22405"/>
                    <a:pt x="-830" y="28379"/>
                    <a:pt x="664" y="32860"/>
                  </a:cubicBezTo>
                  <a:cubicBezTo>
                    <a:pt x="664" y="34353"/>
                    <a:pt x="2158" y="35847"/>
                    <a:pt x="3651" y="35847"/>
                  </a:cubicBezTo>
                  <a:cubicBezTo>
                    <a:pt x="5145" y="37341"/>
                    <a:pt x="8132" y="35847"/>
                    <a:pt x="9626" y="34353"/>
                  </a:cubicBezTo>
                  <a:cubicBezTo>
                    <a:pt x="11119" y="32860"/>
                    <a:pt x="12613" y="31366"/>
                    <a:pt x="12613" y="28379"/>
                  </a:cubicBezTo>
                  <a:cubicBezTo>
                    <a:pt x="14107" y="22405"/>
                    <a:pt x="15600" y="16430"/>
                    <a:pt x="17094" y="10456"/>
                  </a:cubicBezTo>
                  <a:cubicBezTo>
                    <a:pt x="17094" y="7468"/>
                    <a:pt x="17094" y="5974"/>
                    <a:pt x="17094" y="2987"/>
                  </a:cubicBezTo>
                  <a:cubicBezTo>
                    <a:pt x="15600" y="2987"/>
                    <a:pt x="14107" y="0"/>
                    <a:pt x="11119" y="0"/>
                  </a:cubicBezTo>
                  <a:close/>
                </a:path>
              </a:pathLst>
            </a:custGeom>
            <a:solidFill>
              <a:srgbClr val="FFBE63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4" name="任意多边形: 形状 10383"/>
            <p:cNvSpPr/>
            <p:nvPr/>
          </p:nvSpPr>
          <p:spPr>
            <a:xfrm>
              <a:off x="7259154" y="3155444"/>
              <a:ext cx="14936" cy="29873"/>
            </a:xfrm>
            <a:custGeom>
              <a:avLst/>
              <a:gdLst>
                <a:gd name="connsiteX0" fmla="*/ 981 w 14936"/>
                <a:gd name="connsiteY0" fmla="*/ 6638 h 29872"/>
                <a:gd name="connsiteX1" fmla="*/ 8449 w 14936"/>
                <a:gd name="connsiteY1" fmla="*/ 23068 h 29872"/>
                <a:gd name="connsiteX2" fmla="*/ 15917 w 14936"/>
                <a:gd name="connsiteY2" fmla="*/ 35018 h 29872"/>
                <a:gd name="connsiteX3" fmla="*/ 27866 w 14936"/>
                <a:gd name="connsiteY3" fmla="*/ 40992 h 29872"/>
                <a:gd name="connsiteX4" fmla="*/ 9943 w 14936"/>
                <a:gd name="connsiteY4" fmla="*/ 3651 h 29872"/>
                <a:gd name="connsiteX5" fmla="*/ 6956 w 14936"/>
                <a:gd name="connsiteY5" fmla="*/ 664 h 29872"/>
                <a:gd name="connsiteX6" fmla="*/ 2475 w 14936"/>
                <a:gd name="connsiteY6" fmla="*/ 664 h 29872"/>
                <a:gd name="connsiteX7" fmla="*/ 981 w 14936"/>
                <a:gd name="connsiteY7" fmla="*/ 6638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36" h="29872">
                  <a:moveTo>
                    <a:pt x="981" y="6638"/>
                  </a:moveTo>
                  <a:cubicBezTo>
                    <a:pt x="3968" y="12613"/>
                    <a:pt x="5462" y="17094"/>
                    <a:pt x="8449" y="23068"/>
                  </a:cubicBezTo>
                  <a:cubicBezTo>
                    <a:pt x="9943" y="27549"/>
                    <a:pt x="12930" y="32030"/>
                    <a:pt x="15917" y="35018"/>
                  </a:cubicBezTo>
                  <a:cubicBezTo>
                    <a:pt x="18905" y="38005"/>
                    <a:pt x="23386" y="40992"/>
                    <a:pt x="27866" y="40992"/>
                  </a:cubicBezTo>
                  <a:cubicBezTo>
                    <a:pt x="24879" y="27549"/>
                    <a:pt x="18905" y="15600"/>
                    <a:pt x="9943" y="3651"/>
                  </a:cubicBezTo>
                  <a:cubicBezTo>
                    <a:pt x="8449" y="2158"/>
                    <a:pt x="8449" y="664"/>
                    <a:pt x="6956" y="664"/>
                  </a:cubicBezTo>
                  <a:cubicBezTo>
                    <a:pt x="5462" y="-830"/>
                    <a:pt x="3968" y="664"/>
                    <a:pt x="2475" y="664"/>
                  </a:cubicBezTo>
                  <a:cubicBezTo>
                    <a:pt x="-513" y="2158"/>
                    <a:pt x="-513" y="5145"/>
                    <a:pt x="981" y="6638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5" name="任意多边形: 形状 10384"/>
            <p:cNvSpPr/>
            <p:nvPr/>
          </p:nvSpPr>
          <p:spPr>
            <a:xfrm>
              <a:off x="7287021" y="3191663"/>
              <a:ext cx="89618" cy="164300"/>
            </a:xfrm>
            <a:custGeom>
              <a:avLst/>
              <a:gdLst>
                <a:gd name="connsiteX0" fmla="*/ 37341 w 89618"/>
                <a:gd name="connsiteY0" fmla="*/ 148162 h 164299"/>
                <a:gd name="connsiteX1" fmla="*/ 37341 w 89618"/>
                <a:gd name="connsiteY1" fmla="*/ 146668 h 164299"/>
                <a:gd name="connsiteX2" fmla="*/ 0 w 89618"/>
                <a:gd name="connsiteY2" fmla="*/ 18216 h 164299"/>
                <a:gd name="connsiteX3" fmla="*/ 34354 w 89618"/>
                <a:gd name="connsiteY3" fmla="*/ 292 h 164299"/>
                <a:gd name="connsiteX4" fmla="*/ 95593 w 89618"/>
                <a:gd name="connsiteY4" fmla="*/ 124264 h 164299"/>
                <a:gd name="connsiteX5" fmla="*/ 97086 w 89618"/>
                <a:gd name="connsiteY5" fmla="*/ 127251 h 164299"/>
                <a:gd name="connsiteX6" fmla="*/ 97086 w 89618"/>
                <a:gd name="connsiteY6" fmla="*/ 127251 h 164299"/>
                <a:gd name="connsiteX7" fmla="*/ 91112 w 89618"/>
                <a:gd name="connsiteY7" fmla="*/ 160111 h 164299"/>
                <a:gd name="connsiteX8" fmla="*/ 79163 w 89618"/>
                <a:gd name="connsiteY8" fmla="*/ 167579 h 164299"/>
                <a:gd name="connsiteX9" fmla="*/ 37341 w 89618"/>
                <a:gd name="connsiteY9" fmla="*/ 148162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618" h="164299">
                  <a:moveTo>
                    <a:pt x="37341" y="148162"/>
                  </a:moveTo>
                  <a:lnTo>
                    <a:pt x="37341" y="146668"/>
                  </a:lnTo>
                  <a:cubicBezTo>
                    <a:pt x="37341" y="146668"/>
                    <a:pt x="0" y="39127"/>
                    <a:pt x="0" y="18216"/>
                  </a:cubicBezTo>
                  <a:cubicBezTo>
                    <a:pt x="0" y="18216"/>
                    <a:pt x="22405" y="-2695"/>
                    <a:pt x="34354" y="292"/>
                  </a:cubicBezTo>
                  <a:cubicBezTo>
                    <a:pt x="52277" y="19709"/>
                    <a:pt x="76175" y="79455"/>
                    <a:pt x="95593" y="124264"/>
                  </a:cubicBezTo>
                  <a:lnTo>
                    <a:pt x="97086" y="127251"/>
                  </a:lnTo>
                  <a:lnTo>
                    <a:pt x="97086" y="127251"/>
                  </a:lnTo>
                  <a:cubicBezTo>
                    <a:pt x="101567" y="139200"/>
                    <a:pt x="98580" y="151149"/>
                    <a:pt x="91112" y="160111"/>
                  </a:cubicBezTo>
                  <a:cubicBezTo>
                    <a:pt x="88124" y="163098"/>
                    <a:pt x="83644" y="166086"/>
                    <a:pt x="79163" y="167579"/>
                  </a:cubicBezTo>
                  <a:cubicBezTo>
                    <a:pt x="61239" y="172060"/>
                    <a:pt x="43315" y="164592"/>
                    <a:pt x="37341" y="148162"/>
                  </a:cubicBez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6" name="任意多边形: 形状 10385"/>
            <p:cNvSpPr/>
            <p:nvPr/>
          </p:nvSpPr>
          <p:spPr>
            <a:xfrm>
              <a:off x="7324075" y="3297869"/>
              <a:ext cx="164300" cy="89618"/>
            </a:xfrm>
            <a:custGeom>
              <a:avLst/>
              <a:gdLst>
                <a:gd name="connsiteX0" fmla="*/ 136207 w 164299"/>
                <a:gd name="connsiteY0" fmla="*/ 98715 h 89618"/>
                <a:gd name="connsiteX1" fmla="*/ 118283 w 164299"/>
                <a:gd name="connsiteY1" fmla="*/ 92740 h 89618"/>
                <a:gd name="connsiteX2" fmla="*/ 21197 w 164299"/>
                <a:gd name="connsiteY2" fmla="*/ 62867 h 89618"/>
                <a:gd name="connsiteX3" fmla="*/ 10742 w 164299"/>
                <a:gd name="connsiteY3" fmla="*/ 56893 h 89618"/>
                <a:gd name="connsiteX4" fmla="*/ 286 w 164299"/>
                <a:gd name="connsiteY4" fmla="*/ 28514 h 89618"/>
                <a:gd name="connsiteX5" fmla="*/ 1780 w 164299"/>
                <a:gd name="connsiteY5" fmla="*/ 22539 h 89618"/>
                <a:gd name="connsiteX6" fmla="*/ 18210 w 164299"/>
                <a:gd name="connsiteY6" fmla="*/ 3122 h 89618"/>
                <a:gd name="connsiteX7" fmla="*/ 40614 w 164299"/>
                <a:gd name="connsiteY7" fmla="*/ 1628 h 89618"/>
                <a:gd name="connsiteX8" fmla="*/ 45095 w 164299"/>
                <a:gd name="connsiteY8" fmla="*/ 3122 h 89618"/>
                <a:gd name="connsiteX9" fmla="*/ 51070 w 164299"/>
                <a:gd name="connsiteY9" fmla="*/ 4616 h 89618"/>
                <a:gd name="connsiteX10" fmla="*/ 127245 w 164299"/>
                <a:gd name="connsiteY10" fmla="*/ 28514 h 89618"/>
                <a:gd name="connsiteX11" fmla="*/ 155624 w 164299"/>
                <a:gd name="connsiteY11" fmla="*/ 37476 h 89618"/>
                <a:gd name="connsiteX12" fmla="*/ 178029 w 164299"/>
                <a:gd name="connsiteY12" fmla="*/ 71829 h 89618"/>
                <a:gd name="connsiteX13" fmla="*/ 176535 w 164299"/>
                <a:gd name="connsiteY13" fmla="*/ 77804 h 89618"/>
                <a:gd name="connsiteX14" fmla="*/ 136207 w 164299"/>
                <a:gd name="connsiteY14" fmla="*/ 98715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4299" h="89618">
                  <a:moveTo>
                    <a:pt x="136207" y="98715"/>
                  </a:moveTo>
                  <a:lnTo>
                    <a:pt x="118283" y="92740"/>
                  </a:lnTo>
                  <a:lnTo>
                    <a:pt x="21197" y="62867"/>
                  </a:lnTo>
                  <a:cubicBezTo>
                    <a:pt x="16716" y="61374"/>
                    <a:pt x="13729" y="59880"/>
                    <a:pt x="10742" y="56893"/>
                  </a:cubicBezTo>
                  <a:cubicBezTo>
                    <a:pt x="3273" y="50918"/>
                    <a:pt x="-1208" y="40463"/>
                    <a:pt x="286" y="28514"/>
                  </a:cubicBezTo>
                  <a:cubicBezTo>
                    <a:pt x="286" y="27020"/>
                    <a:pt x="286" y="25526"/>
                    <a:pt x="1780" y="22539"/>
                  </a:cubicBezTo>
                  <a:cubicBezTo>
                    <a:pt x="4767" y="13577"/>
                    <a:pt x="10742" y="7603"/>
                    <a:pt x="18210" y="3122"/>
                  </a:cubicBezTo>
                  <a:cubicBezTo>
                    <a:pt x="25678" y="135"/>
                    <a:pt x="33146" y="-1359"/>
                    <a:pt x="40614" y="1628"/>
                  </a:cubicBezTo>
                  <a:lnTo>
                    <a:pt x="45095" y="3122"/>
                  </a:lnTo>
                  <a:lnTo>
                    <a:pt x="51070" y="4616"/>
                  </a:lnTo>
                  <a:lnTo>
                    <a:pt x="127245" y="28514"/>
                  </a:lnTo>
                  <a:lnTo>
                    <a:pt x="155624" y="37476"/>
                  </a:lnTo>
                  <a:cubicBezTo>
                    <a:pt x="170560" y="41957"/>
                    <a:pt x="179522" y="56893"/>
                    <a:pt x="178029" y="71829"/>
                  </a:cubicBezTo>
                  <a:cubicBezTo>
                    <a:pt x="178029" y="73323"/>
                    <a:pt x="178029" y="74816"/>
                    <a:pt x="176535" y="77804"/>
                  </a:cubicBezTo>
                  <a:cubicBezTo>
                    <a:pt x="169067" y="94234"/>
                    <a:pt x="152637" y="103195"/>
                    <a:pt x="136207" y="98715"/>
                  </a:cubicBez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7" name="任意多边形: 形状 10386"/>
            <p:cNvSpPr/>
            <p:nvPr/>
          </p:nvSpPr>
          <p:spPr>
            <a:xfrm>
              <a:off x="6931249" y="2512066"/>
              <a:ext cx="761754" cy="2987268"/>
            </a:xfrm>
            <a:custGeom>
              <a:avLst/>
              <a:gdLst>
                <a:gd name="connsiteX0" fmla="*/ 751584 w 761753"/>
                <a:gd name="connsiteY0" fmla="*/ 2989048 h 2987268"/>
                <a:gd name="connsiteX1" fmla="*/ 736648 w 761753"/>
                <a:gd name="connsiteY1" fmla="*/ 2977100 h 2987268"/>
                <a:gd name="connsiteX2" fmla="*/ 286 w 761753"/>
                <a:gd name="connsiteY2" fmla="*/ 18210 h 2987268"/>
                <a:gd name="connsiteX3" fmla="*/ 10742 w 761753"/>
                <a:gd name="connsiteY3" fmla="*/ 286 h 2987268"/>
                <a:gd name="connsiteX4" fmla="*/ 28665 w 761753"/>
                <a:gd name="connsiteY4" fmla="*/ 10742 h 2987268"/>
                <a:gd name="connsiteX5" fmla="*/ 766521 w 761753"/>
                <a:gd name="connsiteY5" fmla="*/ 2971125 h 2987268"/>
                <a:gd name="connsiteX6" fmla="*/ 756065 w 761753"/>
                <a:gd name="connsiteY6" fmla="*/ 2989048 h 2987268"/>
                <a:gd name="connsiteX7" fmla="*/ 751584 w 761753"/>
                <a:gd name="connsiteY7" fmla="*/ 2989048 h 298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1753" h="2987268">
                  <a:moveTo>
                    <a:pt x="751584" y="2989048"/>
                  </a:moveTo>
                  <a:cubicBezTo>
                    <a:pt x="745610" y="2989048"/>
                    <a:pt x="738142" y="2984568"/>
                    <a:pt x="736648" y="2977100"/>
                  </a:cubicBezTo>
                  <a:lnTo>
                    <a:pt x="286" y="18210"/>
                  </a:lnTo>
                  <a:cubicBezTo>
                    <a:pt x="-1207" y="10742"/>
                    <a:pt x="3273" y="1780"/>
                    <a:pt x="10742" y="286"/>
                  </a:cubicBezTo>
                  <a:cubicBezTo>
                    <a:pt x="18210" y="-1207"/>
                    <a:pt x="27172" y="3274"/>
                    <a:pt x="28665" y="10742"/>
                  </a:cubicBezTo>
                  <a:lnTo>
                    <a:pt x="766521" y="2971125"/>
                  </a:lnTo>
                  <a:cubicBezTo>
                    <a:pt x="768014" y="2978593"/>
                    <a:pt x="763533" y="2987555"/>
                    <a:pt x="756065" y="2989048"/>
                  </a:cubicBezTo>
                  <a:cubicBezTo>
                    <a:pt x="754572" y="2989048"/>
                    <a:pt x="753078" y="2989048"/>
                    <a:pt x="751584" y="2989048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8" name="任意多边形: 形状 10387"/>
            <p:cNvSpPr/>
            <p:nvPr/>
          </p:nvSpPr>
          <p:spPr>
            <a:xfrm>
              <a:off x="7088081" y="2425435"/>
              <a:ext cx="761754" cy="2987268"/>
            </a:xfrm>
            <a:custGeom>
              <a:avLst/>
              <a:gdLst>
                <a:gd name="connsiteX0" fmla="*/ 751584 w 761753"/>
                <a:gd name="connsiteY0" fmla="*/ 2989049 h 2987268"/>
                <a:gd name="connsiteX1" fmla="*/ 736648 w 761753"/>
                <a:gd name="connsiteY1" fmla="*/ 2977099 h 2987268"/>
                <a:gd name="connsiteX2" fmla="*/ 286 w 761753"/>
                <a:gd name="connsiteY2" fmla="*/ 18210 h 2987268"/>
                <a:gd name="connsiteX3" fmla="*/ 10742 w 761753"/>
                <a:gd name="connsiteY3" fmla="*/ 286 h 2987268"/>
                <a:gd name="connsiteX4" fmla="*/ 28665 w 761753"/>
                <a:gd name="connsiteY4" fmla="*/ 10742 h 2987268"/>
                <a:gd name="connsiteX5" fmla="*/ 765027 w 761753"/>
                <a:gd name="connsiteY5" fmla="*/ 2969631 h 2987268"/>
                <a:gd name="connsiteX6" fmla="*/ 754572 w 761753"/>
                <a:gd name="connsiteY6" fmla="*/ 2987555 h 2987268"/>
                <a:gd name="connsiteX7" fmla="*/ 751584 w 761753"/>
                <a:gd name="connsiteY7" fmla="*/ 2989049 h 298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1753" h="2987268">
                  <a:moveTo>
                    <a:pt x="751584" y="2989049"/>
                  </a:moveTo>
                  <a:cubicBezTo>
                    <a:pt x="745610" y="2989049"/>
                    <a:pt x="738142" y="2984567"/>
                    <a:pt x="736648" y="2977099"/>
                  </a:cubicBezTo>
                  <a:lnTo>
                    <a:pt x="286" y="18210"/>
                  </a:lnTo>
                  <a:cubicBezTo>
                    <a:pt x="-1207" y="10742"/>
                    <a:pt x="3273" y="1780"/>
                    <a:pt x="10742" y="286"/>
                  </a:cubicBezTo>
                  <a:cubicBezTo>
                    <a:pt x="18210" y="-1208"/>
                    <a:pt x="27172" y="3273"/>
                    <a:pt x="28665" y="10742"/>
                  </a:cubicBezTo>
                  <a:lnTo>
                    <a:pt x="765027" y="2969631"/>
                  </a:lnTo>
                  <a:cubicBezTo>
                    <a:pt x="766521" y="2977099"/>
                    <a:pt x="762040" y="2986061"/>
                    <a:pt x="754572" y="2987555"/>
                  </a:cubicBezTo>
                  <a:cubicBezTo>
                    <a:pt x="753078" y="2989049"/>
                    <a:pt x="751584" y="2989049"/>
                    <a:pt x="751584" y="2989049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9" name="任意多边形: 形状 10388"/>
            <p:cNvSpPr/>
            <p:nvPr/>
          </p:nvSpPr>
          <p:spPr>
            <a:xfrm>
              <a:off x="6960797" y="2540119"/>
              <a:ext cx="164300" cy="104554"/>
            </a:xfrm>
            <a:custGeom>
              <a:avLst/>
              <a:gdLst>
                <a:gd name="connsiteX0" fmla="*/ 15548 w 164299"/>
                <a:gd name="connsiteY0" fmla="*/ 115622 h 104554"/>
                <a:gd name="connsiteX1" fmla="*/ 2105 w 164299"/>
                <a:gd name="connsiteY1" fmla="*/ 108153 h 104554"/>
                <a:gd name="connsiteX2" fmla="*/ 8080 w 164299"/>
                <a:gd name="connsiteY2" fmla="*/ 87243 h 104554"/>
                <a:gd name="connsiteX3" fmla="*/ 154456 w 164299"/>
                <a:gd name="connsiteY3" fmla="*/ 2105 h 104554"/>
                <a:gd name="connsiteX4" fmla="*/ 175367 w 164299"/>
                <a:gd name="connsiteY4" fmla="*/ 8080 h 104554"/>
                <a:gd name="connsiteX5" fmla="*/ 169392 w 164299"/>
                <a:gd name="connsiteY5" fmla="*/ 28991 h 104554"/>
                <a:gd name="connsiteX6" fmla="*/ 23016 w 164299"/>
                <a:gd name="connsiteY6" fmla="*/ 114128 h 104554"/>
                <a:gd name="connsiteX7" fmla="*/ 15548 w 164299"/>
                <a:gd name="connsiteY7" fmla="*/ 115622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299" h="104554">
                  <a:moveTo>
                    <a:pt x="15548" y="115622"/>
                  </a:moveTo>
                  <a:cubicBezTo>
                    <a:pt x="11067" y="115622"/>
                    <a:pt x="5093" y="112634"/>
                    <a:pt x="2105" y="108153"/>
                  </a:cubicBezTo>
                  <a:cubicBezTo>
                    <a:pt x="-2376" y="100685"/>
                    <a:pt x="612" y="91723"/>
                    <a:pt x="8080" y="87243"/>
                  </a:cubicBezTo>
                  <a:lnTo>
                    <a:pt x="154456" y="2105"/>
                  </a:lnTo>
                  <a:cubicBezTo>
                    <a:pt x="161924" y="-2375"/>
                    <a:pt x="170886" y="612"/>
                    <a:pt x="175367" y="8080"/>
                  </a:cubicBezTo>
                  <a:cubicBezTo>
                    <a:pt x="179848" y="15548"/>
                    <a:pt x="176861" y="24510"/>
                    <a:pt x="169392" y="28991"/>
                  </a:cubicBezTo>
                  <a:lnTo>
                    <a:pt x="23016" y="114128"/>
                  </a:lnTo>
                  <a:cubicBezTo>
                    <a:pt x="21523" y="114128"/>
                    <a:pt x="18535" y="115622"/>
                    <a:pt x="15548" y="115622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0" name="任意多边形: 形状 10389"/>
            <p:cNvSpPr/>
            <p:nvPr/>
          </p:nvSpPr>
          <p:spPr>
            <a:xfrm>
              <a:off x="6990669" y="2658116"/>
              <a:ext cx="164300" cy="104554"/>
            </a:xfrm>
            <a:custGeom>
              <a:avLst/>
              <a:gdLst>
                <a:gd name="connsiteX0" fmla="*/ 15548 w 164299"/>
                <a:gd name="connsiteY0" fmla="*/ 115621 h 104554"/>
                <a:gd name="connsiteX1" fmla="*/ 2105 w 164299"/>
                <a:gd name="connsiteY1" fmla="*/ 108153 h 104554"/>
                <a:gd name="connsiteX2" fmla="*/ 8080 w 164299"/>
                <a:gd name="connsiteY2" fmla="*/ 87242 h 104554"/>
                <a:gd name="connsiteX3" fmla="*/ 155950 w 164299"/>
                <a:gd name="connsiteY3" fmla="*/ 2105 h 104554"/>
                <a:gd name="connsiteX4" fmla="*/ 176861 w 164299"/>
                <a:gd name="connsiteY4" fmla="*/ 8080 h 104554"/>
                <a:gd name="connsiteX5" fmla="*/ 170886 w 164299"/>
                <a:gd name="connsiteY5" fmla="*/ 28991 h 104554"/>
                <a:gd name="connsiteX6" fmla="*/ 23016 w 164299"/>
                <a:gd name="connsiteY6" fmla="*/ 114128 h 104554"/>
                <a:gd name="connsiteX7" fmla="*/ 15548 w 164299"/>
                <a:gd name="connsiteY7" fmla="*/ 115621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299" h="104554">
                  <a:moveTo>
                    <a:pt x="15548" y="115621"/>
                  </a:moveTo>
                  <a:cubicBezTo>
                    <a:pt x="11067" y="115621"/>
                    <a:pt x="5093" y="112634"/>
                    <a:pt x="2105" y="108153"/>
                  </a:cubicBezTo>
                  <a:cubicBezTo>
                    <a:pt x="-2376" y="100685"/>
                    <a:pt x="612" y="91723"/>
                    <a:pt x="8080" y="87242"/>
                  </a:cubicBezTo>
                  <a:lnTo>
                    <a:pt x="155950" y="2105"/>
                  </a:lnTo>
                  <a:cubicBezTo>
                    <a:pt x="163418" y="-2376"/>
                    <a:pt x="172380" y="612"/>
                    <a:pt x="176861" y="8080"/>
                  </a:cubicBezTo>
                  <a:cubicBezTo>
                    <a:pt x="181342" y="15548"/>
                    <a:pt x="178354" y="24510"/>
                    <a:pt x="170886" y="28991"/>
                  </a:cubicBezTo>
                  <a:lnTo>
                    <a:pt x="23016" y="114128"/>
                  </a:lnTo>
                  <a:cubicBezTo>
                    <a:pt x="20029" y="115621"/>
                    <a:pt x="18535" y="115621"/>
                    <a:pt x="15548" y="115621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1" name="任意多边形: 形状 10390"/>
            <p:cNvSpPr/>
            <p:nvPr/>
          </p:nvSpPr>
          <p:spPr>
            <a:xfrm>
              <a:off x="7020542" y="2776114"/>
              <a:ext cx="164300" cy="104554"/>
            </a:xfrm>
            <a:custGeom>
              <a:avLst/>
              <a:gdLst>
                <a:gd name="connsiteX0" fmla="*/ 15548 w 164299"/>
                <a:gd name="connsiteY0" fmla="*/ 115622 h 104554"/>
                <a:gd name="connsiteX1" fmla="*/ 2105 w 164299"/>
                <a:gd name="connsiteY1" fmla="*/ 108153 h 104554"/>
                <a:gd name="connsiteX2" fmla="*/ 8080 w 164299"/>
                <a:gd name="connsiteY2" fmla="*/ 87242 h 104554"/>
                <a:gd name="connsiteX3" fmla="*/ 155950 w 164299"/>
                <a:gd name="connsiteY3" fmla="*/ 2105 h 104554"/>
                <a:gd name="connsiteX4" fmla="*/ 176861 w 164299"/>
                <a:gd name="connsiteY4" fmla="*/ 8080 h 104554"/>
                <a:gd name="connsiteX5" fmla="*/ 170886 w 164299"/>
                <a:gd name="connsiteY5" fmla="*/ 28991 h 104554"/>
                <a:gd name="connsiteX6" fmla="*/ 23016 w 164299"/>
                <a:gd name="connsiteY6" fmla="*/ 114128 h 104554"/>
                <a:gd name="connsiteX7" fmla="*/ 15548 w 164299"/>
                <a:gd name="connsiteY7" fmla="*/ 115622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299" h="104554">
                  <a:moveTo>
                    <a:pt x="15548" y="115622"/>
                  </a:moveTo>
                  <a:cubicBezTo>
                    <a:pt x="11067" y="115622"/>
                    <a:pt x="5093" y="112634"/>
                    <a:pt x="2105" y="108153"/>
                  </a:cubicBezTo>
                  <a:cubicBezTo>
                    <a:pt x="-2376" y="100685"/>
                    <a:pt x="612" y="91723"/>
                    <a:pt x="8080" y="87242"/>
                  </a:cubicBezTo>
                  <a:lnTo>
                    <a:pt x="155950" y="2105"/>
                  </a:lnTo>
                  <a:cubicBezTo>
                    <a:pt x="163418" y="-2376"/>
                    <a:pt x="172380" y="612"/>
                    <a:pt x="176861" y="8080"/>
                  </a:cubicBezTo>
                  <a:cubicBezTo>
                    <a:pt x="181342" y="15548"/>
                    <a:pt x="178354" y="24510"/>
                    <a:pt x="170886" y="28991"/>
                  </a:cubicBezTo>
                  <a:lnTo>
                    <a:pt x="23016" y="114128"/>
                  </a:lnTo>
                  <a:cubicBezTo>
                    <a:pt x="20029" y="115622"/>
                    <a:pt x="17042" y="115622"/>
                    <a:pt x="15548" y="115622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2" name="任意多边形: 形状 10391"/>
            <p:cNvSpPr/>
            <p:nvPr/>
          </p:nvSpPr>
          <p:spPr>
            <a:xfrm>
              <a:off x="7048921" y="2895604"/>
              <a:ext cx="164300" cy="104554"/>
            </a:xfrm>
            <a:custGeom>
              <a:avLst/>
              <a:gdLst>
                <a:gd name="connsiteX0" fmla="*/ 15548 w 164299"/>
                <a:gd name="connsiteY0" fmla="*/ 115622 h 104554"/>
                <a:gd name="connsiteX1" fmla="*/ 2105 w 164299"/>
                <a:gd name="connsiteY1" fmla="*/ 108153 h 104554"/>
                <a:gd name="connsiteX2" fmla="*/ 8080 w 164299"/>
                <a:gd name="connsiteY2" fmla="*/ 87242 h 104554"/>
                <a:gd name="connsiteX3" fmla="*/ 155950 w 164299"/>
                <a:gd name="connsiteY3" fmla="*/ 2105 h 104554"/>
                <a:gd name="connsiteX4" fmla="*/ 176861 w 164299"/>
                <a:gd name="connsiteY4" fmla="*/ 8080 h 104554"/>
                <a:gd name="connsiteX5" fmla="*/ 170886 w 164299"/>
                <a:gd name="connsiteY5" fmla="*/ 28991 h 104554"/>
                <a:gd name="connsiteX6" fmla="*/ 23016 w 164299"/>
                <a:gd name="connsiteY6" fmla="*/ 114128 h 104554"/>
                <a:gd name="connsiteX7" fmla="*/ 15548 w 164299"/>
                <a:gd name="connsiteY7" fmla="*/ 115622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299" h="104554">
                  <a:moveTo>
                    <a:pt x="15548" y="115622"/>
                  </a:moveTo>
                  <a:cubicBezTo>
                    <a:pt x="11067" y="115622"/>
                    <a:pt x="5093" y="112634"/>
                    <a:pt x="2105" y="108153"/>
                  </a:cubicBezTo>
                  <a:cubicBezTo>
                    <a:pt x="-2376" y="100685"/>
                    <a:pt x="612" y="91723"/>
                    <a:pt x="8080" y="87242"/>
                  </a:cubicBezTo>
                  <a:lnTo>
                    <a:pt x="155950" y="2105"/>
                  </a:lnTo>
                  <a:cubicBezTo>
                    <a:pt x="163418" y="-2376"/>
                    <a:pt x="172380" y="612"/>
                    <a:pt x="176861" y="8080"/>
                  </a:cubicBezTo>
                  <a:cubicBezTo>
                    <a:pt x="181341" y="15548"/>
                    <a:pt x="178354" y="24510"/>
                    <a:pt x="170886" y="28991"/>
                  </a:cubicBezTo>
                  <a:lnTo>
                    <a:pt x="23016" y="114128"/>
                  </a:lnTo>
                  <a:cubicBezTo>
                    <a:pt x="21523" y="114128"/>
                    <a:pt x="18535" y="115622"/>
                    <a:pt x="15548" y="115622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3" name="任意多边形: 形状 10392"/>
            <p:cNvSpPr/>
            <p:nvPr/>
          </p:nvSpPr>
          <p:spPr>
            <a:xfrm>
              <a:off x="7078794" y="3013601"/>
              <a:ext cx="164300" cy="104554"/>
            </a:xfrm>
            <a:custGeom>
              <a:avLst/>
              <a:gdLst>
                <a:gd name="connsiteX0" fmla="*/ 15548 w 164299"/>
                <a:gd name="connsiteY0" fmla="*/ 115621 h 104554"/>
                <a:gd name="connsiteX1" fmla="*/ 2105 w 164299"/>
                <a:gd name="connsiteY1" fmla="*/ 108153 h 104554"/>
                <a:gd name="connsiteX2" fmla="*/ 8080 w 164299"/>
                <a:gd name="connsiteY2" fmla="*/ 87242 h 104554"/>
                <a:gd name="connsiteX3" fmla="*/ 155950 w 164299"/>
                <a:gd name="connsiteY3" fmla="*/ 2105 h 104554"/>
                <a:gd name="connsiteX4" fmla="*/ 176861 w 164299"/>
                <a:gd name="connsiteY4" fmla="*/ 8080 h 104554"/>
                <a:gd name="connsiteX5" fmla="*/ 170886 w 164299"/>
                <a:gd name="connsiteY5" fmla="*/ 28991 h 104554"/>
                <a:gd name="connsiteX6" fmla="*/ 23016 w 164299"/>
                <a:gd name="connsiteY6" fmla="*/ 114128 h 104554"/>
                <a:gd name="connsiteX7" fmla="*/ 15548 w 164299"/>
                <a:gd name="connsiteY7" fmla="*/ 115621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299" h="104554">
                  <a:moveTo>
                    <a:pt x="15548" y="115621"/>
                  </a:moveTo>
                  <a:cubicBezTo>
                    <a:pt x="11067" y="115621"/>
                    <a:pt x="5093" y="112634"/>
                    <a:pt x="2105" y="108153"/>
                  </a:cubicBezTo>
                  <a:cubicBezTo>
                    <a:pt x="-2376" y="100685"/>
                    <a:pt x="612" y="91723"/>
                    <a:pt x="8080" y="87242"/>
                  </a:cubicBezTo>
                  <a:lnTo>
                    <a:pt x="155950" y="2105"/>
                  </a:lnTo>
                  <a:cubicBezTo>
                    <a:pt x="163418" y="-2376"/>
                    <a:pt x="172380" y="612"/>
                    <a:pt x="176861" y="8080"/>
                  </a:cubicBezTo>
                  <a:cubicBezTo>
                    <a:pt x="181341" y="15548"/>
                    <a:pt x="178354" y="24510"/>
                    <a:pt x="170886" y="28991"/>
                  </a:cubicBezTo>
                  <a:lnTo>
                    <a:pt x="23016" y="114128"/>
                  </a:lnTo>
                  <a:cubicBezTo>
                    <a:pt x="20029" y="115621"/>
                    <a:pt x="18535" y="115621"/>
                    <a:pt x="15548" y="115621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4" name="任意多边形: 形状 10393"/>
            <p:cNvSpPr/>
            <p:nvPr/>
          </p:nvSpPr>
          <p:spPr>
            <a:xfrm>
              <a:off x="7108666" y="3131598"/>
              <a:ext cx="164300" cy="104554"/>
            </a:xfrm>
            <a:custGeom>
              <a:avLst/>
              <a:gdLst>
                <a:gd name="connsiteX0" fmla="*/ 15548 w 164299"/>
                <a:gd name="connsiteY0" fmla="*/ 115622 h 104554"/>
                <a:gd name="connsiteX1" fmla="*/ 2105 w 164299"/>
                <a:gd name="connsiteY1" fmla="*/ 108154 h 104554"/>
                <a:gd name="connsiteX2" fmla="*/ 8080 w 164299"/>
                <a:gd name="connsiteY2" fmla="*/ 87242 h 104554"/>
                <a:gd name="connsiteX3" fmla="*/ 155950 w 164299"/>
                <a:gd name="connsiteY3" fmla="*/ 2105 h 104554"/>
                <a:gd name="connsiteX4" fmla="*/ 176861 w 164299"/>
                <a:gd name="connsiteY4" fmla="*/ 8080 h 104554"/>
                <a:gd name="connsiteX5" fmla="*/ 170886 w 164299"/>
                <a:gd name="connsiteY5" fmla="*/ 28991 h 104554"/>
                <a:gd name="connsiteX6" fmla="*/ 23016 w 164299"/>
                <a:gd name="connsiteY6" fmla="*/ 114128 h 104554"/>
                <a:gd name="connsiteX7" fmla="*/ 15548 w 164299"/>
                <a:gd name="connsiteY7" fmla="*/ 115622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299" h="104554">
                  <a:moveTo>
                    <a:pt x="15548" y="115622"/>
                  </a:moveTo>
                  <a:cubicBezTo>
                    <a:pt x="11067" y="115622"/>
                    <a:pt x="5093" y="112634"/>
                    <a:pt x="2105" y="108154"/>
                  </a:cubicBezTo>
                  <a:cubicBezTo>
                    <a:pt x="-2376" y="100685"/>
                    <a:pt x="612" y="91723"/>
                    <a:pt x="8080" y="87242"/>
                  </a:cubicBezTo>
                  <a:lnTo>
                    <a:pt x="155950" y="2105"/>
                  </a:lnTo>
                  <a:cubicBezTo>
                    <a:pt x="163418" y="-2376"/>
                    <a:pt x="172380" y="612"/>
                    <a:pt x="176861" y="8080"/>
                  </a:cubicBezTo>
                  <a:cubicBezTo>
                    <a:pt x="181341" y="15548"/>
                    <a:pt x="178354" y="24510"/>
                    <a:pt x="170886" y="28991"/>
                  </a:cubicBezTo>
                  <a:lnTo>
                    <a:pt x="23016" y="114128"/>
                  </a:lnTo>
                  <a:cubicBezTo>
                    <a:pt x="20029" y="115622"/>
                    <a:pt x="17042" y="115622"/>
                    <a:pt x="15548" y="115622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5" name="任意多边形: 形状 10394"/>
            <p:cNvSpPr/>
            <p:nvPr/>
          </p:nvSpPr>
          <p:spPr>
            <a:xfrm>
              <a:off x="7137046" y="3249596"/>
              <a:ext cx="179236" cy="104554"/>
            </a:xfrm>
            <a:custGeom>
              <a:avLst/>
              <a:gdLst>
                <a:gd name="connsiteX0" fmla="*/ 15548 w 179236"/>
                <a:gd name="connsiteY0" fmla="*/ 117115 h 104554"/>
                <a:gd name="connsiteX1" fmla="*/ 2105 w 179236"/>
                <a:gd name="connsiteY1" fmla="*/ 109647 h 104554"/>
                <a:gd name="connsiteX2" fmla="*/ 8080 w 179236"/>
                <a:gd name="connsiteY2" fmla="*/ 88736 h 104554"/>
                <a:gd name="connsiteX3" fmla="*/ 157443 w 179236"/>
                <a:gd name="connsiteY3" fmla="*/ 2105 h 104554"/>
                <a:gd name="connsiteX4" fmla="*/ 178354 w 179236"/>
                <a:gd name="connsiteY4" fmla="*/ 8080 h 104554"/>
                <a:gd name="connsiteX5" fmla="*/ 172380 w 179236"/>
                <a:gd name="connsiteY5" fmla="*/ 28991 h 104554"/>
                <a:gd name="connsiteX6" fmla="*/ 23016 w 179236"/>
                <a:gd name="connsiteY6" fmla="*/ 115622 h 104554"/>
                <a:gd name="connsiteX7" fmla="*/ 15548 w 179236"/>
                <a:gd name="connsiteY7" fmla="*/ 11711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7115"/>
                  </a:moveTo>
                  <a:cubicBezTo>
                    <a:pt x="11067" y="117115"/>
                    <a:pt x="5093" y="114128"/>
                    <a:pt x="2105" y="109647"/>
                  </a:cubicBezTo>
                  <a:cubicBezTo>
                    <a:pt x="-2376" y="102179"/>
                    <a:pt x="612" y="93217"/>
                    <a:pt x="8080" y="88736"/>
                  </a:cubicBezTo>
                  <a:lnTo>
                    <a:pt x="157443" y="2105"/>
                  </a:lnTo>
                  <a:cubicBezTo>
                    <a:pt x="164911" y="-2375"/>
                    <a:pt x="173873" y="612"/>
                    <a:pt x="178354" y="8080"/>
                  </a:cubicBezTo>
                  <a:cubicBezTo>
                    <a:pt x="182835" y="15548"/>
                    <a:pt x="179848" y="24510"/>
                    <a:pt x="172380" y="28991"/>
                  </a:cubicBezTo>
                  <a:lnTo>
                    <a:pt x="23016" y="115622"/>
                  </a:lnTo>
                  <a:cubicBezTo>
                    <a:pt x="21522" y="115622"/>
                    <a:pt x="18535" y="117115"/>
                    <a:pt x="15548" y="117115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6" name="任意多边形: 形状 10395"/>
            <p:cNvSpPr/>
            <p:nvPr/>
          </p:nvSpPr>
          <p:spPr>
            <a:xfrm>
              <a:off x="7166918" y="3367593"/>
              <a:ext cx="179236" cy="104554"/>
            </a:xfrm>
            <a:custGeom>
              <a:avLst/>
              <a:gdLst>
                <a:gd name="connsiteX0" fmla="*/ 15548 w 179236"/>
                <a:gd name="connsiteY0" fmla="*/ 117115 h 104554"/>
                <a:gd name="connsiteX1" fmla="*/ 2105 w 179236"/>
                <a:gd name="connsiteY1" fmla="*/ 109647 h 104554"/>
                <a:gd name="connsiteX2" fmla="*/ 8080 w 179236"/>
                <a:gd name="connsiteY2" fmla="*/ 88736 h 104554"/>
                <a:gd name="connsiteX3" fmla="*/ 157443 w 179236"/>
                <a:gd name="connsiteY3" fmla="*/ 2105 h 104554"/>
                <a:gd name="connsiteX4" fmla="*/ 178354 w 179236"/>
                <a:gd name="connsiteY4" fmla="*/ 8080 h 104554"/>
                <a:gd name="connsiteX5" fmla="*/ 172380 w 179236"/>
                <a:gd name="connsiteY5" fmla="*/ 28991 h 104554"/>
                <a:gd name="connsiteX6" fmla="*/ 23016 w 179236"/>
                <a:gd name="connsiteY6" fmla="*/ 115621 h 104554"/>
                <a:gd name="connsiteX7" fmla="*/ 15548 w 179236"/>
                <a:gd name="connsiteY7" fmla="*/ 11711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7115"/>
                  </a:moveTo>
                  <a:cubicBezTo>
                    <a:pt x="11067" y="117115"/>
                    <a:pt x="5093" y="114128"/>
                    <a:pt x="2105" y="109647"/>
                  </a:cubicBezTo>
                  <a:cubicBezTo>
                    <a:pt x="-2376" y="102179"/>
                    <a:pt x="612" y="93217"/>
                    <a:pt x="8080" y="88736"/>
                  </a:cubicBezTo>
                  <a:lnTo>
                    <a:pt x="157443" y="2105"/>
                  </a:lnTo>
                  <a:cubicBezTo>
                    <a:pt x="164911" y="-2376"/>
                    <a:pt x="173873" y="612"/>
                    <a:pt x="178354" y="8080"/>
                  </a:cubicBezTo>
                  <a:cubicBezTo>
                    <a:pt x="182835" y="15548"/>
                    <a:pt x="179848" y="24510"/>
                    <a:pt x="172380" y="28991"/>
                  </a:cubicBezTo>
                  <a:lnTo>
                    <a:pt x="23016" y="115621"/>
                  </a:lnTo>
                  <a:cubicBezTo>
                    <a:pt x="21522" y="117115"/>
                    <a:pt x="18535" y="117115"/>
                    <a:pt x="15548" y="117115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7" name="任意多边形: 形状 10396"/>
            <p:cNvSpPr/>
            <p:nvPr/>
          </p:nvSpPr>
          <p:spPr>
            <a:xfrm>
              <a:off x="7196791" y="3485590"/>
              <a:ext cx="179236" cy="104554"/>
            </a:xfrm>
            <a:custGeom>
              <a:avLst/>
              <a:gdLst>
                <a:gd name="connsiteX0" fmla="*/ 15548 w 179236"/>
                <a:gd name="connsiteY0" fmla="*/ 117115 h 104554"/>
                <a:gd name="connsiteX1" fmla="*/ 2105 w 179236"/>
                <a:gd name="connsiteY1" fmla="*/ 109647 h 104554"/>
                <a:gd name="connsiteX2" fmla="*/ 8080 w 179236"/>
                <a:gd name="connsiteY2" fmla="*/ 88736 h 104554"/>
                <a:gd name="connsiteX3" fmla="*/ 157443 w 179236"/>
                <a:gd name="connsiteY3" fmla="*/ 2105 h 104554"/>
                <a:gd name="connsiteX4" fmla="*/ 178354 w 179236"/>
                <a:gd name="connsiteY4" fmla="*/ 8080 h 104554"/>
                <a:gd name="connsiteX5" fmla="*/ 172380 w 179236"/>
                <a:gd name="connsiteY5" fmla="*/ 28991 h 104554"/>
                <a:gd name="connsiteX6" fmla="*/ 23016 w 179236"/>
                <a:gd name="connsiteY6" fmla="*/ 115622 h 104554"/>
                <a:gd name="connsiteX7" fmla="*/ 15548 w 179236"/>
                <a:gd name="connsiteY7" fmla="*/ 11711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7115"/>
                  </a:moveTo>
                  <a:cubicBezTo>
                    <a:pt x="11067" y="117115"/>
                    <a:pt x="5093" y="114128"/>
                    <a:pt x="2105" y="109647"/>
                  </a:cubicBezTo>
                  <a:cubicBezTo>
                    <a:pt x="-2376" y="102179"/>
                    <a:pt x="612" y="93217"/>
                    <a:pt x="8080" y="88736"/>
                  </a:cubicBezTo>
                  <a:lnTo>
                    <a:pt x="157443" y="2105"/>
                  </a:lnTo>
                  <a:cubicBezTo>
                    <a:pt x="164911" y="-2376"/>
                    <a:pt x="173873" y="612"/>
                    <a:pt x="178354" y="8080"/>
                  </a:cubicBezTo>
                  <a:cubicBezTo>
                    <a:pt x="182835" y="15548"/>
                    <a:pt x="179848" y="24510"/>
                    <a:pt x="172380" y="28991"/>
                  </a:cubicBezTo>
                  <a:lnTo>
                    <a:pt x="23016" y="115622"/>
                  </a:lnTo>
                  <a:cubicBezTo>
                    <a:pt x="20029" y="117115"/>
                    <a:pt x="18535" y="117115"/>
                    <a:pt x="15548" y="117115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8" name="任意多边形: 形状 10397"/>
            <p:cNvSpPr/>
            <p:nvPr/>
          </p:nvSpPr>
          <p:spPr>
            <a:xfrm>
              <a:off x="7226664" y="3605080"/>
              <a:ext cx="179236" cy="104554"/>
            </a:xfrm>
            <a:custGeom>
              <a:avLst/>
              <a:gdLst>
                <a:gd name="connsiteX0" fmla="*/ 15548 w 179236"/>
                <a:gd name="connsiteY0" fmla="*/ 117115 h 104554"/>
                <a:gd name="connsiteX1" fmla="*/ 2105 w 179236"/>
                <a:gd name="connsiteY1" fmla="*/ 109647 h 104554"/>
                <a:gd name="connsiteX2" fmla="*/ 8080 w 179236"/>
                <a:gd name="connsiteY2" fmla="*/ 88736 h 104554"/>
                <a:gd name="connsiteX3" fmla="*/ 157443 w 179236"/>
                <a:gd name="connsiteY3" fmla="*/ 2105 h 104554"/>
                <a:gd name="connsiteX4" fmla="*/ 178354 w 179236"/>
                <a:gd name="connsiteY4" fmla="*/ 8080 h 104554"/>
                <a:gd name="connsiteX5" fmla="*/ 172380 w 179236"/>
                <a:gd name="connsiteY5" fmla="*/ 28991 h 104554"/>
                <a:gd name="connsiteX6" fmla="*/ 23016 w 179236"/>
                <a:gd name="connsiteY6" fmla="*/ 115622 h 104554"/>
                <a:gd name="connsiteX7" fmla="*/ 15548 w 179236"/>
                <a:gd name="connsiteY7" fmla="*/ 11711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7115"/>
                  </a:moveTo>
                  <a:cubicBezTo>
                    <a:pt x="11067" y="117115"/>
                    <a:pt x="5093" y="114128"/>
                    <a:pt x="2105" y="109647"/>
                  </a:cubicBezTo>
                  <a:cubicBezTo>
                    <a:pt x="-2376" y="102179"/>
                    <a:pt x="612" y="93217"/>
                    <a:pt x="8080" y="88736"/>
                  </a:cubicBezTo>
                  <a:lnTo>
                    <a:pt x="157443" y="2105"/>
                  </a:lnTo>
                  <a:cubicBezTo>
                    <a:pt x="164911" y="-2376"/>
                    <a:pt x="173873" y="612"/>
                    <a:pt x="178354" y="8080"/>
                  </a:cubicBezTo>
                  <a:cubicBezTo>
                    <a:pt x="182835" y="15548"/>
                    <a:pt x="179848" y="24510"/>
                    <a:pt x="172380" y="28991"/>
                  </a:cubicBezTo>
                  <a:lnTo>
                    <a:pt x="23016" y="115622"/>
                  </a:lnTo>
                  <a:cubicBezTo>
                    <a:pt x="20029" y="115622"/>
                    <a:pt x="17042" y="117115"/>
                    <a:pt x="15548" y="117115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9" name="任意多边形: 形状 10398"/>
            <p:cNvSpPr/>
            <p:nvPr/>
          </p:nvSpPr>
          <p:spPr>
            <a:xfrm>
              <a:off x="7255043" y="3723078"/>
              <a:ext cx="179236" cy="104554"/>
            </a:xfrm>
            <a:custGeom>
              <a:avLst/>
              <a:gdLst>
                <a:gd name="connsiteX0" fmla="*/ 15548 w 179236"/>
                <a:gd name="connsiteY0" fmla="*/ 117115 h 104554"/>
                <a:gd name="connsiteX1" fmla="*/ 2105 w 179236"/>
                <a:gd name="connsiteY1" fmla="*/ 109647 h 104554"/>
                <a:gd name="connsiteX2" fmla="*/ 8080 w 179236"/>
                <a:gd name="connsiteY2" fmla="*/ 88736 h 104554"/>
                <a:gd name="connsiteX3" fmla="*/ 158937 w 179236"/>
                <a:gd name="connsiteY3" fmla="*/ 2105 h 104554"/>
                <a:gd name="connsiteX4" fmla="*/ 179848 w 179236"/>
                <a:gd name="connsiteY4" fmla="*/ 8080 h 104554"/>
                <a:gd name="connsiteX5" fmla="*/ 173873 w 179236"/>
                <a:gd name="connsiteY5" fmla="*/ 28991 h 104554"/>
                <a:gd name="connsiteX6" fmla="*/ 23016 w 179236"/>
                <a:gd name="connsiteY6" fmla="*/ 115621 h 104554"/>
                <a:gd name="connsiteX7" fmla="*/ 15548 w 179236"/>
                <a:gd name="connsiteY7" fmla="*/ 11711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7115"/>
                  </a:moveTo>
                  <a:cubicBezTo>
                    <a:pt x="11067" y="117115"/>
                    <a:pt x="5093" y="114128"/>
                    <a:pt x="2105" y="109647"/>
                  </a:cubicBezTo>
                  <a:cubicBezTo>
                    <a:pt x="-2376" y="102179"/>
                    <a:pt x="612" y="93217"/>
                    <a:pt x="8080" y="88736"/>
                  </a:cubicBezTo>
                  <a:lnTo>
                    <a:pt x="158937" y="2105"/>
                  </a:lnTo>
                  <a:cubicBezTo>
                    <a:pt x="166405" y="-2376"/>
                    <a:pt x="175367" y="612"/>
                    <a:pt x="179848" y="8080"/>
                  </a:cubicBezTo>
                  <a:cubicBezTo>
                    <a:pt x="184329" y="15548"/>
                    <a:pt x="181342" y="24510"/>
                    <a:pt x="173873" y="28991"/>
                  </a:cubicBezTo>
                  <a:lnTo>
                    <a:pt x="23016" y="115621"/>
                  </a:lnTo>
                  <a:cubicBezTo>
                    <a:pt x="21523" y="117115"/>
                    <a:pt x="18535" y="117115"/>
                    <a:pt x="15548" y="117115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0" name="任意多边形: 形状 10399"/>
            <p:cNvSpPr/>
            <p:nvPr/>
          </p:nvSpPr>
          <p:spPr>
            <a:xfrm>
              <a:off x="7284915" y="3842568"/>
              <a:ext cx="179236" cy="104554"/>
            </a:xfrm>
            <a:custGeom>
              <a:avLst/>
              <a:gdLst>
                <a:gd name="connsiteX0" fmla="*/ 15548 w 179236"/>
                <a:gd name="connsiteY0" fmla="*/ 117115 h 104554"/>
                <a:gd name="connsiteX1" fmla="*/ 2105 w 179236"/>
                <a:gd name="connsiteY1" fmla="*/ 109647 h 104554"/>
                <a:gd name="connsiteX2" fmla="*/ 8080 w 179236"/>
                <a:gd name="connsiteY2" fmla="*/ 88736 h 104554"/>
                <a:gd name="connsiteX3" fmla="*/ 158937 w 179236"/>
                <a:gd name="connsiteY3" fmla="*/ 2105 h 104554"/>
                <a:gd name="connsiteX4" fmla="*/ 179848 w 179236"/>
                <a:gd name="connsiteY4" fmla="*/ 8080 h 104554"/>
                <a:gd name="connsiteX5" fmla="*/ 173873 w 179236"/>
                <a:gd name="connsiteY5" fmla="*/ 28991 h 104554"/>
                <a:gd name="connsiteX6" fmla="*/ 23016 w 179236"/>
                <a:gd name="connsiteY6" fmla="*/ 115622 h 104554"/>
                <a:gd name="connsiteX7" fmla="*/ 15548 w 179236"/>
                <a:gd name="connsiteY7" fmla="*/ 11711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7115"/>
                  </a:moveTo>
                  <a:cubicBezTo>
                    <a:pt x="11067" y="117115"/>
                    <a:pt x="5093" y="114128"/>
                    <a:pt x="2105" y="109647"/>
                  </a:cubicBezTo>
                  <a:cubicBezTo>
                    <a:pt x="-2376" y="102179"/>
                    <a:pt x="612" y="93217"/>
                    <a:pt x="8080" y="88736"/>
                  </a:cubicBezTo>
                  <a:lnTo>
                    <a:pt x="158937" y="2105"/>
                  </a:lnTo>
                  <a:cubicBezTo>
                    <a:pt x="166405" y="-2376"/>
                    <a:pt x="175367" y="612"/>
                    <a:pt x="179848" y="8080"/>
                  </a:cubicBezTo>
                  <a:cubicBezTo>
                    <a:pt x="184329" y="15548"/>
                    <a:pt x="181342" y="24510"/>
                    <a:pt x="173873" y="28991"/>
                  </a:cubicBezTo>
                  <a:lnTo>
                    <a:pt x="23016" y="115622"/>
                  </a:lnTo>
                  <a:cubicBezTo>
                    <a:pt x="20029" y="115622"/>
                    <a:pt x="18535" y="117115"/>
                    <a:pt x="15548" y="117115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1" name="任意多边形: 形状 10400"/>
            <p:cNvSpPr/>
            <p:nvPr/>
          </p:nvSpPr>
          <p:spPr>
            <a:xfrm>
              <a:off x="7314788" y="3960566"/>
              <a:ext cx="179236" cy="104554"/>
            </a:xfrm>
            <a:custGeom>
              <a:avLst/>
              <a:gdLst>
                <a:gd name="connsiteX0" fmla="*/ 15548 w 179236"/>
                <a:gd name="connsiteY0" fmla="*/ 117115 h 104554"/>
                <a:gd name="connsiteX1" fmla="*/ 2105 w 179236"/>
                <a:gd name="connsiteY1" fmla="*/ 109647 h 104554"/>
                <a:gd name="connsiteX2" fmla="*/ 8080 w 179236"/>
                <a:gd name="connsiteY2" fmla="*/ 88736 h 104554"/>
                <a:gd name="connsiteX3" fmla="*/ 158937 w 179236"/>
                <a:gd name="connsiteY3" fmla="*/ 2105 h 104554"/>
                <a:gd name="connsiteX4" fmla="*/ 179848 w 179236"/>
                <a:gd name="connsiteY4" fmla="*/ 8080 h 104554"/>
                <a:gd name="connsiteX5" fmla="*/ 173873 w 179236"/>
                <a:gd name="connsiteY5" fmla="*/ 28991 h 104554"/>
                <a:gd name="connsiteX6" fmla="*/ 23016 w 179236"/>
                <a:gd name="connsiteY6" fmla="*/ 115622 h 104554"/>
                <a:gd name="connsiteX7" fmla="*/ 15548 w 179236"/>
                <a:gd name="connsiteY7" fmla="*/ 11711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7115"/>
                  </a:moveTo>
                  <a:cubicBezTo>
                    <a:pt x="11067" y="117115"/>
                    <a:pt x="5093" y="114128"/>
                    <a:pt x="2105" y="109647"/>
                  </a:cubicBezTo>
                  <a:cubicBezTo>
                    <a:pt x="-2376" y="102179"/>
                    <a:pt x="612" y="93217"/>
                    <a:pt x="8080" y="88736"/>
                  </a:cubicBezTo>
                  <a:lnTo>
                    <a:pt x="158937" y="2105"/>
                  </a:lnTo>
                  <a:cubicBezTo>
                    <a:pt x="166405" y="-2375"/>
                    <a:pt x="175367" y="612"/>
                    <a:pt x="179848" y="8080"/>
                  </a:cubicBezTo>
                  <a:cubicBezTo>
                    <a:pt x="184329" y="15548"/>
                    <a:pt x="181342" y="24510"/>
                    <a:pt x="173873" y="28991"/>
                  </a:cubicBezTo>
                  <a:lnTo>
                    <a:pt x="23016" y="115622"/>
                  </a:lnTo>
                  <a:cubicBezTo>
                    <a:pt x="20029" y="117115"/>
                    <a:pt x="17042" y="117115"/>
                    <a:pt x="15548" y="117115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2" name="任意多边形: 形状 10401"/>
            <p:cNvSpPr/>
            <p:nvPr/>
          </p:nvSpPr>
          <p:spPr>
            <a:xfrm>
              <a:off x="7343167" y="4077069"/>
              <a:ext cx="179236" cy="104554"/>
            </a:xfrm>
            <a:custGeom>
              <a:avLst/>
              <a:gdLst>
                <a:gd name="connsiteX0" fmla="*/ 15548 w 179236"/>
                <a:gd name="connsiteY0" fmla="*/ 118609 h 104554"/>
                <a:gd name="connsiteX1" fmla="*/ 2105 w 179236"/>
                <a:gd name="connsiteY1" fmla="*/ 111141 h 104554"/>
                <a:gd name="connsiteX2" fmla="*/ 8080 w 179236"/>
                <a:gd name="connsiteY2" fmla="*/ 90230 h 104554"/>
                <a:gd name="connsiteX3" fmla="*/ 158937 w 179236"/>
                <a:gd name="connsiteY3" fmla="*/ 2105 h 104554"/>
                <a:gd name="connsiteX4" fmla="*/ 179848 w 179236"/>
                <a:gd name="connsiteY4" fmla="*/ 8080 h 104554"/>
                <a:gd name="connsiteX5" fmla="*/ 173873 w 179236"/>
                <a:gd name="connsiteY5" fmla="*/ 28991 h 104554"/>
                <a:gd name="connsiteX6" fmla="*/ 23016 w 179236"/>
                <a:gd name="connsiteY6" fmla="*/ 117115 h 104554"/>
                <a:gd name="connsiteX7" fmla="*/ 15548 w 179236"/>
                <a:gd name="connsiteY7" fmla="*/ 11860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8609"/>
                  </a:moveTo>
                  <a:cubicBezTo>
                    <a:pt x="11067" y="118609"/>
                    <a:pt x="5093" y="115621"/>
                    <a:pt x="2105" y="111141"/>
                  </a:cubicBezTo>
                  <a:cubicBezTo>
                    <a:pt x="-2375" y="103673"/>
                    <a:pt x="612" y="94711"/>
                    <a:pt x="8080" y="90230"/>
                  </a:cubicBezTo>
                  <a:lnTo>
                    <a:pt x="158937" y="2105"/>
                  </a:lnTo>
                  <a:cubicBezTo>
                    <a:pt x="166405" y="-2376"/>
                    <a:pt x="175367" y="612"/>
                    <a:pt x="179848" y="8080"/>
                  </a:cubicBezTo>
                  <a:cubicBezTo>
                    <a:pt x="184329" y="15548"/>
                    <a:pt x="181341" y="24510"/>
                    <a:pt x="173873" y="28991"/>
                  </a:cubicBezTo>
                  <a:lnTo>
                    <a:pt x="23016" y="117115"/>
                  </a:lnTo>
                  <a:cubicBezTo>
                    <a:pt x="21523" y="118609"/>
                    <a:pt x="18535" y="118609"/>
                    <a:pt x="15548" y="118609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3" name="任意多边形: 形状 10402"/>
            <p:cNvSpPr/>
            <p:nvPr/>
          </p:nvSpPr>
          <p:spPr>
            <a:xfrm>
              <a:off x="7373040" y="4196560"/>
              <a:ext cx="179236" cy="104554"/>
            </a:xfrm>
            <a:custGeom>
              <a:avLst/>
              <a:gdLst>
                <a:gd name="connsiteX0" fmla="*/ 15548 w 179236"/>
                <a:gd name="connsiteY0" fmla="*/ 118609 h 104554"/>
                <a:gd name="connsiteX1" fmla="*/ 2105 w 179236"/>
                <a:gd name="connsiteY1" fmla="*/ 111141 h 104554"/>
                <a:gd name="connsiteX2" fmla="*/ 8080 w 179236"/>
                <a:gd name="connsiteY2" fmla="*/ 90230 h 104554"/>
                <a:gd name="connsiteX3" fmla="*/ 160431 w 179236"/>
                <a:gd name="connsiteY3" fmla="*/ 2105 h 104554"/>
                <a:gd name="connsiteX4" fmla="*/ 181341 w 179236"/>
                <a:gd name="connsiteY4" fmla="*/ 8080 h 104554"/>
                <a:gd name="connsiteX5" fmla="*/ 175367 w 179236"/>
                <a:gd name="connsiteY5" fmla="*/ 28991 h 104554"/>
                <a:gd name="connsiteX6" fmla="*/ 23016 w 179236"/>
                <a:gd name="connsiteY6" fmla="*/ 117115 h 104554"/>
                <a:gd name="connsiteX7" fmla="*/ 15548 w 179236"/>
                <a:gd name="connsiteY7" fmla="*/ 11860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8609"/>
                  </a:moveTo>
                  <a:cubicBezTo>
                    <a:pt x="11067" y="118609"/>
                    <a:pt x="5093" y="115621"/>
                    <a:pt x="2105" y="111141"/>
                  </a:cubicBezTo>
                  <a:cubicBezTo>
                    <a:pt x="-2375" y="103673"/>
                    <a:pt x="612" y="94711"/>
                    <a:pt x="8080" y="90230"/>
                  </a:cubicBezTo>
                  <a:lnTo>
                    <a:pt x="160431" y="2105"/>
                  </a:lnTo>
                  <a:cubicBezTo>
                    <a:pt x="167899" y="-2376"/>
                    <a:pt x="176861" y="612"/>
                    <a:pt x="181341" y="8080"/>
                  </a:cubicBezTo>
                  <a:cubicBezTo>
                    <a:pt x="185823" y="15548"/>
                    <a:pt x="182835" y="24510"/>
                    <a:pt x="175367" y="28991"/>
                  </a:cubicBezTo>
                  <a:lnTo>
                    <a:pt x="23016" y="117115"/>
                  </a:lnTo>
                  <a:cubicBezTo>
                    <a:pt x="21523" y="117115"/>
                    <a:pt x="18535" y="118609"/>
                    <a:pt x="15548" y="118609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4" name="任意多边形: 形状 10403"/>
            <p:cNvSpPr/>
            <p:nvPr/>
          </p:nvSpPr>
          <p:spPr>
            <a:xfrm>
              <a:off x="7402912" y="4314557"/>
              <a:ext cx="179236" cy="104554"/>
            </a:xfrm>
            <a:custGeom>
              <a:avLst/>
              <a:gdLst>
                <a:gd name="connsiteX0" fmla="*/ 15548 w 179236"/>
                <a:gd name="connsiteY0" fmla="*/ 118609 h 104554"/>
                <a:gd name="connsiteX1" fmla="*/ 2105 w 179236"/>
                <a:gd name="connsiteY1" fmla="*/ 111141 h 104554"/>
                <a:gd name="connsiteX2" fmla="*/ 8080 w 179236"/>
                <a:gd name="connsiteY2" fmla="*/ 90230 h 104554"/>
                <a:gd name="connsiteX3" fmla="*/ 160431 w 179236"/>
                <a:gd name="connsiteY3" fmla="*/ 2105 h 104554"/>
                <a:gd name="connsiteX4" fmla="*/ 181341 w 179236"/>
                <a:gd name="connsiteY4" fmla="*/ 8080 h 104554"/>
                <a:gd name="connsiteX5" fmla="*/ 175367 w 179236"/>
                <a:gd name="connsiteY5" fmla="*/ 28991 h 104554"/>
                <a:gd name="connsiteX6" fmla="*/ 23016 w 179236"/>
                <a:gd name="connsiteY6" fmla="*/ 117115 h 104554"/>
                <a:gd name="connsiteX7" fmla="*/ 15548 w 179236"/>
                <a:gd name="connsiteY7" fmla="*/ 11860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8609"/>
                  </a:moveTo>
                  <a:cubicBezTo>
                    <a:pt x="11067" y="118609"/>
                    <a:pt x="5093" y="115621"/>
                    <a:pt x="2105" y="111141"/>
                  </a:cubicBezTo>
                  <a:cubicBezTo>
                    <a:pt x="-2375" y="103672"/>
                    <a:pt x="612" y="94711"/>
                    <a:pt x="8080" y="90230"/>
                  </a:cubicBezTo>
                  <a:lnTo>
                    <a:pt x="160431" y="2105"/>
                  </a:lnTo>
                  <a:cubicBezTo>
                    <a:pt x="167899" y="-2376"/>
                    <a:pt x="176861" y="612"/>
                    <a:pt x="181341" y="8080"/>
                  </a:cubicBezTo>
                  <a:cubicBezTo>
                    <a:pt x="185823" y="15548"/>
                    <a:pt x="182835" y="24510"/>
                    <a:pt x="175367" y="28991"/>
                  </a:cubicBezTo>
                  <a:lnTo>
                    <a:pt x="23016" y="117115"/>
                  </a:lnTo>
                  <a:cubicBezTo>
                    <a:pt x="20029" y="118609"/>
                    <a:pt x="18535" y="118609"/>
                    <a:pt x="15548" y="118609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5" name="任意多边形: 形状 10404"/>
            <p:cNvSpPr/>
            <p:nvPr/>
          </p:nvSpPr>
          <p:spPr>
            <a:xfrm>
              <a:off x="7432785" y="4432554"/>
              <a:ext cx="179236" cy="104554"/>
            </a:xfrm>
            <a:custGeom>
              <a:avLst/>
              <a:gdLst>
                <a:gd name="connsiteX0" fmla="*/ 15548 w 179236"/>
                <a:gd name="connsiteY0" fmla="*/ 118609 h 104554"/>
                <a:gd name="connsiteX1" fmla="*/ 2105 w 179236"/>
                <a:gd name="connsiteY1" fmla="*/ 111141 h 104554"/>
                <a:gd name="connsiteX2" fmla="*/ 8080 w 179236"/>
                <a:gd name="connsiteY2" fmla="*/ 90230 h 104554"/>
                <a:gd name="connsiteX3" fmla="*/ 160431 w 179236"/>
                <a:gd name="connsiteY3" fmla="*/ 2105 h 104554"/>
                <a:gd name="connsiteX4" fmla="*/ 181341 w 179236"/>
                <a:gd name="connsiteY4" fmla="*/ 8080 h 104554"/>
                <a:gd name="connsiteX5" fmla="*/ 175367 w 179236"/>
                <a:gd name="connsiteY5" fmla="*/ 28991 h 104554"/>
                <a:gd name="connsiteX6" fmla="*/ 23016 w 179236"/>
                <a:gd name="connsiteY6" fmla="*/ 117115 h 104554"/>
                <a:gd name="connsiteX7" fmla="*/ 15548 w 179236"/>
                <a:gd name="connsiteY7" fmla="*/ 11860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8609"/>
                  </a:moveTo>
                  <a:cubicBezTo>
                    <a:pt x="11067" y="118609"/>
                    <a:pt x="5093" y="115622"/>
                    <a:pt x="2105" y="111141"/>
                  </a:cubicBezTo>
                  <a:cubicBezTo>
                    <a:pt x="-2375" y="103672"/>
                    <a:pt x="612" y="94711"/>
                    <a:pt x="8080" y="90230"/>
                  </a:cubicBezTo>
                  <a:lnTo>
                    <a:pt x="160431" y="2105"/>
                  </a:lnTo>
                  <a:cubicBezTo>
                    <a:pt x="167899" y="-2376"/>
                    <a:pt x="176861" y="612"/>
                    <a:pt x="181341" y="8080"/>
                  </a:cubicBezTo>
                  <a:cubicBezTo>
                    <a:pt x="185823" y="15548"/>
                    <a:pt x="182835" y="24510"/>
                    <a:pt x="175367" y="28991"/>
                  </a:cubicBezTo>
                  <a:lnTo>
                    <a:pt x="23016" y="117115"/>
                  </a:lnTo>
                  <a:cubicBezTo>
                    <a:pt x="20029" y="118609"/>
                    <a:pt x="17042" y="118609"/>
                    <a:pt x="15548" y="118609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6" name="任意多边形: 形状 10405"/>
            <p:cNvSpPr/>
            <p:nvPr/>
          </p:nvSpPr>
          <p:spPr>
            <a:xfrm>
              <a:off x="7461164" y="4552045"/>
              <a:ext cx="179236" cy="104554"/>
            </a:xfrm>
            <a:custGeom>
              <a:avLst/>
              <a:gdLst>
                <a:gd name="connsiteX0" fmla="*/ 15548 w 179236"/>
                <a:gd name="connsiteY0" fmla="*/ 118609 h 104554"/>
                <a:gd name="connsiteX1" fmla="*/ 2105 w 179236"/>
                <a:gd name="connsiteY1" fmla="*/ 111141 h 104554"/>
                <a:gd name="connsiteX2" fmla="*/ 8080 w 179236"/>
                <a:gd name="connsiteY2" fmla="*/ 90230 h 104554"/>
                <a:gd name="connsiteX3" fmla="*/ 160431 w 179236"/>
                <a:gd name="connsiteY3" fmla="*/ 2105 h 104554"/>
                <a:gd name="connsiteX4" fmla="*/ 181341 w 179236"/>
                <a:gd name="connsiteY4" fmla="*/ 8080 h 104554"/>
                <a:gd name="connsiteX5" fmla="*/ 175367 w 179236"/>
                <a:gd name="connsiteY5" fmla="*/ 28991 h 104554"/>
                <a:gd name="connsiteX6" fmla="*/ 23016 w 179236"/>
                <a:gd name="connsiteY6" fmla="*/ 117115 h 104554"/>
                <a:gd name="connsiteX7" fmla="*/ 15548 w 179236"/>
                <a:gd name="connsiteY7" fmla="*/ 11860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8609"/>
                  </a:moveTo>
                  <a:cubicBezTo>
                    <a:pt x="11067" y="118609"/>
                    <a:pt x="5093" y="115622"/>
                    <a:pt x="2105" y="111141"/>
                  </a:cubicBezTo>
                  <a:cubicBezTo>
                    <a:pt x="-2376" y="103672"/>
                    <a:pt x="612" y="94711"/>
                    <a:pt x="8080" y="90230"/>
                  </a:cubicBezTo>
                  <a:lnTo>
                    <a:pt x="160431" y="2105"/>
                  </a:lnTo>
                  <a:cubicBezTo>
                    <a:pt x="167899" y="-2376"/>
                    <a:pt x="176861" y="612"/>
                    <a:pt x="181341" y="8080"/>
                  </a:cubicBezTo>
                  <a:cubicBezTo>
                    <a:pt x="185822" y="15548"/>
                    <a:pt x="182835" y="24510"/>
                    <a:pt x="175367" y="28991"/>
                  </a:cubicBezTo>
                  <a:lnTo>
                    <a:pt x="23016" y="117115"/>
                  </a:lnTo>
                  <a:cubicBezTo>
                    <a:pt x="21523" y="117115"/>
                    <a:pt x="18535" y="118609"/>
                    <a:pt x="15548" y="118609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7" name="任意多边形: 形状 10406"/>
            <p:cNvSpPr/>
            <p:nvPr/>
          </p:nvSpPr>
          <p:spPr>
            <a:xfrm>
              <a:off x="7491037" y="4670042"/>
              <a:ext cx="179236" cy="104554"/>
            </a:xfrm>
            <a:custGeom>
              <a:avLst/>
              <a:gdLst>
                <a:gd name="connsiteX0" fmla="*/ 15548 w 179236"/>
                <a:gd name="connsiteY0" fmla="*/ 118609 h 104554"/>
                <a:gd name="connsiteX1" fmla="*/ 2105 w 179236"/>
                <a:gd name="connsiteY1" fmla="*/ 111140 h 104554"/>
                <a:gd name="connsiteX2" fmla="*/ 8080 w 179236"/>
                <a:gd name="connsiteY2" fmla="*/ 90230 h 104554"/>
                <a:gd name="connsiteX3" fmla="*/ 161924 w 179236"/>
                <a:gd name="connsiteY3" fmla="*/ 2105 h 104554"/>
                <a:gd name="connsiteX4" fmla="*/ 182835 w 179236"/>
                <a:gd name="connsiteY4" fmla="*/ 8080 h 104554"/>
                <a:gd name="connsiteX5" fmla="*/ 176861 w 179236"/>
                <a:gd name="connsiteY5" fmla="*/ 28991 h 104554"/>
                <a:gd name="connsiteX6" fmla="*/ 23016 w 179236"/>
                <a:gd name="connsiteY6" fmla="*/ 117115 h 104554"/>
                <a:gd name="connsiteX7" fmla="*/ 15548 w 179236"/>
                <a:gd name="connsiteY7" fmla="*/ 11860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8609"/>
                  </a:moveTo>
                  <a:cubicBezTo>
                    <a:pt x="11067" y="118609"/>
                    <a:pt x="5093" y="115622"/>
                    <a:pt x="2105" y="111140"/>
                  </a:cubicBezTo>
                  <a:cubicBezTo>
                    <a:pt x="-2376" y="103672"/>
                    <a:pt x="612" y="94711"/>
                    <a:pt x="8080" y="90230"/>
                  </a:cubicBezTo>
                  <a:lnTo>
                    <a:pt x="161924" y="2105"/>
                  </a:lnTo>
                  <a:cubicBezTo>
                    <a:pt x="169392" y="-2375"/>
                    <a:pt x="178354" y="612"/>
                    <a:pt x="182835" y="8080"/>
                  </a:cubicBezTo>
                  <a:cubicBezTo>
                    <a:pt x="187316" y="15548"/>
                    <a:pt x="184329" y="24510"/>
                    <a:pt x="176861" y="28991"/>
                  </a:cubicBezTo>
                  <a:lnTo>
                    <a:pt x="23016" y="117115"/>
                  </a:lnTo>
                  <a:cubicBezTo>
                    <a:pt x="20029" y="118609"/>
                    <a:pt x="18535" y="118609"/>
                    <a:pt x="15548" y="118609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8" name="任意多边形: 形状 10407"/>
            <p:cNvSpPr/>
            <p:nvPr/>
          </p:nvSpPr>
          <p:spPr>
            <a:xfrm>
              <a:off x="7520910" y="4788039"/>
              <a:ext cx="179236" cy="104554"/>
            </a:xfrm>
            <a:custGeom>
              <a:avLst/>
              <a:gdLst>
                <a:gd name="connsiteX0" fmla="*/ 15548 w 179236"/>
                <a:gd name="connsiteY0" fmla="*/ 118609 h 104554"/>
                <a:gd name="connsiteX1" fmla="*/ 2105 w 179236"/>
                <a:gd name="connsiteY1" fmla="*/ 111141 h 104554"/>
                <a:gd name="connsiteX2" fmla="*/ 8080 w 179236"/>
                <a:gd name="connsiteY2" fmla="*/ 90230 h 104554"/>
                <a:gd name="connsiteX3" fmla="*/ 161924 w 179236"/>
                <a:gd name="connsiteY3" fmla="*/ 2105 h 104554"/>
                <a:gd name="connsiteX4" fmla="*/ 182835 w 179236"/>
                <a:gd name="connsiteY4" fmla="*/ 8080 h 104554"/>
                <a:gd name="connsiteX5" fmla="*/ 176861 w 179236"/>
                <a:gd name="connsiteY5" fmla="*/ 28991 h 104554"/>
                <a:gd name="connsiteX6" fmla="*/ 23016 w 179236"/>
                <a:gd name="connsiteY6" fmla="*/ 117115 h 104554"/>
                <a:gd name="connsiteX7" fmla="*/ 15548 w 179236"/>
                <a:gd name="connsiteY7" fmla="*/ 11860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8609"/>
                  </a:moveTo>
                  <a:cubicBezTo>
                    <a:pt x="11067" y="118609"/>
                    <a:pt x="5093" y="115622"/>
                    <a:pt x="2105" y="111141"/>
                  </a:cubicBezTo>
                  <a:cubicBezTo>
                    <a:pt x="-2376" y="103673"/>
                    <a:pt x="612" y="94711"/>
                    <a:pt x="8080" y="90230"/>
                  </a:cubicBezTo>
                  <a:lnTo>
                    <a:pt x="161924" y="2105"/>
                  </a:lnTo>
                  <a:cubicBezTo>
                    <a:pt x="169392" y="-2375"/>
                    <a:pt x="178354" y="612"/>
                    <a:pt x="182835" y="8080"/>
                  </a:cubicBezTo>
                  <a:cubicBezTo>
                    <a:pt x="187316" y="15548"/>
                    <a:pt x="184329" y="24510"/>
                    <a:pt x="176861" y="28991"/>
                  </a:cubicBezTo>
                  <a:lnTo>
                    <a:pt x="23016" y="117115"/>
                  </a:lnTo>
                  <a:cubicBezTo>
                    <a:pt x="20029" y="118609"/>
                    <a:pt x="17042" y="118609"/>
                    <a:pt x="15548" y="118609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9" name="任意多边形: 形状 10408"/>
            <p:cNvSpPr/>
            <p:nvPr/>
          </p:nvSpPr>
          <p:spPr>
            <a:xfrm>
              <a:off x="7549289" y="4906036"/>
              <a:ext cx="179236" cy="119491"/>
            </a:xfrm>
            <a:custGeom>
              <a:avLst/>
              <a:gdLst>
                <a:gd name="connsiteX0" fmla="*/ 15548 w 179236"/>
                <a:gd name="connsiteY0" fmla="*/ 120103 h 119490"/>
                <a:gd name="connsiteX1" fmla="*/ 2105 w 179236"/>
                <a:gd name="connsiteY1" fmla="*/ 112634 h 119490"/>
                <a:gd name="connsiteX2" fmla="*/ 8080 w 179236"/>
                <a:gd name="connsiteY2" fmla="*/ 91723 h 119490"/>
                <a:gd name="connsiteX3" fmla="*/ 161924 w 179236"/>
                <a:gd name="connsiteY3" fmla="*/ 2105 h 119490"/>
                <a:gd name="connsiteX4" fmla="*/ 182835 w 179236"/>
                <a:gd name="connsiteY4" fmla="*/ 8080 h 119490"/>
                <a:gd name="connsiteX5" fmla="*/ 176860 w 179236"/>
                <a:gd name="connsiteY5" fmla="*/ 28991 h 119490"/>
                <a:gd name="connsiteX6" fmla="*/ 23016 w 179236"/>
                <a:gd name="connsiteY6" fmla="*/ 118609 h 119490"/>
                <a:gd name="connsiteX7" fmla="*/ 15548 w 179236"/>
                <a:gd name="connsiteY7" fmla="*/ 120103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19490">
                  <a:moveTo>
                    <a:pt x="15548" y="120103"/>
                  </a:moveTo>
                  <a:cubicBezTo>
                    <a:pt x="11067" y="120103"/>
                    <a:pt x="5092" y="117115"/>
                    <a:pt x="2105" y="112634"/>
                  </a:cubicBezTo>
                  <a:cubicBezTo>
                    <a:pt x="-2376" y="105166"/>
                    <a:pt x="612" y="96204"/>
                    <a:pt x="8080" y="91723"/>
                  </a:cubicBezTo>
                  <a:lnTo>
                    <a:pt x="161924" y="2105"/>
                  </a:lnTo>
                  <a:cubicBezTo>
                    <a:pt x="169392" y="-2376"/>
                    <a:pt x="178354" y="612"/>
                    <a:pt x="182835" y="8080"/>
                  </a:cubicBezTo>
                  <a:cubicBezTo>
                    <a:pt x="187316" y="15548"/>
                    <a:pt x="184329" y="24510"/>
                    <a:pt x="176860" y="28991"/>
                  </a:cubicBezTo>
                  <a:lnTo>
                    <a:pt x="23016" y="118609"/>
                  </a:lnTo>
                  <a:cubicBezTo>
                    <a:pt x="21523" y="118609"/>
                    <a:pt x="18535" y="120103"/>
                    <a:pt x="15548" y="120103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0" name="任意多边形: 形状 10409"/>
            <p:cNvSpPr/>
            <p:nvPr/>
          </p:nvSpPr>
          <p:spPr>
            <a:xfrm>
              <a:off x="7579161" y="5024033"/>
              <a:ext cx="179236" cy="119491"/>
            </a:xfrm>
            <a:custGeom>
              <a:avLst/>
              <a:gdLst>
                <a:gd name="connsiteX0" fmla="*/ 15548 w 179236"/>
                <a:gd name="connsiteY0" fmla="*/ 120102 h 119490"/>
                <a:gd name="connsiteX1" fmla="*/ 2105 w 179236"/>
                <a:gd name="connsiteY1" fmla="*/ 112634 h 119490"/>
                <a:gd name="connsiteX2" fmla="*/ 8080 w 179236"/>
                <a:gd name="connsiteY2" fmla="*/ 91724 h 119490"/>
                <a:gd name="connsiteX3" fmla="*/ 161924 w 179236"/>
                <a:gd name="connsiteY3" fmla="*/ 2105 h 119490"/>
                <a:gd name="connsiteX4" fmla="*/ 182835 w 179236"/>
                <a:gd name="connsiteY4" fmla="*/ 8080 h 119490"/>
                <a:gd name="connsiteX5" fmla="*/ 176860 w 179236"/>
                <a:gd name="connsiteY5" fmla="*/ 28991 h 119490"/>
                <a:gd name="connsiteX6" fmla="*/ 23016 w 179236"/>
                <a:gd name="connsiteY6" fmla="*/ 118609 h 119490"/>
                <a:gd name="connsiteX7" fmla="*/ 15548 w 179236"/>
                <a:gd name="connsiteY7" fmla="*/ 120102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19490">
                  <a:moveTo>
                    <a:pt x="15548" y="120102"/>
                  </a:moveTo>
                  <a:cubicBezTo>
                    <a:pt x="11067" y="120102"/>
                    <a:pt x="5092" y="117115"/>
                    <a:pt x="2105" y="112634"/>
                  </a:cubicBezTo>
                  <a:cubicBezTo>
                    <a:pt x="-2376" y="105166"/>
                    <a:pt x="612" y="96204"/>
                    <a:pt x="8080" y="91724"/>
                  </a:cubicBezTo>
                  <a:lnTo>
                    <a:pt x="161924" y="2105"/>
                  </a:lnTo>
                  <a:cubicBezTo>
                    <a:pt x="169392" y="-2376"/>
                    <a:pt x="178354" y="612"/>
                    <a:pt x="182835" y="8080"/>
                  </a:cubicBezTo>
                  <a:cubicBezTo>
                    <a:pt x="187316" y="15548"/>
                    <a:pt x="184329" y="24510"/>
                    <a:pt x="176860" y="28991"/>
                  </a:cubicBezTo>
                  <a:lnTo>
                    <a:pt x="23016" y="118609"/>
                  </a:lnTo>
                  <a:cubicBezTo>
                    <a:pt x="21523" y="120102"/>
                    <a:pt x="18535" y="120102"/>
                    <a:pt x="15548" y="120102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1" name="任意多边形: 形状 10410"/>
            <p:cNvSpPr/>
            <p:nvPr/>
          </p:nvSpPr>
          <p:spPr>
            <a:xfrm>
              <a:off x="7609034" y="5143524"/>
              <a:ext cx="179236" cy="119491"/>
            </a:xfrm>
            <a:custGeom>
              <a:avLst/>
              <a:gdLst>
                <a:gd name="connsiteX0" fmla="*/ 15548 w 179236"/>
                <a:gd name="connsiteY0" fmla="*/ 120102 h 119490"/>
                <a:gd name="connsiteX1" fmla="*/ 2105 w 179236"/>
                <a:gd name="connsiteY1" fmla="*/ 112634 h 119490"/>
                <a:gd name="connsiteX2" fmla="*/ 8080 w 179236"/>
                <a:gd name="connsiteY2" fmla="*/ 91724 h 119490"/>
                <a:gd name="connsiteX3" fmla="*/ 163418 w 179236"/>
                <a:gd name="connsiteY3" fmla="*/ 2105 h 119490"/>
                <a:gd name="connsiteX4" fmla="*/ 184329 w 179236"/>
                <a:gd name="connsiteY4" fmla="*/ 8080 h 119490"/>
                <a:gd name="connsiteX5" fmla="*/ 178354 w 179236"/>
                <a:gd name="connsiteY5" fmla="*/ 28991 h 119490"/>
                <a:gd name="connsiteX6" fmla="*/ 23016 w 179236"/>
                <a:gd name="connsiteY6" fmla="*/ 118609 h 119490"/>
                <a:gd name="connsiteX7" fmla="*/ 15548 w 179236"/>
                <a:gd name="connsiteY7" fmla="*/ 120102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19490">
                  <a:moveTo>
                    <a:pt x="15548" y="120102"/>
                  </a:moveTo>
                  <a:cubicBezTo>
                    <a:pt x="11067" y="120102"/>
                    <a:pt x="5092" y="117115"/>
                    <a:pt x="2105" y="112634"/>
                  </a:cubicBezTo>
                  <a:cubicBezTo>
                    <a:pt x="-2376" y="105166"/>
                    <a:pt x="612" y="96204"/>
                    <a:pt x="8080" y="91724"/>
                  </a:cubicBezTo>
                  <a:lnTo>
                    <a:pt x="163418" y="2105"/>
                  </a:lnTo>
                  <a:cubicBezTo>
                    <a:pt x="170886" y="-2376"/>
                    <a:pt x="179848" y="612"/>
                    <a:pt x="184329" y="8080"/>
                  </a:cubicBezTo>
                  <a:cubicBezTo>
                    <a:pt x="188810" y="15548"/>
                    <a:pt x="185822" y="24510"/>
                    <a:pt x="178354" y="28991"/>
                  </a:cubicBezTo>
                  <a:lnTo>
                    <a:pt x="23016" y="118609"/>
                  </a:lnTo>
                  <a:cubicBezTo>
                    <a:pt x="20029" y="118609"/>
                    <a:pt x="17042" y="120102"/>
                    <a:pt x="15548" y="120102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2" name="任意多边形: 形状 10411"/>
            <p:cNvSpPr/>
            <p:nvPr/>
          </p:nvSpPr>
          <p:spPr>
            <a:xfrm>
              <a:off x="7638907" y="5261521"/>
              <a:ext cx="179236" cy="119491"/>
            </a:xfrm>
            <a:custGeom>
              <a:avLst/>
              <a:gdLst>
                <a:gd name="connsiteX0" fmla="*/ 15548 w 179236"/>
                <a:gd name="connsiteY0" fmla="*/ 120102 h 119490"/>
                <a:gd name="connsiteX1" fmla="*/ 2105 w 179236"/>
                <a:gd name="connsiteY1" fmla="*/ 112634 h 119490"/>
                <a:gd name="connsiteX2" fmla="*/ 8080 w 179236"/>
                <a:gd name="connsiteY2" fmla="*/ 91724 h 119490"/>
                <a:gd name="connsiteX3" fmla="*/ 163418 w 179236"/>
                <a:gd name="connsiteY3" fmla="*/ 2105 h 119490"/>
                <a:gd name="connsiteX4" fmla="*/ 184329 w 179236"/>
                <a:gd name="connsiteY4" fmla="*/ 8080 h 119490"/>
                <a:gd name="connsiteX5" fmla="*/ 178354 w 179236"/>
                <a:gd name="connsiteY5" fmla="*/ 28991 h 119490"/>
                <a:gd name="connsiteX6" fmla="*/ 23016 w 179236"/>
                <a:gd name="connsiteY6" fmla="*/ 118609 h 119490"/>
                <a:gd name="connsiteX7" fmla="*/ 15548 w 179236"/>
                <a:gd name="connsiteY7" fmla="*/ 120102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19490">
                  <a:moveTo>
                    <a:pt x="15548" y="120102"/>
                  </a:moveTo>
                  <a:cubicBezTo>
                    <a:pt x="11067" y="120102"/>
                    <a:pt x="5092" y="117115"/>
                    <a:pt x="2105" y="112634"/>
                  </a:cubicBezTo>
                  <a:cubicBezTo>
                    <a:pt x="-2376" y="105166"/>
                    <a:pt x="612" y="96204"/>
                    <a:pt x="8080" y="91724"/>
                  </a:cubicBezTo>
                  <a:lnTo>
                    <a:pt x="163418" y="2105"/>
                  </a:lnTo>
                  <a:cubicBezTo>
                    <a:pt x="170886" y="-2376"/>
                    <a:pt x="179848" y="612"/>
                    <a:pt x="184329" y="8080"/>
                  </a:cubicBezTo>
                  <a:cubicBezTo>
                    <a:pt x="188810" y="15548"/>
                    <a:pt x="185822" y="24510"/>
                    <a:pt x="178354" y="28991"/>
                  </a:cubicBezTo>
                  <a:lnTo>
                    <a:pt x="23016" y="118609"/>
                  </a:lnTo>
                  <a:cubicBezTo>
                    <a:pt x="20029" y="118609"/>
                    <a:pt x="17042" y="120102"/>
                    <a:pt x="15548" y="120102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3" name="任意多边形: 形状 10412"/>
            <p:cNvSpPr/>
            <p:nvPr/>
          </p:nvSpPr>
          <p:spPr>
            <a:xfrm>
              <a:off x="7332576" y="4013247"/>
              <a:ext cx="89618" cy="44809"/>
            </a:xfrm>
            <a:custGeom>
              <a:avLst/>
              <a:gdLst>
                <a:gd name="connsiteX0" fmla="*/ 6721 w 89618"/>
                <a:gd name="connsiteY0" fmla="*/ 4688 h 44809"/>
                <a:gd name="connsiteX1" fmla="*/ 6721 w 89618"/>
                <a:gd name="connsiteY1" fmla="*/ 24105 h 44809"/>
                <a:gd name="connsiteX2" fmla="*/ 61986 w 89618"/>
                <a:gd name="connsiteY2" fmla="*/ 53978 h 44809"/>
                <a:gd name="connsiteX3" fmla="*/ 96339 w 89618"/>
                <a:gd name="connsiteY3" fmla="*/ 52484 h 44809"/>
                <a:gd name="connsiteX4" fmla="*/ 96339 w 89618"/>
                <a:gd name="connsiteY4" fmla="*/ 52484 h 44809"/>
                <a:gd name="connsiteX5" fmla="*/ 96339 w 89618"/>
                <a:gd name="connsiteY5" fmla="*/ 33067 h 44809"/>
                <a:gd name="connsiteX6" fmla="*/ 41075 w 89618"/>
                <a:gd name="connsiteY6" fmla="*/ 3194 h 44809"/>
                <a:gd name="connsiteX7" fmla="*/ 6721 w 89618"/>
                <a:gd name="connsiteY7" fmla="*/ 4688 h 44809"/>
                <a:gd name="connsiteX8" fmla="*/ 6721 w 89618"/>
                <a:gd name="connsiteY8" fmla="*/ 4688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4688"/>
                  </a:moveTo>
                  <a:cubicBezTo>
                    <a:pt x="-2240" y="10662"/>
                    <a:pt x="-2240" y="19624"/>
                    <a:pt x="6721" y="24105"/>
                  </a:cubicBezTo>
                  <a:lnTo>
                    <a:pt x="61986" y="53978"/>
                  </a:lnTo>
                  <a:cubicBezTo>
                    <a:pt x="70948" y="58458"/>
                    <a:pt x="87378" y="58458"/>
                    <a:pt x="96339" y="52484"/>
                  </a:cubicBezTo>
                  <a:lnTo>
                    <a:pt x="96339" y="52484"/>
                  </a:lnTo>
                  <a:cubicBezTo>
                    <a:pt x="105301" y="46510"/>
                    <a:pt x="105301" y="37548"/>
                    <a:pt x="96339" y="33067"/>
                  </a:cubicBezTo>
                  <a:lnTo>
                    <a:pt x="41075" y="3194"/>
                  </a:lnTo>
                  <a:cubicBezTo>
                    <a:pt x="32113" y="-1287"/>
                    <a:pt x="15683" y="-1287"/>
                    <a:pt x="6721" y="4688"/>
                  </a:cubicBezTo>
                  <a:lnTo>
                    <a:pt x="6721" y="4688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4" name="任意多边形: 形状 10413"/>
            <p:cNvSpPr/>
            <p:nvPr/>
          </p:nvSpPr>
          <p:spPr>
            <a:xfrm>
              <a:off x="7331830" y="3994037"/>
              <a:ext cx="89618" cy="59745"/>
            </a:xfrm>
            <a:custGeom>
              <a:avLst/>
              <a:gdLst>
                <a:gd name="connsiteX0" fmla="*/ 101567 w 89618"/>
                <a:gd name="connsiteY0" fmla="*/ 0 h 59745"/>
                <a:gd name="connsiteX1" fmla="*/ 50783 w 89618"/>
                <a:gd name="connsiteY1" fmla="*/ 13443 h 59745"/>
                <a:gd name="connsiteX2" fmla="*/ 0 w 89618"/>
                <a:gd name="connsiteY2" fmla="*/ 34353 h 59745"/>
                <a:gd name="connsiteX3" fmla="*/ 103061 w 89618"/>
                <a:gd name="connsiteY3" fmla="*/ 61239 h 59745"/>
                <a:gd name="connsiteX4" fmla="*/ 101567 w 89618"/>
                <a:gd name="connsiteY4" fmla="*/ 0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18" h="59745">
                  <a:moveTo>
                    <a:pt x="101567" y="0"/>
                  </a:moveTo>
                  <a:lnTo>
                    <a:pt x="50783" y="13443"/>
                  </a:lnTo>
                  <a:cubicBezTo>
                    <a:pt x="19417" y="5974"/>
                    <a:pt x="0" y="16430"/>
                    <a:pt x="0" y="34353"/>
                  </a:cubicBezTo>
                  <a:lnTo>
                    <a:pt x="103061" y="61239"/>
                  </a:lnTo>
                  <a:lnTo>
                    <a:pt x="101567" y="0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5" name="任意多边形: 形状 10414"/>
            <p:cNvSpPr/>
            <p:nvPr/>
          </p:nvSpPr>
          <p:spPr>
            <a:xfrm>
              <a:off x="7339241" y="3614583"/>
              <a:ext cx="104554" cy="224045"/>
            </a:xfrm>
            <a:custGeom>
              <a:avLst/>
              <a:gdLst>
                <a:gd name="connsiteX0" fmla="*/ 113573 w 104554"/>
                <a:gd name="connsiteY0" fmla="*/ 215154 h 224045"/>
                <a:gd name="connsiteX1" fmla="*/ 113573 w 104554"/>
                <a:gd name="connsiteY1" fmla="*/ 213661 h 224045"/>
                <a:gd name="connsiteX2" fmla="*/ 113573 w 104554"/>
                <a:gd name="connsiteY2" fmla="*/ 215154 h 224045"/>
                <a:gd name="connsiteX3" fmla="*/ 85194 w 104554"/>
                <a:gd name="connsiteY3" fmla="*/ 44880 h 224045"/>
                <a:gd name="connsiteX4" fmla="*/ 62790 w 104554"/>
                <a:gd name="connsiteY4" fmla="*/ 9033 h 224045"/>
                <a:gd name="connsiteX5" fmla="*/ 26942 w 104554"/>
                <a:gd name="connsiteY5" fmla="*/ 1565 h 224045"/>
                <a:gd name="connsiteX6" fmla="*/ 57 w 104554"/>
                <a:gd name="connsiteY6" fmla="*/ 46374 h 224045"/>
                <a:gd name="connsiteX7" fmla="*/ 29930 w 104554"/>
                <a:gd name="connsiteY7" fmla="*/ 224116 h 224045"/>
                <a:gd name="connsiteX8" fmla="*/ 29930 w 104554"/>
                <a:gd name="connsiteY8" fmla="*/ 224116 h 224045"/>
                <a:gd name="connsiteX9" fmla="*/ 46360 w 104554"/>
                <a:gd name="connsiteY9" fmla="*/ 234571 h 224045"/>
                <a:gd name="connsiteX10" fmla="*/ 56815 w 104554"/>
                <a:gd name="connsiteY10" fmla="*/ 236065 h 224045"/>
                <a:gd name="connsiteX11" fmla="*/ 98637 w 104554"/>
                <a:gd name="connsiteY11" fmla="*/ 228597 h 224045"/>
                <a:gd name="connsiteX12" fmla="*/ 104611 w 104554"/>
                <a:gd name="connsiteY12" fmla="*/ 225610 h 224045"/>
                <a:gd name="connsiteX13" fmla="*/ 107599 w 104554"/>
                <a:gd name="connsiteY13" fmla="*/ 224116 h 224045"/>
                <a:gd name="connsiteX14" fmla="*/ 113573 w 104554"/>
                <a:gd name="connsiteY14" fmla="*/ 215154 h 224045"/>
                <a:gd name="connsiteX15" fmla="*/ 113573 w 104554"/>
                <a:gd name="connsiteY15" fmla="*/ 210673 h 224045"/>
                <a:gd name="connsiteX16" fmla="*/ 113573 w 104554"/>
                <a:gd name="connsiteY16" fmla="*/ 210673 h 224045"/>
                <a:gd name="connsiteX17" fmla="*/ 113573 w 104554"/>
                <a:gd name="connsiteY17" fmla="*/ 210673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4554" h="224045">
                  <a:moveTo>
                    <a:pt x="113573" y="215154"/>
                  </a:moveTo>
                  <a:cubicBezTo>
                    <a:pt x="113573" y="215154"/>
                    <a:pt x="113573" y="213661"/>
                    <a:pt x="113573" y="213661"/>
                  </a:cubicBezTo>
                  <a:cubicBezTo>
                    <a:pt x="113573" y="213661"/>
                    <a:pt x="113573" y="213661"/>
                    <a:pt x="113573" y="215154"/>
                  </a:cubicBezTo>
                  <a:cubicBezTo>
                    <a:pt x="109092" y="152421"/>
                    <a:pt x="89675" y="52348"/>
                    <a:pt x="85194" y="44880"/>
                  </a:cubicBezTo>
                  <a:cubicBezTo>
                    <a:pt x="80713" y="37412"/>
                    <a:pt x="71751" y="13514"/>
                    <a:pt x="62790" y="9033"/>
                  </a:cubicBezTo>
                  <a:cubicBezTo>
                    <a:pt x="52334" y="3058"/>
                    <a:pt x="38891" y="-2916"/>
                    <a:pt x="26942" y="1565"/>
                  </a:cubicBezTo>
                  <a:cubicBezTo>
                    <a:pt x="12006" y="6045"/>
                    <a:pt x="1551" y="31437"/>
                    <a:pt x="57" y="46374"/>
                  </a:cubicBezTo>
                  <a:cubicBezTo>
                    <a:pt x="-1437" y="61310"/>
                    <a:pt x="26942" y="221129"/>
                    <a:pt x="29930" y="224116"/>
                  </a:cubicBezTo>
                  <a:lnTo>
                    <a:pt x="29930" y="224116"/>
                  </a:lnTo>
                  <a:cubicBezTo>
                    <a:pt x="31423" y="230091"/>
                    <a:pt x="38891" y="233078"/>
                    <a:pt x="46360" y="234571"/>
                  </a:cubicBezTo>
                  <a:cubicBezTo>
                    <a:pt x="49347" y="234571"/>
                    <a:pt x="53828" y="236065"/>
                    <a:pt x="56815" y="236065"/>
                  </a:cubicBezTo>
                  <a:cubicBezTo>
                    <a:pt x="71751" y="236065"/>
                    <a:pt x="85194" y="233078"/>
                    <a:pt x="98637" y="228597"/>
                  </a:cubicBezTo>
                  <a:cubicBezTo>
                    <a:pt x="100131" y="227103"/>
                    <a:pt x="103118" y="227103"/>
                    <a:pt x="104611" y="225610"/>
                  </a:cubicBezTo>
                  <a:cubicBezTo>
                    <a:pt x="106105" y="225610"/>
                    <a:pt x="106105" y="224116"/>
                    <a:pt x="107599" y="224116"/>
                  </a:cubicBezTo>
                  <a:cubicBezTo>
                    <a:pt x="112079" y="219635"/>
                    <a:pt x="113573" y="218141"/>
                    <a:pt x="113573" y="215154"/>
                  </a:cubicBezTo>
                  <a:close/>
                  <a:moveTo>
                    <a:pt x="113573" y="210673"/>
                  </a:moveTo>
                  <a:cubicBezTo>
                    <a:pt x="113573" y="210673"/>
                    <a:pt x="113573" y="210673"/>
                    <a:pt x="113573" y="210673"/>
                  </a:cubicBezTo>
                  <a:cubicBezTo>
                    <a:pt x="113573" y="210673"/>
                    <a:pt x="113573" y="210673"/>
                    <a:pt x="113573" y="210673"/>
                  </a:cubicBezTo>
                  <a:close/>
                </a:path>
              </a:pathLst>
            </a:custGeom>
            <a:solidFill>
              <a:srgbClr val="30303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6" name="任意多边形: 形状 10415"/>
            <p:cNvSpPr/>
            <p:nvPr/>
          </p:nvSpPr>
          <p:spPr>
            <a:xfrm>
              <a:off x="7358805" y="3850699"/>
              <a:ext cx="104554" cy="44809"/>
            </a:xfrm>
            <a:custGeom>
              <a:avLst/>
              <a:gdLst>
                <a:gd name="connsiteX0" fmla="*/ 5884 w 104554"/>
                <a:gd name="connsiteY0" fmla="*/ 7417 h 44809"/>
                <a:gd name="connsiteX1" fmla="*/ 8872 w 104554"/>
                <a:gd name="connsiteY1" fmla="*/ 26834 h 44809"/>
                <a:gd name="connsiteX2" fmla="*/ 67124 w 104554"/>
                <a:gd name="connsiteY2" fmla="*/ 47745 h 44809"/>
                <a:gd name="connsiteX3" fmla="*/ 101477 w 104554"/>
                <a:gd name="connsiteY3" fmla="*/ 41771 h 44809"/>
                <a:gd name="connsiteX4" fmla="*/ 101477 w 104554"/>
                <a:gd name="connsiteY4" fmla="*/ 41771 h 44809"/>
                <a:gd name="connsiteX5" fmla="*/ 98490 w 104554"/>
                <a:gd name="connsiteY5" fmla="*/ 22353 h 44809"/>
                <a:gd name="connsiteX6" fmla="*/ 40238 w 104554"/>
                <a:gd name="connsiteY6" fmla="*/ 1443 h 44809"/>
                <a:gd name="connsiteX7" fmla="*/ 5884 w 104554"/>
                <a:gd name="connsiteY7" fmla="*/ 7417 h 44809"/>
                <a:gd name="connsiteX8" fmla="*/ 5884 w 104554"/>
                <a:gd name="connsiteY8" fmla="*/ 7417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554" h="44809">
                  <a:moveTo>
                    <a:pt x="5884" y="7417"/>
                  </a:moveTo>
                  <a:cubicBezTo>
                    <a:pt x="-3077" y="14885"/>
                    <a:pt x="-1584" y="23847"/>
                    <a:pt x="8872" y="26834"/>
                  </a:cubicBezTo>
                  <a:lnTo>
                    <a:pt x="67124" y="47745"/>
                  </a:lnTo>
                  <a:cubicBezTo>
                    <a:pt x="77579" y="50732"/>
                    <a:pt x="92515" y="49239"/>
                    <a:pt x="101477" y="41771"/>
                  </a:cubicBezTo>
                  <a:lnTo>
                    <a:pt x="101477" y="41771"/>
                  </a:lnTo>
                  <a:cubicBezTo>
                    <a:pt x="110439" y="34302"/>
                    <a:pt x="108945" y="25341"/>
                    <a:pt x="98490" y="22353"/>
                  </a:cubicBezTo>
                  <a:lnTo>
                    <a:pt x="40238" y="1443"/>
                  </a:lnTo>
                  <a:cubicBezTo>
                    <a:pt x="29783" y="-1545"/>
                    <a:pt x="14846" y="-51"/>
                    <a:pt x="5884" y="7417"/>
                  </a:cubicBezTo>
                  <a:lnTo>
                    <a:pt x="5884" y="7417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7" name="任意多边形: 形状 10416"/>
            <p:cNvSpPr/>
            <p:nvPr/>
          </p:nvSpPr>
          <p:spPr>
            <a:xfrm>
              <a:off x="7359886" y="3820776"/>
              <a:ext cx="104554" cy="59745"/>
            </a:xfrm>
            <a:custGeom>
              <a:avLst/>
              <a:gdLst>
                <a:gd name="connsiteX0" fmla="*/ 94422 w 104554"/>
                <a:gd name="connsiteY0" fmla="*/ 0 h 59745"/>
                <a:gd name="connsiteX1" fmla="*/ 46626 w 104554"/>
                <a:gd name="connsiteY1" fmla="*/ 20911 h 59745"/>
                <a:gd name="connsiteX2" fmla="*/ 323 w 104554"/>
                <a:gd name="connsiteY2" fmla="*/ 47796 h 59745"/>
                <a:gd name="connsiteX3" fmla="*/ 106371 w 104554"/>
                <a:gd name="connsiteY3" fmla="*/ 59745 h 59745"/>
                <a:gd name="connsiteX4" fmla="*/ 94422 w 104554"/>
                <a:gd name="connsiteY4" fmla="*/ 0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54" h="59745">
                  <a:moveTo>
                    <a:pt x="94422" y="0"/>
                  </a:moveTo>
                  <a:lnTo>
                    <a:pt x="46626" y="20911"/>
                  </a:lnTo>
                  <a:cubicBezTo>
                    <a:pt x="15259" y="17924"/>
                    <a:pt x="-2664" y="31366"/>
                    <a:pt x="323" y="47796"/>
                  </a:cubicBezTo>
                  <a:lnTo>
                    <a:pt x="106371" y="59745"/>
                  </a:lnTo>
                  <a:lnTo>
                    <a:pt x="94422" y="0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8" name="任意多边形: 形状 10417"/>
            <p:cNvSpPr/>
            <p:nvPr/>
          </p:nvSpPr>
          <p:spPr>
            <a:xfrm>
              <a:off x="7375145" y="3583288"/>
              <a:ext cx="164300" cy="224045"/>
            </a:xfrm>
            <a:custGeom>
              <a:avLst/>
              <a:gdLst>
                <a:gd name="connsiteX0" fmla="*/ 144883 w 164299"/>
                <a:gd name="connsiteY0" fmla="*/ 132933 h 224045"/>
                <a:gd name="connsiteX1" fmla="*/ 135921 w 164299"/>
                <a:gd name="connsiteY1" fmla="*/ 138908 h 224045"/>
                <a:gd name="connsiteX2" fmla="*/ 79163 w 164299"/>
                <a:gd name="connsiteY2" fmla="*/ 235994 h 224045"/>
                <a:gd name="connsiteX3" fmla="*/ 0 w 164299"/>
                <a:gd name="connsiteY3" fmla="*/ 209109 h 224045"/>
                <a:gd name="connsiteX4" fmla="*/ 0 w 164299"/>
                <a:gd name="connsiteY4" fmla="*/ 209109 h 224045"/>
                <a:gd name="connsiteX5" fmla="*/ 37341 w 164299"/>
                <a:gd name="connsiteY5" fmla="*/ 98580 h 224045"/>
                <a:gd name="connsiteX6" fmla="*/ 34354 w 164299"/>
                <a:gd name="connsiteY6" fmla="*/ 89618 h 224045"/>
                <a:gd name="connsiteX7" fmla="*/ 25392 w 164299"/>
                <a:gd name="connsiteY7" fmla="*/ 56758 h 224045"/>
                <a:gd name="connsiteX8" fmla="*/ 28379 w 164299"/>
                <a:gd name="connsiteY8" fmla="*/ 53771 h 224045"/>
                <a:gd name="connsiteX9" fmla="*/ 70201 w 164299"/>
                <a:gd name="connsiteY9" fmla="*/ 0 h 224045"/>
                <a:gd name="connsiteX10" fmla="*/ 116504 w 164299"/>
                <a:gd name="connsiteY10" fmla="*/ 32860 h 224045"/>
                <a:gd name="connsiteX11" fmla="*/ 162806 w 164299"/>
                <a:gd name="connsiteY11" fmla="*/ 26885 h 224045"/>
                <a:gd name="connsiteX12" fmla="*/ 144883 w 164299"/>
                <a:gd name="connsiteY12" fmla="*/ 132933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4299" h="224045">
                  <a:moveTo>
                    <a:pt x="144883" y="132933"/>
                  </a:moveTo>
                  <a:lnTo>
                    <a:pt x="135921" y="138908"/>
                  </a:lnTo>
                  <a:lnTo>
                    <a:pt x="79163" y="235994"/>
                  </a:lnTo>
                  <a:lnTo>
                    <a:pt x="0" y="209109"/>
                  </a:lnTo>
                  <a:lnTo>
                    <a:pt x="0" y="209109"/>
                  </a:lnTo>
                  <a:lnTo>
                    <a:pt x="37341" y="98580"/>
                  </a:lnTo>
                  <a:lnTo>
                    <a:pt x="34354" y="89618"/>
                  </a:lnTo>
                  <a:lnTo>
                    <a:pt x="25392" y="56758"/>
                  </a:lnTo>
                  <a:lnTo>
                    <a:pt x="28379" y="53771"/>
                  </a:lnTo>
                  <a:lnTo>
                    <a:pt x="70201" y="0"/>
                  </a:lnTo>
                  <a:lnTo>
                    <a:pt x="116504" y="32860"/>
                  </a:lnTo>
                  <a:lnTo>
                    <a:pt x="162806" y="26885"/>
                  </a:lnTo>
                  <a:cubicBezTo>
                    <a:pt x="162806" y="25392"/>
                    <a:pt x="192679" y="101567"/>
                    <a:pt x="144883" y="132933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9" name="任意多边形: 形状 10418"/>
            <p:cNvSpPr/>
            <p:nvPr/>
          </p:nvSpPr>
          <p:spPr>
            <a:xfrm>
              <a:off x="7356620" y="3987212"/>
              <a:ext cx="74682" cy="44809"/>
            </a:xfrm>
            <a:custGeom>
              <a:avLst/>
              <a:gdLst>
                <a:gd name="connsiteX0" fmla="*/ 15538 w 74681"/>
                <a:gd name="connsiteY0" fmla="*/ 2344 h 44809"/>
                <a:gd name="connsiteX1" fmla="*/ 9563 w 74681"/>
                <a:gd name="connsiteY1" fmla="*/ 35204 h 44809"/>
                <a:gd name="connsiteX2" fmla="*/ 67815 w 74681"/>
                <a:gd name="connsiteY2" fmla="*/ 47153 h 44809"/>
                <a:gd name="connsiteX3" fmla="*/ 73790 w 74681"/>
                <a:gd name="connsiteY3" fmla="*/ 14293 h 44809"/>
                <a:gd name="connsiteX4" fmla="*/ 15538 w 74681"/>
                <a:gd name="connsiteY4" fmla="*/ 2344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15538" y="2344"/>
                  </a:moveTo>
                  <a:cubicBezTo>
                    <a:pt x="-2386" y="8319"/>
                    <a:pt x="-5373" y="23255"/>
                    <a:pt x="9563" y="35204"/>
                  </a:cubicBezTo>
                  <a:cubicBezTo>
                    <a:pt x="23006" y="47153"/>
                    <a:pt x="49892" y="53128"/>
                    <a:pt x="67815" y="47153"/>
                  </a:cubicBezTo>
                  <a:cubicBezTo>
                    <a:pt x="85739" y="41178"/>
                    <a:pt x="88726" y="26242"/>
                    <a:pt x="73790" y="14293"/>
                  </a:cubicBezTo>
                  <a:cubicBezTo>
                    <a:pt x="58853" y="2344"/>
                    <a:pt x="31968" y="-3631"/>
                    <a:pt x="15538" y="2344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0" name="任意多边形: 形状 10419"/>
            <p:cNvSpPr/>
            <p:nvPr/>
          </p:nvSpPr>
          <p:spPr>
            <a:xfrm>
              <a:off x="7357106" y="3771486"/>
              <a:ext cx="89618" cy="238981"/>
            </a:xfrm>
            <a:custGeom>
              <a:avLst/>
              <a:gdLst>
                <a:gd name="connsiteX0" fmla="*/ 80772 w 89618"/>
                <a:gd name="connsiteY0" fmla="*/ 249437 h 238981"/>
                <a:gd name="connsiteX1" fmla="*/ 98695 w 89618"/>
                <a:gd name="connsiteY1" fmla="*/ 43316 h 238981"/>
                <a:gd name="connsiteX2" fmla="*/ 83759 w 89618"/>
                <a:gd name="connsiteY2" fmla="*/ 16430 h 238981"/>
                <a:gd name="connsiteX3" fmla="*/ 50899 w 89618"/>
                <a:gd name="connsiteY3" fmla="*/ 0 h 238981"/>
                <a:gd name="connsiteX4" fmla="*/ 16545 w 89618"/>
                <a:gd name="connsiteY4" fmla="*/ 23898 h 238981"/>
                <a:gd name="connsiteX5" fmla="*/ 115 w 89618"/>
                <a:gd name="connsiteY5" fmla="*/ 231514 h 238981"/>
                <a:gd name="connsiteX6" fmla="*/ 9077 w 89618"/>
                <a:gd name="connsiteY6" fmla="*/ 243462 h 238981"/>
                <a:gd name="connsiteX7" fmla="*/ 80772 w 89618"/>
                <a:gd name="connsiteY7" fmla="*/ 249437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618" h="238981">
                  <a:moveTo>
                    <a:pt x="80772" y="249437"/>
                  </a:moveTo>
                  <a:cubicBezTo>
                    <a:pt x="91227" y="188198"/>
                    <a:pt x="101682" y="50784"/>
                    <a:pt x="98695" y="43316"/>
                  </a:cubicBezTo>
                  <a:cubicBezTo>
                    <a:pt x="95708" y="34354"/>
                    <a:pt x="89733" y="22405"/>
                    <a:pt x="83759" y="16430"/>
                  </a:cubicBezTo>
                  <a:cubicBezTo>
                    <a:pt x="74797" y="7468"/>
                    <a:pt x="62848" y="0"/>
                    <a:pt x="50899" y="0"/>
                  </a:cubicBezTo>
                  <a:cubicBezTo>
                    <a:pt x="35963" y="0"/>
                    <a:pt x="22520" y="10455"/>
                    <a:pt x="16545" y="23898"/>
                  </a:cubicBezTo>
                  <a:cubicBezTo>
                    <a:pt x="12064" y="38835"/>
                    <a:pt x="-1378" y="222552"/>
                    <a:pt x="115" y="231514"/>
                  </a:cubicBezTo>
                  <a:cubicBezTo>
                    <a:pt x="1609" y="240475"/>
                    <a:pt x="1609" y="240475"/>
                    <a:pt x="9077" y="243462"/>
                  </a:cubicBezTo>
                  <a:lnTo>
                    <a:pt x="80772" y="249437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1" name="任意多边形: 形状 10420"/>
            <p:cNvSpPr/>
            <p:nvPr/>
          </p:nvSpPr>
          <p:spPr>
            <a:xfrm>
              <a:off x="7393069" y="3575820"/>
              <a:ext cx="134427" cy="74682"/>
            </a:xfrm>
            <a:custGeom>
              <a:avLst/>
              <a:gdLst>
                <a:gd name="connsiteX0" fmla="*/ 144882 w 134427"/>
                <a:gd name="connsiteY0" fmla="*/ 32860 h 74681"/>
                <a:gd name="connsiteX1" fmla="*/ 11949 w 134427"/>
                <a:gd name="connsiteY1" fmla="*/ 77669 h 74681"/>
                <a:gd name="connsiteX2" fmla="*/ 0 w 134427"/>
                <a:gd name="connsiteY2" fmla="*/ 37341 h 74681"/>
                <a:gd name="connsiteX3" fmla="*/ 2987 w 134427"/>
                <a:gd name="connsiteY3" fmla="*/ 34353 h 74681"/>
                <a:gd name="connsiteX4" fmla="*/ 38835 w 134427"/>
                <a:gd name="connsiteY4" fmla="*/ 29873 h 74681"/>
                <a:gd name="connsiteX5" fmla="*/ 65720 w 134427"/>
                <a:gd name="connsiteY5" fmla="*/ 23898 h 74681"/>
                <a:gd name="connsiteX6" fmla="*/ 91112 w 134427"/>
                <a:gd name="connsiteY6" fmla="*/ 11949 h 74681"/>
                <a:gd name="connsiteX7" fmla="*/ 97086 w 134427"/>
                <a:gd name="connsiteY7" fmla="*/ 16430 h 74681"/>
                <a:gd name="connsiteX8" fmla="*/ 137414 w 134427"/>
                <a:gd name="connsiteY8" fmla="*/ 0 h 74681"/>
                <a:gd name="connsiteX9" fmla="*/ 144882 w 134427"/>
                <a:gd name="connsiteY9" fmla="*/ 3286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4427" h="74681">
                  <a:moveTo>
                    <a:pt x="144882" y="32860"/>
                  </a:moveTo>
                  <a:cubicBezTo>
                    <a:pt x="143389" y="52277"/>
                    <a:pt x="49290" y="103061"/>
                    <a:pt x="11949" y="77669"/>
                  </a:cubicBezTo>
                  <a:lnTo>
                    <a:pt x="0" y="37341"/>
                  </a:lnTo>
                  <a:lnTo>
                    <a:pt x="2987" y="34353"/>
                  </a:lnTo>
                  <a:cubicBezTo>
                    <a:pt x="14936" y="32860"/>
                    <a:pt x="26885" y="31366"/>
                    <a:pt x="38835" y="29873"/>
                  </a:cubicBezTo>
                  <a:cubicBezTo>
                    <a:pt x="47796" y="28379"/>
                    <a:pt x="56758" y="26885"/>
                    <a:pt x="65720" y="23898"/>
                  </a:cubicBezTo>
                  <a:cubicBezTo>
                    <a:pt x="74682" y="20911"/>
                    <a:pt x="83644" y="16430"/>
                    <a:pt x="91112" y="11949"/>
                  </a:cubicBezTo>
                  <a:lnTo>
                    <a:pt x="97086" y="16430"/>
                  </a:lnTo>
                  <a:lnTo>
                    <a:pt x="137414" y="0"/>
                  </a:lnTo>
                  <a:lnTo>
                    <a:pt x="144882" y="32860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2" name="任意多边形: 形状 10421"/>
            <p:cNvSpPr/>
            <p:nvPr/>
          </p:nvSpPr>
          <p:spPr>
            <a:xfrm>
              <a:off x="7206364" y="3378660"/>
              <a:ext cx="179236" cy="59745"/>
            </a:xfrm>
            <a:custGeom>
              <a:avLst/>
              <a:gdLst>
                <a:gd name="connsiteX0" fmla="*/ 150857 w 179236"/>
                <a:gd name="connsiteY0" fmla="*/ 70201 h 59745"/>
                <a:gd name="connsiteX1" fmla="*/ 131440 w 179236"/>
                <a:gd name="connsiteY1" fmla="*/ 68707 h 59745"/>
                <a:gd name="connsiteX2" fmla="*/ 29873 w 179236"/>
                <a:gd name="connsiteY2" fmla="*/ 62733 h 59745"/>
                <a:gd name="connsiteX3" fmla="*/ 17924 w 179236"/>
                <a:gd name="connsiteY3" fmla="*/ 59745 h 59745"/>
                <a:gd name="connsiteX4" fmla="*/ 0 w 179236"/>
                <a:gd name="connsiteY4" fmla="*/ 35847 h 59745"/>
                <a:gd name="connsiteX5" fmla="*/ 0 w 179236"/>
                <a:gd name="connsiteY5" fmla="*/ 29873 h 59745"/>
                <a:gd name="connsiteX6" fmla="*/ 11949 w 179236"/>
                <a:gd name="connsiteY6" fmla="*/ 7468 h 59745"/>
                <a:gd name="connsiteX7" fmla="*/ 32860 w 179236"/>
                <a:gd name="connsiteY7" fmla="*/ 1494 h 59745"/>
                <a:gd name="connsiteX8" fmla="*/ 37341 w 179236"/>
                <a:gd name="connsiteY8" fmla="*/ 1494 h 59745"/>
                <a:gd name="connsiteX9" fmla="*/ 43315 w 179236"/>
                <a:gd name="connsiteY9" fmla="*/ 1494 h 59745"/>
                <a:gd name="connsiteX10" fmla="*/ 128452 w 179236"/>
                <a:gd name="connsiteY10" fmla="*/ 0 h 59745"/>
                <a:gd name="connsiteX11" fmla="*/ 158325 w 179236"/>
                <a:gd name="connsiteY11" fmla="*/ 1494 h 59745"/>
                <a:gd name="connsiteX12" fmla="*/ 180730 w 179236"/>
                <a:gd name="connsiteY12" fmla="*/ 35847 h 59745"/>
                <a:gd name="connsiteX13" fmla="*/ 180730 w 179236"/>
                <a:gd name="connsiteY13" fmla="*/ 41822 h 59745"/>
                <a:gd name="connsiteX14" fmla="*/ 150857 w 179236"/>
                <a:gd name="connsiteY14" fmla="*/ 70201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9236" h="59745">
                  <a:moveTo>
                    <a:pt x="150857" y="70201"/>
                  </a:moveTo>
                  <a:lnTo>
                    <a:pt x="131440" y="68707"/>
                  </a:lnTo>
                  <a:lnTo>
                    <a:pt x="29873" y="62733"/>
                  </a:lnTo>
                  <a:cubicBezTo>
                    <a:pt x="25392" y="62733"/>
                    <a:pt x="20911" y="61239"/>
                    <a:pt x="17924" y="59745"/>
                  </a:cubicBezTo>
                  <a:cubicBezTo>
                    <a:pt x="8962" y="55265"/>
                    <a:pt x="1493" y="46303"/>
                    <a:pt x="0" y="35847"/>
                  </a:cubicBezTo>
                  <a:cubicBezTo>
                    <a:pt x="0" y="34354"/>
                    <a:pt x="0" y="31366"/>
                    <a:pt x="0" y="29873"/>
                  </a:cubicBezTo>
                  <a:cubicBezTo>
                    <a:pt x="0" y="20911"/>
                    <a:pt x="4481" y="11949"/>
                    <a:pt x="11949" y="7468"/>
                  </a:cubicBezTo>
                  <a:cubicBezTo>
                    <a:pt x="17924" y="2987"/>
                    <a:pt x="25392" y="0"/>
                    <a:pt x="32860" y="1494"/>
                  </a:cubicBezTo>
                  <a:lnTo>
                    <a:pt x="37341" y="1494"/>
                  </a:lnTo>
                  <a:lnTo>
                    <a:pt x="43315" y="1494"/>
                  </a:lnTo>
                  <a:lnTo>
                    <a:pt x="128452" y="0"/>
                  </a:lnTo>
                  <a:lnTo>
                    <a:pt x="158325" y="1494"/>
                  </a:lnTo>
                  <a:cubicBezTo>
                    <a:pt x="173261" y="2987"/>
                    <a:pt x="179236" y="20911"/>
                    <a:pt x="180730" y="35847"/>
                  </a:cubicBezTo>
                  <a:cubicBezTo>
                    <a:pt x="180730" y="37341"/>
                    <a:pt x="180730" y="38835"/>
                    <a:pt x="180730" y="41822"/>
                  </a:cubicBezTo>
                  <a:cubicBezTo>
                    <a:pt x="183717" y="58252"/>
                    <a:pt x="168781" y="71694"/>
                    <a:pt x="150857" y="70201"/>
                  </a:cubicBez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3" name="任意多边形: 形状 10422"/>
            <p:cNvSpPr/>
            <p:nvPr/>
          </p:nvSpPr>
          <p:spPr>
            <a:xfrm>
              <a:off x="7336311" y="3333827"/>
              <a:ext cx="194172" cy="298727"/>
            </a:xfrm>
            <a:custGeom>
              <a:avLst/>
              <a:gdLst>
                <a:gd name="connsiteX0" fmla="*/ 207615 w 194172"/>
                <a:gd name="connsiteY0" fmla="*/ 240499 h 298726"/>
                <a:gd name="connsiteX1" fmla="*/ 200147 w 194172"/>
                <a:gd name="connsiteY1" fmla="*/ 259916 h 298726"/>
                <a:gd name="connsiteX2" fmla="*/ 159819 w 194172"/>
                <a:gd name="connsiteY2" fmla="*/ 292776 h 298726"/>
                <a:gd name="connsiteX3" fmla="*/ 109035 w 194172"/>
                <a:gd name="connsiteY3" fmla="*/ 310699 h 298726"/>
                <a:gd name="connsiteX4" fmla="*/ 62733 w 194172"/>
                <a:gd name="connsiteY4" fmla="*/ 307712 h 298726"/>
                <a:gd name="connsiteX5" fmla="*/ 40328 w 194172"/>
                <a:gd name="connsiteY5" fmla="*/ 279333 h 298726"/>
                <a:gd name="connsiteX6" fmla="*/ 23898 w 194172"/>
                <a:gd name="connsiteY6" fmla="*/ 201664 h 298726"/>
                <a:gd name="connsiteX7" fmla="*/ 13443 w 194172"/>
                <a:gd name="connsiteY7" fmla="*/ 152374 h 298726"/>
                <a:gd name="connsiteX8" fmla="*/ 1493 w 194172"/>
                <a:gd name="connsiteY8" fmla="*/ 97110 h 298726"/>
                <a:gd name="connsiteX9" fmla="*/ 0 w 194172"/>
                <a:gd name="connsiteY9" fmla="*/ 85161 h 298726"/>
                <a:gd name="connsiteX10" fmla="*/ 19417 w 194172"/>
                <a:gd name="connsiteY10" fmla="*/ 53794 h 298726"/>
                <a:gd name="connsiteX11" fmla="*/ 59745 w 194172"/>
                <a:gd name="connsiteY11" fmla="*/ 19441 h 298726"/>
                <a:gd name="connsiteX12" fmla="*/ 128452 w 194172"/>
                <a:gd name="connsiteY12" fmla="*/ 23 h 298726"/>
                <a:gd name="connsiteX13" fmla="*/ 168781 w 194172"/>
                <a:gd name="connsiteY13" fmla="*/ 47820 h 298726"/>
                <a:gd name="connsiteX14" fmla="*/ 201640 w 194172"/>
                <a:gd name="connsiteY14" fmla="*/ 209132 h 298726"/>
                <a:gd name="connsiteX15" fmla="*/ 207615 w 194172"/>
                <a:gd name="connsiteY15" fmla="*/ 240499 h 29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4172" h="298726">
                  <a:moveTo>
                    <a:pt x="207615" y="240499"/>
                  </a:moveTo>
                  <a:cubicBezTo>
                    <a:pt x="207615" y="247967"/>
                    <a:pt x="204628" y="253941"/>
                    <a:pt x="200147" y="259916"/>
                  </a:cubicBezTo>
                  <a:cubicBezTo>
                    <a:pt x="188198" y="273358"/>
                    <a:pt x="174755" y="283814"/>
                    <a:pt x="159819" y="292776"/>
                  </a:cubicBezTo>
                  <a:cubicBezTo>
                    <a:pt x="144882" y="301738"/>
                    <a:pt x="126959" y="307712"/>
                    <a:pt x="109035" y="310699"/>
                  </a:cubicBezTo>
                  <a:cubicBezTo>
                    <a:pt x="94099" y="313687"/>
                    <a:pt x="77669" y="315180"/>
                    <a:pt x="62733" y="307712"/>
                  </a:cubicBezTo>
                  <a:cubicBezTo>
                    <a:pt x="52277" y="301738"/>
                    <a:pt x="44809" y="291282"/>
                    <a:pt x="40328" y="279333"/>
                  </a:cubicBezTo>
                  <a:cubicBezTo>
                    <a:pt x="26885" y="249460"/>
                    <a:pt x="31366" y="237511"/>
                    <a:pt x="23898" y="201664"/>
                  </a:cubicBezTo>
                  <a:cubicBezTo>
                    <a:pt x="20911" y="185234"/>
                    <a:pt x="16430" y="168804"/>
                    <a:pt x="13443" y="152374"/>
                  </a:cubicBezTo>
                  <a:cubicBezTo>
                    <a:pt x="8962" y="134450"/>
                    <a:pt x="5974" y="115033"/>
                    <a:pt x="1493" y="97110"/>
                  </a:cubicBezTo>
                  <a:cubicBezTo>
                    <a:pt x="0" y="92629"/>
                    <a:pt x="0" y="89641"/>
                    <a:pt x="0" y="85161"/>
                  </a:cubicBezTo>
                  <a:cubicBezTo>
                    <a:pt x="0" y="74705"/>
                    <a:pt x="11949" y="61262"/>
                    <a:pt x="19417" y="53794"/>
                  </a:cubicBezTo>
                  <a:cubicBezTo>
                    <a:pt x="31366" y="40352"/>
                    <a:pt x="46303" y="29896"/>
                    <a:pt x="59745" y="19441"/>
                  </a:cubicBezTo>
                  <a:cubicBezTo>
                    <a:pt x="88124" y="-1470"/>
                    <a:pt x="109035" y="23"/>
                    <a:pt x="128452" y="23"/>
                  </a:cubicBezTo>
                  <a:cubicBezTo>
                    <a:pt x="153844" y="1517"/>
                    <a:pt x="164300" y="26909"/>
                    <a:pt x="168781" y="47820"/>
                  </a:cubicBezTo>
                  <a:cubicBezTo>
                    <a:pt x="182223" y="106071"/>
                    <a:pt x="186704" y="150880"/>
                    <a:pt x="201640" y="209132"/>
                  </a:cubicBezTo>
                  <a:cubicBezTo>
                    <a:pt x="206122" y="218094"/>
                    <a:pt x="207615" y="230043"/>
                    <a:pt x="207615" y="240499"/>
                  </a:cubicBez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4" name="任意多边形: 形状 10423"/>
            <p:cNvSpPr/>
            <p:nvPr/>
          </p:nvSpPr>
          <p:spPr>
            <a:xfrm>
              <a:off x="7334153" y="3221694"/>
              <a:ext cx="74682" cy="119491"/>
            </a:xfrm>
            <a:custGeom>
              <a:avLst/>
              <a:gdLst>
                <a:gd name="connsiteX0" fmla="*/ 84307 w 74681"/>
                <a:gd name="connsiteY0" fmla="*/ 53906 h 119490"/>
                <a:gd name="connsiteX1" fmla="*/ 85801 w 74681"/>
                <a:gd name="connsiteY1" fmla="*/ 82284 h 119490"/>
                <a:gd name="connsiteX2" fmla="*/ 78333 w 74681"/>
                <a:gd name="connsiteY2" fmla="*/ 109170 h 119490"/>
                <a:gd name="connsiteX3" fmla="*/ 52941 w 74681"/>
                <a:gd name="connsiteY3" fmla="*/ 127094 h 119490"/>
                <a:gd name="connsiteX4" fmla="*/ 42486 w 74681"/>
                <a:gd name="connsiteY4" fmla="*/ 128587 h 119490"/>
                <a:gd name="connsiteX5" fmla="*/ 33524 w 74681"/>
                <a:gd name="connsiteY5" fmla="*/ 127094 h 119490"/>
                <a:gd name="connsiteX6" fmla="*/ 23068 w 74681"/>
                <a:gd name="connsiteY6" fmla="*/ 116638 h 119490"/>
                <a:gd name="connsiteX7" fmla="*/ 23068 w 74681"/>
                <a:gd name="connsiteY7" fmla="*/ 116638 h 119490"/>
                <a:gd name="connsiteX8" fmla="*/ 21575 w 74681"/>
                <a:gd name="connsiteY8" fmla="*/ 113651 h 119490"/>
                <a:gd name="connsiteX9" fmla="*/ 664 w 74681"/>
                <a:gd name="connsiteY9" fmla="*/ 37475 h 119490"/>
                <a:gd name="connsiteX10" fmla="*/ 664 w 74681"/>
                <a:gd name="connsiteY10" fmla="*/ 25527 h 119490"/>
                <a:gd name="connsiteX11" fmla="*/ 23068 w 74681"/>
                <a:gd name="connsiteY11" fmla="*/ 1628 h 119490"/>
                <a:gd name="connsiteX12" fmla="*/ 57422 w 74681"/>
                <a:gd name="connsiteY12" fmla="*/ 3122 h 119490"/>
                <a:gd name="connsiteX13" fmla="*/ 66384 w 74681"/>
                <a:gd name="connsiteY13" fmla="*/ 6109 h 119490"/>
                <a:gd name="connsiteX14" fmla="*/ 73852 w 74681"/>
                <a:gd name="connsiteY14" fmla="*/ 12084 h 119490"/>
                <a:gd name="connsiteX15" fmla="*/ 84307 w 74681"/>
                <a:gd name="connsiteY15" fmla="*/ 53906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4681" h="119490">
                  <a:moveTo>
                    <a:pt x="84307" y="53906"/>
                  </a:moveTo>
                  <a:cubicBezTo>
                    <a:pt x="85801" y="62867"/>
                    <a:pt x="85801" y="71829"/>
                    <a:pt x="85801" y="82284"/>
                  </a:cubicBezTo>
                  <a:cubicBezTo>
                    <a:pt x="85801" y="91246"/>
                    <a:pt x="82814" y="100208"/>
                    <a:pt x="78333" y="109170"/>
                  </a:cubicBezTo>
                  <a:cubicBezTo>
                    <a:pt x="72358" y="118132"/>
                    <a:pt x="63396" y="124106"/>
                    <a:pt x="52941" y="127094"/>
                  </a:cubicBezTo>
                  <a:cubicBezTo>
                    <a:pt x="49954" y="128587"/>
                    <a:pt x="46967" y="128587"/>
                    <a:pt x="42486" y="128587"/>
                  </a:cubicBezTo>
                  <a:cubicBezTo>
                    <a:pt x="39498" y="128587"/>
                    <a:pt x="36511" y="128587"/>
                    <a:pt x="33524" y="127094"/>
                  </a:cubicBezTo>
                  <a:cubicBezTo>
                    <a:pt x="29043" y="125600"/>
                    <a:pt x="26056" y="121119"/>
                    <a:pt x="23068" y="116638"/>
                  </a:cubicBezTo>
                  <a:cubicBezTo>
                    <a:pt x="23068" y="116638"/>
                    <a:pt x="23068" y="116638"/>
                    <a:pt x="23068" y="116638"/>
                  </a:cubicBezTo>
                  <a:cubicBezTo>
                    <a:pt x="23068" y="115145"/>
                    <a:pt x="21575" y="115145"/>
                    <a:pt x="21575" y="113651"/>
                  </a:cubicBezTo>
                  <a:cubicBezTo>
                    <a:pt x="9626" y="89753"/>
                    <a:pt x="3651" y="64361"/>
                    <a:pt x="664" y="37475"/>
                  </a:cubicBezTo>
                  <a:cubicBezTo>
                    <a:pt x="664" y="32995"/>
                    <a:pt x="-830" y="30007"/>
                    <a:pt x="664" y="25527"/>
                  </a:cubicBezTo>
                  <a:cubicBezTo>
                    <a:pt x="2158" y="13577"/>
                    <a:pt x="12613" y="4616"/>
                    <a:pt x="23068" y="1628"/>
                  </a:cubicBezTo>
                  <a:cubicBezTo>
                    <a:pt x="33524" y="-1359"/>
                    <a:pt x="45473" y="135"/>
                    <a:pt x="57422" y="3122"/>
                  </a:cubicBezTo>
                  <a:cubicBezTo>
                    <a:pt x="60409" y="4616"/>
                    <a:pt x="63396" y="4616"/>
                    <a:pt x="66384" y="6109"/>
                  </a:cubicBezTo>
                  <a:cubicBezTo>
                    <a:pt x="69371" y="7603"/>
                    <a:pt x="70865" y="10590"/>
                    <a:pt x="73852" y="12084"/>
                  </a:cubicBezTo>
                  <a:cubicBezTo>
                    <a:pt x="76839" y="12084"/>
                    <a:pt x="81320" y="40463"/>
                    <a:pt x="84307" y="53906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5" name="任意多边形: 形状 10424"/>
            <p:cNvSpPr/>
            <p:nvPr/>
          </p:nvSpPr>
          <p:spPr>
            <a:xfrm>
              <a:off x="7369171" y="3351775"/>
              <a:ext cx="14936" cy="14936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6" name="任意多边形: 形状 10425"/>
            <p:cNvSpPr/>
            <p:nvPr/>
          </p:nvSpPr>
          <p:spPr>
            <a:xfrm>
              <a:off x="7357221" y="3303978"/>
              <a:ext cx="29873" cy="29873"/>
            </a:xfrm>
            <a:custGeom>
              <a:avLst/>
              <a:gdLst>
                <a:gd name="connsiteX0" fmla="*/ 28379 w 29872"/>
                <a:gd name="connsiteY0" fmla="*/ 20911 h 29872"/>
                <a:gd name="connsiteX1" fmla="*/ 31366 w 29872"/>
                <a:gd name="connsiteY1" fmla="*/ 37341 h 29872"/>
                <a:gd name="connsiteX2" fmla="*/ 31366 w 29872"/>
                <a:gd name="connsiteY2" fmla="*/ 40328 h 29872"/>
                <a:gd name="connsiteX3" fmla="*/ 29873 w 29872"/>
                <a:gd name="connsiteY3" fmla="*/ 41822 h 29872"/>
                <a:gd name="connsiteX4" fmla="*/ 19417 w 29872"/>
                <a:gd name="connsiteY4" fmla="*/ 43316 h 29872"/>
                <a:gd name="connsiteX5" fmla="*/ 10455 w 29872"/>
                <a:gd name="connsiteY5" fmla="*/ 41822 h 29872"/>
                <a:gd name="connsiteX6" fmla="*/ 0 w 29872"/>
                <a:gd name="connsiteY6" fmla="*/ 31366 h 29872"/>
                <a:gd name="connsiteX7" fmla="*/ 0 w 29872"/>
                <a:gd name="connsiteY7" fmla="*/ 31366 h 29872"/>
                <a:gd name="connsiteX8" fmla="*/ 14936 w 29872"/>
                <a:gd name="connsiteY8" fmla="*/ 0 h 29872"/>
                <a:gd name="connsiteX9" fmla="*/ 28379 w 29872"/>
                <a:gd name="connsiteY9" fmla="*/ 20911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872" h="29872">
                  <a:moveTo>
                    <a:pt x="28379" y="20911"/>
                  </a:moveTo>
                  <a:cubicBezTo>
                    <a:pt x="29873" y="26885"/>
                    <a:pt x="29873" y="31366"/>
                    <a:pt x="31366" y="37341"/>
                  </a:cubicBezTo>
                  <a:cubicBezTo>
                    <a:pt x="31366" y="38835"/>
                    <a:pt x="31366" y="40328"/>
                    <a:pt x="31366" y="40328"/>
                  </a:cubicBezTo>
                  <a:cubicBezTo>
                    <a:pt x="31366" y="40328"/>
                    <a:pt x="31366" y="41822"/>
                    <a:pt x="29873" y="41822"/>
                  </a:cubicBezTo>
                  <a:cubicBezTo>
                    <a:pt x="26885" y="43316"/>
                    <a:pt x="23898" y="43316"/>
                    <a:pt x="19417" y="43316"/>
                  </a:cubicBezTo>
                  <a:cubicBezTo>
                    <a:pt x="16430" y="43316"/>
                    <a:pt x="13443" y="43316"/>
                    <a:pt x="10455" y="41822"/>
                  </a:cubicBezTo>
                  <a:cubicBezTo>
                    <a:pt x="5975" y="40328"/>
                    <a:pt x="2987" y="35847"/>
                    <a:pt x="0" y="31366"/>
                  </a:cubicBezTo>
                  <a:cubicBezTo>
                    <a:pt x="0" y="31366"/>
                    <a:pt x="0" y="31366"/>
                    <a:pt x="0" y="31366"/>
                  </a:cubicBezTo>
                  <a:cubicBezTo>
                    <a:pt x="11949" y="40328"/>
                    <a:pt x="17924" y="29873"/>
                    <a:pt x="14936" y="0"/>
                  </a:cubicBezTo>
                  <a:cubicBezTo>
                    <a:pt x="19417" y="13443"/>
                    <a:pt x="25392" y="7468"/>
                    <a:pt x="28379" y="20911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7" name="任意多边形: 形状 10426"/>
            <p:cNvSpPr/>
            <p:nvPr/>
          </p:nvSpPr>
          <p:spPr>
            <a:xfrm>
              <a:off x="7368206" y="3267453"/>
              <a:ext cx="74682" cy="89618"/>
            </a:xfrm>
            <a:custGeom>
              <a:avLst/>
              <a:gdLst>
                <a:gd name="connsiteX0" fmla="*/ 0 w 74681"/>
                <a:gd name="connsiteY0" fmla="*/ 11182 h 89618"/>
                <a:gd name="connsiteX1" fmla="*/ 63243 w 74681"/>
                <a:gd name="connsiteY1" fmla="*/ 0 h 89618"/>
                <a:gd name="connsiteX2" fmla="*/ 77806 w 74681"/>
                <a:gd name="connsiteY2" fmla="*/ 82364 h 89618"/>
                <a:gd name="connsiteX3" fmla="*/ 14562 w 74681"/>
                <a:gd name="connsiteY3" fmla="*/ 93546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89618">
                  <a:moveTo>
                    <a:pt x="0" y="11182"/>
                  </a:moveTo>
                  <a:lnTo>
                    <a:pt x="63243" y="0"/>
                  </a:lnTo>
                  <a:lnTo>
                    <a:pt x="77806" y="82364"/>
                  </a:lnTo>
                  <a:lnTo>
                    <a:pt x="14562" y="93546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8" name="任意多边形: 形状 10427"/>
            <p:cNvSpPr/>
            <p:nvPr/>
          </p:nvSpPr>
          <p:spPr>
            <a:xfrm>
              <a:off x="7382596" y="3334779"/>
              <a:ext cx="59745" cy="29873"/>
            </a:xfrm>
            <a:custGeom>
              <a:avLst/>
              <a:gdLst>
                <a:gd name="connsiteX0" fmla="*/ 52295 w 59745"/>
                <a:gd name="connsiteY0" fmla="*/ 2059 h 29872"/>
                <a:gd name="connsiteX1" fmla="*/ 56776 w 59745"/>
                <a:gd name="connsiteY1" fmla="*/ 27450 h 29872"/>
                <a:gd name="connsiteX2" fmla="*/ 11966 w 59745"/>
                <a:gd name="connsiteY2" fmla="*/ 34919 h 29872"/>
                <a:gd name="connsiteX3" fmla="*/ 7486 w 59745"/>
                <a:gd name="connsiteY3" fmla="*/ 9527 h 29872"/>
                <a:gd name="connsiteX4" fmla="*/ 52295 w 59745"/>
                <a:gd name="connsiteY4" fmla="*/ 2059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45" h="29872">
                  <a:moveTo>
                    <a:pt x="52295" y="2059"/>
                  </a:moveTo>
                  <a:cubicBezTo>
                    <a:pt x="65737" y="6539"/>
                    <a:pt x="68725" y="18489"/>
                    <a:pt x="56776" y="27450"/>
                  </a:cubicBezTo>
                  <a:cubicBezTo>
                    <a:pt x="44826" y="36412"/>
                    <a:pt x="25409" y="40893"/>
                    <a:pt x="11966" y="34919"/>
                  </a:cubicBezTo>
                  <a:cubicBezTo>
                    <a:pt x="-1476" y="30438"/>
                    <a:pt x="-4463" y="18489"/>
                    <a:pt x="7486" y="9527"/>
                  </a:cubicBezTo>
                  <a:cubicBezTo>
                    <a:pt x="17941" y="565"/>
                    <a:pt x="38852" y="-2422"/>
                    <a:pt x="52295" y="205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9" name="任意多边形: 形状 10428"/>
            <p:cNvSpPr/>
            <p:nvPr/>
          </p:nvSpPr>
          <p:spPr>
            <a:xfrm>
              <a:off x="7329177" y="3204897"/>
              <a:ext cx="104554" cy="134427"/>
            </a:xfrm>
            <a:custGeom>
              <a:avLst/>
              <a:gdLst>
                <a:gd name="connsiteX0" fmla="*/ 20577 w 104554"/>
                <a:gd name="connsiteY0" fmla="*/ 57260 h 134427"/>
                <a:gd name="connsiteX1" fmla="*/ 39994 w 104554"/>
                <a:gd name="connsiteY1" fmla="*/ 81158 h 134427"/>
                <a:gd name="connsiteX2" fmla="*/ 45968 w 104554"/>
                <a:gd name="connsiteY2" fmla="*/ 114018 h 134427"/>
                <a:gd name="connsiteX3" fmla="*/ 65386 w 104554"/>
                <a:gd name="connsiteY3" fmla="*/ 139410 h 134427"/>
                <a:gd name="connsiteX4" fmla="*/ 87790 w 104554"/>
                <a:gd name="connsiteY4" fmla="*/ 139410 h 134427"/>
                <a:gd name="connsiteX5" fmla="*/ 113182 w 104554"/>
                <a:gd name="connsiteY5" fmla="*/ 124473 h 134427"/>
                <a:gd name="connsiteX6" fmla="*/ 53436 w 104554"/>
                <a:gd name="connsiteY6" fmla="*/ 502 h 134427"/>
                <a:gd name="connsiteX7" fmla="*/ 5640 w 104554"/>
                <a:gd name="connsiteY7" fmla="*/ 52779 h 134427"/>
                <a:gd name="connsiteX8" fmla="*/ 20577 w 104554"/>
                <a:gd name="connsiteY8" fmla="*/ 57260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554" h="134427">
                  <a:moveTo>
                    <a:pt x="20577" y="57260"/>
                  </a:moveTo>
                  <a:cubicBezTo>
                    <a:pt x="31032" y="61740"/>
                    <a:pt x="37007" y="70702"/>
                    <a:pt x="39994" y="81158"/>
                  </a:cubicBezTo>
                  <a:cubicBezTo>
                    <a:pt x="42981" y="91613"/>
                    <a:pt x="42981" y="103562"/>
                    <a:pt x="45968" y="114018"/>
                  </a:cubicBezTo>
                  <a:cubicBezTo>
                    <a:pt x="48956" y="124473"/>
                    <a:pt x="54930" y="134929"/>
                    <a:pt x="65386" y="139410"/>
                  </a:cubicBezTo>
                  <a:cubicBezTo>
                    <a:pt x="72854" y="142397"/>
                    <a:pt x="80322" y="140903"/>
                    <a:pt x="87790" y="139410"/>
                  </a:cubicBezTo>
                  <a:cubicBezTo>
                    <a:pt x="98246" y="137916"/>
                    <a:pt x="110195" y="134929"/>
                    <a:pt x="113182" y="124473"/>
                  </a:cubicBezTo>
                  <a:cubicBezTo>
                    <a:pt x="141561" y="-6967"/>
                    <a:pt x="63892" y="-992"/>
                    <a:pt x="53436" y="502"/>
                  </a:cubicBezTo>
                  <a:cubicBezTo>
                    <a:pt x="20577" y="3489"/>
                    <a:pt x="-13777" y="30374"/>
                    <a:pt x="5640" y="52779"/>
                  </a:cubicBezTo>
                  <a:cubicBezTo>
                    <a:pt x="10121" y="55766"/>
                    <a:pt x="17589" y="55766"/>
                    <a:pt x="20577" y="57260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0" name="任意多边形: 形状 10429"/>
            <p:cNvSpPr/>
            <p:nvPr/>
          </p:nvSpPr>
          <p:spPr>
            <a:xfrm>
              <a:off x="7364690" y="3278586"/>
              <a:ext cx="14936" cy="29873"/>
            </a:xfrm>
            <a:custGeom>
              <a:avLst/>
              <a:gdLst>
                <a:gd name="connsiteX0" fmla="*/ 5975 w 14936"/>
                <a:gd name="connsiteY0" fmla="*/ 0 h 29872"/>
                <a:gd name="connsiteX1" fmla="*/ 0 w 14936"/>
                <a:gd name="connsiteY1" fmla="*/ 7468 h 29872"/>
                <a:gd name="connsiteX2" fmla="*/ 1494 w 14936"/>
                <a:gd name="connsiteY2" fmla="*/ 19417 h 29872"/>
                <a:gd name="connsiteX3" fmla="*/ 7468 w 14936"/>
                <a:gd name="connsiteY3" fmla="*/ 34354 h 29872"/>
                <a:gd name="connsiteX4" fmla="*/ 10455 w 14936"/>
                <a:gd name="connsiteY4" fmla="*/ 37341 h 29872"/>
                <a:gd name="connsiteX5" fmla="*/ 16430 w 14936"/>
                <a:gd name="connsiteY5" fmla="*/ 34354 h 29872"/>
                <a:gd name="connsiteX6" fmla="*/ 17924 w 14936"/>
                <a:gd name="connsiteY6" fmla="*/ 28379 h 29872"/>
                <a:gd name="connsiteX7" fmla="*/ 16430 w 14936"/>
                <a:gd name="connsiteY7" fmla="*/ 10455 h 29872"/>
                <a:gd name="connsiteX8" fmla="*/ 13443 w 14936"/>
                <a:gd name="connsiteY8" fmla="*/ 4481 h 29872"/>
                <a:gd name="connsiteX9" fmla="*/ 5975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5975" y="0"/>
                  </a:moveTo>
                  <a:cubicBezTo>
                    <a:pt x="2987" y="0"/>
                    <a:pt x="0" y="4481"/>
                    <a:pt x="0" y="7468"/>
                  </a:cubicBezTo>
                  <a:cubicBezTo>
                    <a:pt x="0" y="11949"/>
                    <a:pt x="0" y="14936"/>
                    <a:pt x="1494" y="19417"/>
                  </a:cubicBezTo>
                  <a:cubicBezTo>
                    <a:pt x="2987" y="23898"/>
                    <a:pt x="2987" y="29873"/>
                    <a:pt x="7468" y="34354"/>
                  </a:cubicBezTo>
                  <a:cubicBezTo>
                    <a:pt x="8962" y="35847"/>
                    <a:pt x="8962" y="35847"/>
                    <a:pt x="10455" y="37341"/>
                  </a:cubicBezTo>
                  <a:cubicBezTo>
                    <a:pt x="11949" y="37341"/>
                    <a:pt x="14936" y="35847"/>
                    <a:pt x="16430" y="34354"/>
                  </a:cubicBezTo>
                  <a:cubicBezTo>
                    <a:pt x="17924" y="32860"/>
                    <a:pt x="17924" y="29873"/>
                    <a:pt x="17924" y="28379"/>
                  </a:cubicBezTo>
                  <a:cubicBezTo>
                    <a:pt x="17924" y="22405"/>
                    <a:pt x="17924" y="16430"/>
                    <a:pt x="16430" y="10455"/>
                  </a:cubicBezTo>
                  <a:cubicBezTo>
                    <a:pt x="16430" y="7468"/>
                    <a:pt x="14936" y="5975"/>
                    <a:pt x="13443" y="4481"/>
                  </a:cubicBezTo>
                  <a:cubicBezTo>
                    <a:pt x="11949" y="1494"/>
                    <a:pt x="8962" y="0"/>
                    <a:pt x="5975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1" name="任意多边形: 形状 10430"/>
            <p:cNvSpPr/>
            <p:nvPr/>
          </p:nvSpPr>
          <p:spPr>
            <a:xfrm>
              <a:off x="7098823" y="3232284"/>
              <a:ext cx="59745" cy="89618"/>
            </a:xfrm>
            <a:custGeom>
              <a:avLst/>
              <a:gdLst>
                <a:gd name="connsiteX0" fmla="*/ 58252 w 59745"/>
                <a:gd name="connsiteY0" fmla="*/ 29873 h 89618"/>
                <a:gd name="connsiteX1" fmla="*/ 52277 w 59745"/>
                <a:gd name="connsiteY1" fmla="*/ 17924 h 89618"/>
                <a:gd name="connsiteX2" fmla="*/ 40328 w 59745"/>
                <a:gd name="connsiteY2" fmla="*/ 8962 h 89618"/>
                <a:gd name="connsiteX3" fmla="*/ 40328 w 59745"/>
                <a:gd name="connsiteY3" fmla="*/ 23898 h 89618"/>
                <a:gd name="connsiteX4" fmla="*/ 26885 w 59745"/>
                <a:gd name="connsiteY4" fmla="*/ 26885 h 89618"/>
                <a:gd name="connsiteX5" fmla="*/ 7468 w 59745"/>
                <a:gd name="connsiteY5" fmla="*/ 0 h 89618"/>
                <a:gd name="connsiteX6" fmla="*/ 0 w 59745"/>
                <a:gd name="connsiteY6" fmla="*/ 16430 h 89618"/>
                <a:gd name="connsiteX7" fmla="*/ 1494 w 59745"/>
                <a:gd name="connsiteY7" fmla="*/ 52277 h 89618"/>
                <a:gd name="connsiteX8" fmla="*/ 14936 w 59745"/>
                <a:gd name="connsiteY8" fmla="*/ 73188 h 89618"/>
                <a:gd name="connsiteX9" fmla="*/ 34354 w 59745"/>
                <a:gd name="connsiteY9" fmla="*/ 89618 h 89618"/>
                <a:gd name="connsiteX10" fmla="*/ 35847 w 59745"/>
                <a:gd name="connsiteY10" fmla="*/ 91112 h 89618"/>
                <a:gd name="connsiteX11" fmla="*/ 64226 w 59745"/>
                <a:gd name="connsiteY11" fmla="*/ 58252 h 89618"/>
                <a:gd name="connsiteX12" fmla="*/ 58252 w 59745"/>
                <a:gd name="connsiteY12" fmla="*/ 29873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745" h="89618">
                  <a:moveTo>
                    <a:pt x="58252" y="29873"/>
                  </a:moveTo>
                  <a:cubicBezTo>
                    <a:pt x="56758" y="25392"/>
                    <a:pt x="55265" y="20911"/>
                    <a:pt x="52277" y="17924"/>
                  </a:cubicBezTo>
                  <a:cubicBezTo>
                    <a:pt x="49290" y="14936"/>
                    <a:pt x="46303" y="5974"/>
                    <a:pt x="40328" y="8962"/>
                  </a:cubicBezTo>
                  <a:cubicBezTo>
                    <a:pt x="41822" y="17924"/>
                    <a:pt x="44809" y="20911"/>
                    <a:pt x="40328" y="23898"/>
                  </a:cubicBezTo>
                  <a:cubicBezTo>
                    <a:pt x="35847" y="26885"/>
                    <a:pt x="31366" y="29873"/>
                    <a:pt x="26885" y="26885"/>
                  </a:cubicBezTo>
                  <a:cubicBezTo>
                    <a:pt x="17924" y="22405"/>
                    <a:pt x="14936" y="20911"/>
                    <a:pt x="7468" y="0"/>
                  </a:cubicBezTo>
                  <a:cubicBezTo>
                    <a:pt x="7468" y="0"/>
                    <a:pt x="0" y="8962"/>
                    <a:pt x="0" y="16430"/>
                  </a:cubicBezTo>
                  <a:cubicBezTo>
                    <a:pt x="0" y="23898"/>
                    <a:pt x="0" y="46303"/>
                    <a:pt x="1494" y="52277"/>
                  </a:cubicBezTo>
                  <a:cubicBezTo>
                    <a:pt x="4481" y="61239"/>
                    <a:pt x="7468" y="65720"/>
                    <a:pt x="14936" y="73188"/>
                  </a:cubicBezTo>
                  <a:cubicBezTo>
                    <a:pt x="23898" y="80656"/>
                    <a:pt x="23898" y="85137"/>
                    <a:pt x="34354" y="89618"/>
                  </a:cubicBezTo>
                  <a:cubicBezTo>
                    <a:pt x="34354" y="89618"/>
                    <a:pt x="35847" y="91112"/>
                    <a:pt x="35847" y="91112"/>
                  </a:cubicBezTo>
                  <a:cubicBezTo>
                    <a:pt x="50784" y="88124"/>
                    <a:pt x="64226" y="73188"/>
                    <a:pt x="64226" y="58252"/>
                  </a:cubicBezTo>
                  <a:cubicBezTo>
                    <a:pt x="64226" y="46303"/>
                    <a:pt x="61239" y="38834"/>
                    <a:pt x="58252" y="29873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2" name="任意多边形: 形状 10431"/>
            <p:cNvSpPr/>
            <p:nvPr/>
          </p:nvSpPr>
          <p:spPr>
            <a:xfrm>
              <a:off x="7133176" y="3292029"/>
              <a:ext cx="119491" cy="149363"/>
            </a:xfrm>
            <a:custGeom>
              <a:avLst/>
              <a:gdLst>
                <a:gd name="connsiteX0" fmla="*/ 79163 w 119490"/>
                <a:gd name="connsiteY0" fmla="*/ 138908 h 149363"/>
                <a:gd name="connsiteX1" fmla="*/ 79163 w 119490"/>
                <a:gd name="connsiteY1" fmla="*/ 138908 h 149363"/>
                <a:gd name="connsiteX2" fmla="*/ 0 w 119490"/>
                <a:gd name="connsiteY2" fmla="*/ 28379 h 149363"/>
                <a:gd name="connsiteX3" fmla="*/ 29873 w 119490"/>
                <a:gd name="connsiteY3" fmla="*/ 0 h 149363"/>
                <a:gd name="connsiteX4" fmla="*/ 125465 w 119490"/>
                <a:gd name="connsiteY4" fmla="*/ 95593 h 149363"/>
                <a:gd name="connsiteX5" fmla="*/ 126959 w 119490"/>
                <a:gd name="connsiteY5" fmla="*/ 97086 h 149363"/>
                <a:gd name="connsiteX6" fmla="*/ 126959 w 119490"/>
                <a:gd name="connsiteY6" fmla="*/ 97086 h 149363"/>
                <a:gd name="connsiteX7" fmla="*/ 131440 w 119490"/>
                <a:gd name="connsiteY7" fmla="*/ 129946 h 149363"/>
                <a:gd name="connsiteX8" fmla="*/ 122478 w 119490"/>
                <a:gd name="connsiteY8" fmla="*/ 141895 h 149363"/>
                <a:gd name="connsiteX9" fmla="*/ 79163 w 119490"/>
                <a:gd name="connsiteY9" fmla="*/ 138908 h 14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490" h="149363">
                  <a:moveTo>
                    <a:pt x="79163" y="138908"/>
                  </a:moveTo>
                  <a:lnTo>
                    <a:pt x="79163" y="138908"/>
                  </a:lnTo>
                  <a:cubicBezTo>
                    <a:pt x="77669" y="137414"/>
                    <a:pt x="7468" y="47796"/>
                    <a:pt x="0" y="28379"/>
                  </a:cubicBezTo>
                  <a:cubicBezTo>
                    <a:pt x="0" y="28379"/>
                    <a:pt x="17924" y="1493"/>
                    <a:pt x="29873" y="0"/>
                  </a:cubicBezTo>
                  <a:cubicBezTo>
                    <a:pt x="52277" y="11949"/>
                    <a:pt x="91112" y="59745"/>
                    <a:pt x="125465" y="95593"/>
                  </a:cubicBezTo>
                  <a:lnTo>
                    <a:pt x="126959" y="97086"/>
                  </a:lnTo>
                  <a:lnTo>
                    <a:pt x="126959" y="97086"/>
                  </a:lnTo>
                  <a:cubicBezTo>
                    <a:pt x="134427" y="106048"/>
                    <a:pt x="135921" y="119491"/>
                    <a:pt x="131440" y="129946"/>
                  </a:cubicBezTo>
                  <a:cubicBezTo>
                    <a:pt x="129946" y="134427"/>
                    <a:pt x="126959" y="138908"/>
                    <a:pt x="122478" y="141895"/>
                  </a:cubicBezTo>
                  <a:cubicBezTo>
                    <a:pt x="109035" y="153844"/>
                    <a:pt x="89618" y="152351"/>
                    <a:pt x="79163" y="138908"/>
                  </a:cubicBez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3" name="任意多边形: 形状 10432"/>
            <p:cNvSpPr/>
            <p:nvPr/>
          </p:nvSpPr>
          <p:spPr>
            <a:xfrm>
              <a:off x="7266985" y="3136691"/>
              <a:ext cx="44809" cy="59745"/>
            </a:xfrm>
            <a:custGeom>
              <a:avLst/>
              <a:gdLst>
                <a:gd name="connsiteX0" fmla="*/ 40947 w 44809"/>
                <a:gd name="connsiteY0" fmla="*/ 61239 h 59745"/>
                <a:gd name="connsiteX1" fmla="*/ 52896 w 44809"/>
                <a:gd name="connsiteY1" fmla="*/ 53771 h 59745"/>
                <a:gd name="connsiteX2" fmla="*/ 49909 w 44809"/>
                <a:gd name="connsiteY2" fmla="*/ 38835 h 59745"/>
                <a:gd name="connsiteX3" fmla="*/ 40947 w 44809"/>
                <a:gd name="connsiteY3" fmla="*/ 16430 h 59745"/>
                <a:gd name="connsiteX4" fmla="*/ 24517 w 44809"/>
                <a:gd name="connsiteY4" fmla="*/ 0 h 59745"/>
                <a:gd name="connsiteX5" fmla="*/ 31985 w 44809"/>
                <a:gd name="connsiteY5" fmla="*/ 29873 h 59745"/>
                <a:gd name="connsiteX6" fmla="*/ 11074 w 44809"/>
                <a:gd name="connsiteY6" fmla="*/ 16430 h 59745"/>
                <a:gd name="connsiteX7" fmla="*/ 619 w 44809"/>
                <a:gd name="connsiteY7" fmla="*/ 13443 h 59745"/>
                <a:gd name="connsiteX8" fmla="*/ 2112 w 44809"/>
                <a:gd name="connsiteY8" fmla="*/ 22405 h 59745"/>
                <a:gd name="connsiteX9" fmla="*/ 9581 w 44809"/>
                <a:gd name="connsiteY9" fmla="*/ 29873 h 59745"/>
                <a:gd name="connsiteX10" fmla="*/ 26010 w 44809"/>
                <a:gd name="connsiteY10" fmla="*/ 50784 h 59745"/>
                <a:gd name="connsiteX11" fmla="*/ 40947 w 44809"/>
                <a:gd name="connsiteY11" fmla="*/ 61239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809" h="59745">
                  <a:moveTo>
                    <a:pt x="40947" y="61239"/>
                  </a:moveTo>
                  <a:cubicBezTo>
                    <a:pt x="51402" y="59745"/>
                    <a:pt x="51402" y="56758"/>
                    <a:pt x="52896" y="53771"/>
                  </a:cubicBezTo>
                  <a:cubicBezTo>
                    <a:pt x="52896" y="49290"/>
                    <a:pt x="51402" y="44809"/>
                    <a:pt x="49909" y="38835"/>
                  </a:cubicBezTo>
                  <a:cubicBezTo>
                    <a:pt x="46921" y="31366"/>
                    <a:pt x="43934" y="22405"/>
                    <a:pt x="40947" y="16430"/>
                  </a:cubicBezTo>
                  <a:cubicBezTo>
                    <a:pt x="36466" y="8962"/>
                    <a:pt x="33479" y="2987"/>
                    <a:pt x="24517" y="0"/>
                  </a:cubicBezTo>
                  <a:cubicBezTo>
                    <a:pt x="27504" y="10455"/>
                    <a:pt x="28998" y="17924"/>
                    <a:pt x="31985" y="29873"/>
                  </a:cubicBezTo>
                  <a:cubicBezTo>
                    <a:pt x="24517" y="23898"/>
                    <a:pt x="18542" y="20911"/>
                    <a:pt x="11074" y="16430"/>
                  </a:cubicBezTo>
                  <a:cubicBezTo>
                    <a:pt x="8087" y="13443"/>
                    <a:pt x="3606" y="11949"/>
                    <a:pt x="619" y="13443"/>
                  </a:cubicBezTo>
                  <a:cubicBezTo>
                    <a:pt x="-875" y="16430"/>
                    <a:pt x="619" y="20911"/>
                    <a:pt x="2112" y="22405"/>
                  </a:cubicBezTo>
                  <a:cubicBezTo>
                    <a:pt x="5100" y="25392"/>
                    <a:pt x="8087" y="26885"/>
                    <a:pt x="9581" y="29873"/>
                  </a:cubicBezTo>
                  <a:cubicBezTo>
                    <a:pt x="17049" y="37341"/>
                    <a:pt x="18542" y="43316"/>
                    <a:pt x="26010" y="50784"/>
                  </a:cubicBezTo>
                  <a:cubicBezTo>
                    <a:pt x="30491" y="55264"/>
                    <a:pt x="37959" y="61239"/>
                    <a:pt x="40947" y="6123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4" name="任意多边形: 形状 10433"/>
            <p:cNvSpPr/>
            <p:nvPr/>
          </p:nvSpPr>
          <p:spPr>
            <a:xfrm>
              <a:off x="7372158" y="3338332"/>
              <a:ext cx="74682" cy="29873"/>
            </a:xfrm>
            <a:custGeom>
              <a:avLst/>
              <a:gdLst>
                <a:gd name="connsiteX0" fmla="*/ 71694 w 74681"/>
                <a:gd name="connsiteY0" fmla="*/ 0 h 29872"/>
                <a:gd name="connsiteX1" fmla="*/ 79163 w 74681"/>
                <a:gd name="connsiteY1" fmla="*/ 8962 h 29872"/>
                <a:gd name="connsiteX2" fmla="*/ 79163 w 74681"/>
                <a:gd name="connsiteY2" fmla="*/ 16430 h 29872"/>
                <a:gd name="connsiteX3" fmla="*/ 74682 w 74681"/>
                <a:gd name="connsiteY3" fmla="*/ 23898 h 29872"/>
                <a:gd name="connsiteX4" fmla="*/ 34354 w 74681"/>
                <a:gd name="connsiteY4" fmla="*/ 37341 h 29872"/>
                <a:gd name="connsiteX5" fmla="*/ 0 w 74681"/>
                <a:gd name="connsiteY5" fmla="*/ 31366 h 29872"/>
                <a:gd name="connsiteX6" fmla="*/ 7468 w 74681"/>
                <a:gd name="connsiteY6" fmla="*/ 19417 h 29872"/>
                <a:gd name="connsiteX7" fmla="*/ 59746 w 74681"/>
                <a:gd name="connsiteY7" fmla="*/ 13443 h 29872"/>
                <a:gd name="connsiteX8" fmla="*/ 71694 w 74681"/>
                <a:gd name="connsiteY8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681" h="29872">
                  <a:moveTo>
                    <a:pt x="71694" y="0"/>
                  </a:moveTo>
                  <a:cubicBezTo>
                    <a:pt x="74682" y="2987"/>
                    <a:pt x="79163" y="8962"/>
                    <a:pt x="79163" y="8962"/>
                  </a:cubicBezTo>
                  <a:cubicBezTo>
                    <a:pt x="79163" y="8962"/>
                    <a:pt x="80656" y="11949"/>
                    <a:pt x="79163" y="16430"/>
                  </a:cubicBezTo>
                  <a:cubicBezTo>
                    <a:pt x="79163" y="19417"/>
                    <a:pt x="77669" y="22405"/>
                    <a:pt x="74682" y="23898"/>
                  </a:cubicBezTo>
                  <a:cubicBezTo>
                    <a:pt x="64226" y="32860"/>
                    <a:pt x="49290" y="35847"/>
                    <a:pt x="34354" y="37341"/>
                  </a:cubicBezTo>
                  <a:cubicBezTo>
                    <a:pt x="20911" y="38835"/>
                    <a:pt x="13443" y="35847"/>
                    <a:pt x="0" y="31366"/>
                  </a:cubicBezTo>
                  <a:cubicBezTo>
                    <a:pt x="2987" y="26885"/>
                    <a:pt x="4481" y="25392"/>
                    <a:pt x="7468" y="19417"/>
                  </a:cubicBezTo>
                  <a:cubicBezTo>
                    <a:pt x="8962" y="17924"/>
                    <a:pt x="29873" y="23898"/>
                    <a:pt x="59746" y="13443"/>
                  </a:cubicBezTo>
                  <a:cubicBezTo>
                    <a:pt x="68707" y="10455"/>
                    <a:pt x="73188" y="5975"/>
                    <a:pt x="71694" y="0"/>
                  </a:cubicBezTo>
                  <a:close/>
                </a:path>
              </a:pathLst>
            </a:custGeom>
            <a:solidFill>
              <a:srgbClr val="1774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5" name="任意多边形: 形状 10434"/>
            <p:cNvSpPr/>
            <p:nvPr/>
          </p:nvSpPr>
          <p:spPr>
            <a:xfrm>
              <a:off x="6413245" y="3042124"/>
              <a:ext cx="44809" cy="44809"/>
            </a:xfrm>
            <a:custGeom>
              <a:avLst/>
              <a:gdLst>
                <a:gd name="connsiteX0" fmla="*/ 0 w 44809"/>
                <a:gd name="connsiteY0" fmla="*/ 4949 h 44809"/>
                <a:gd name="connsiteX1" fmla="*/ 22405 w 44809"/>
                <a:gd name="connsiteY1" fmla="*/ 1962 h 44809"/>
                <a:gd name="connsiteX2" fmla="*/ 37341 w 44809"/>
                <a:gd name="connsiteY2" fmla="*/ 19886 h 44809"/>
                <a:gd name="connsiteX3" fmla="*/ 43315 w 44809"/>
                <a:gd name="connsiteY3" fmla="*/ 31835 h 44809"/>
                <a:gd name="connsiteX4" fmla="*/ 55264 w 44809"/>
                <a:gd name="connsiteY4" fmla="*/ 43784 h 44809"/>
                <a:gd name="connsiteX5" fmla="*/ 46303 w 44809"/>
                <a:gd name="connsiteY5" fmla="*/ 49758 h 44809"/>
                <a:gd name="connsiteX6" fmla="*/ 32860 w 44809"/>
                <a:gd name="connsiteY6" fmla="*/ 39303 h 44809"/>
                <a:gd name="connsiteX7" fmla="*/ 19417 w 44809"/>
                <a:gd name="connsiteY7" fmla="*/ 34822 h 44809"/>
                <a:gd name="connsiteX8" fmla="*/ 8962 w 44809"/>
                <a:gd name="connsiteY8" fmla="*/ 21379 h 44809"/>
                <a:gd name="connsiteX9" fmla="*/ 0 w 44809"/>
                <a:gd name="connsiteY9" fmla="*/ 4949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09" h="44809">
                  <a:moveTo>
                    <a:pt x="0" y="4949"/>
                  </a:moveTo>
                  <a:cubicBezTo>
                    <a:pt x="7468" y="-1025"/>
                    <a:pt x="14936" y="-1025"/>
                    <a:pt x="22405" y="1962"/>
                  </a:cubicBezTo>
                  <a:cubicBezTo>
                    <a:pt x="29873" y="4949"/>
                    <a:pt x="34354" y="12418"/>
                    <a:pt x="37341" y="19886"/>
                  </a:cubicBezTo>
                  <a:cubicBezTo>
                    <a:pt x="38835" y="24367"/>
                    <a:pt x="40328" y="28848"/>
                    <a:pt x="43315" y="31835"/>
                  </a:cubicBezTo>
                  <a:cubicBezTo>
                    <a:pt x="46303" y="36316"/>
                    <a:pt x="53771" y="37809"/>
                    <a:pt x="55264" y="43784"/>
                  </a:cubicBezTo>
                  <a:cubicBezTo>
                    <a:pt x="56758" y="49758"/>
                    <a:pt x="50783" y="52746"/>
                    <a:pt x="46303" y="49758"/>
                  </a:cubicBezTo>
                  <a:cubicBezTo>
                    <a:pt x="35847" y="45277"/>
                    <a:pt x="34354" y="40797"/>
                    <a:pt x="32860" y="39303"/>
                  </a:cubicBezTo>
                  <a:cubicBezTo>
                    <a:pt x="29873" y="36316"/>
                    <a:pt x="23898" y="37809"/>
                    <a:pt x="19417" y="34822"/>
                  </a:cubicBezTo>
                  <a:cubicBezTo>
                    <a:pt x="14936" y="31835"/>
                    <a:pt x="10455" y="25860"/>
                    <a:pt x="8962" y="21379"/>
                  </a:cubicBezTo>
                  <a:lnTo>
                    <a:pt x="0" y="4949"/>
                  </a:ln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6" name="任意多边形: 形状 10435"/>
            <p:cNvSpPr/>
            <p:nvPr/>
          </p:nvSpPr>
          <p:spPr>
            <a:xfrm>
              <a:off x="6401587" y="3044086"/>
              <a:ext cx="44809" cy="74682"/>
            </a:xfrm>
            <a:custGeom>
              <a:avLst/>
              <a:gdLst>
                <a:gd name="connsiteX0" fmla="*/ 20620 w 44809"/>
                <a:gd name="connsiteY0" fmla="*/ 70201 h 74681"/>
                <a:gd name="connsiteX1" fmla="*/ 31075 w 44809"/>
                <a:gd name="connsiteY1" fmla="*/ 80656 h 74681"/>
                <a:gd name="connsiteX2" fmla="*/ 43024 w 44809"/>
                <a:gd name="connsiteY2" fmla="*/ 83644 h 74681"/>
                <a:gd name="connsiteX3" fmla="*/ 53480 w 44809"/>
                <a:gd name="connsiteY3" fmla="*/ 74682 h 74681"/>
                <a:gd name="connsiteX4" fmla="*/ 53480 w 44809"/>
                <a:gd name="connsiteY4" fmla="*/ 62733 h 74681"/>
                <a:gd name="connsiteX5" fmla="*/ 50492 w 44809"/>
                <a:gd name="connsiteY5" fmla="*/ 46303 h 74681"/>
                <a:gd name="connsiteX6" fmla="*/ 44518 w 44809"/>
                <a:gd name="connsiteY6" fmla="*/ 31366 h 74681"/>
                <a:gd name="connsiteX7" fmla="*/ 16139 w 44809"/>
                <a:gd name="connsiteY7" fmla="*/ 0 h 74681"/>
                <a:gd name="connsiteX8" fmla="*/ 1202 w 44809"/>
                <a:gd name="connsiteY8" fmla="*/ 17924 h 74681"/>
                <a:gd name="connsiteX9" fmla="*/ 5683 w 44809"/>
                <a:gd name="connsiteY9" fmla="*/ 40328 h 74681"/>
                <a:gd name="connsiteX10" fmla="*/ 10164 w 44809"/>
                <a:gd name="connsiteY10" fmla="*/ 59745 h 74681"/>
                <a:gd name="connsiteX11" fmla="*/ 20620 w 44809"/>
                <a:gd name="connsiteY11" fmla="*/ 7020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809" h="74681">
                  <a:moveTo>
                    <a:pt x="20620" y="70201"/>
                  </a:moveTo>
                  <a:cubicBezTo>
                    <a:pt x="20620" y="77669"/>
                    <a:pt x="26594" y="83644"/>
                    <a:pt x="31075" y="80656"/>
                  </a:cubicBezTo>
                  <a:cubicBezTo>
                    <a:pt x="32569" y="85137"/>
                    <a:pt x="40037" y="89618"/>
                    <a:pt x="43024" y="83644"/>
                  </a:cubicBezTo>
                  <a:cubicBezTo>
                    <a:pt x="47505" y="86631"/>
                    <a:pt x="53480" y="79163"/>
                    <a:pt x="53480" y="74682"/>
                  </a:cubicBezTo>
                  <a:cubicBezTo>
                    <a:pt x="53480" y="65720"/>
                    <a:pt x="53480" y="65720"/>
                    <a:pt x="53480" y="62733"/>
                  </a:cubicBezTo>
                  <a:cubicBezTo>
                    <a:pt x="53480" y="56758"/>
                    <a:pt x="51986" y="50783"/>
                    <a:pt x="50492" y="46303"/>
                  </a:cubicBezTo>
                  <a:cubicBezTo>
                    <a:pt x="48999" y="40328"/>
                    <a:pt x="47505" y="35847"/>
                    <a:pt x="44518" y="31366"/>
                  </a:cubicBezTo>
                  <a:cubicBezTo>
                    <a:pt x="35556" y="19417"/>
                    <a:pt x="29581" y="5974"/>
                    <a:pt x="16139" y="0"/>
                  </a:cubicBezTo>
                  <a:cubicBezTo>
                    <a:pt x="10164" y="2987"/>
                    <a:pt x="4190" y="5974"/>
                    <a:pt x="1202" y="17924"/>
                  </a:cubicBezTo>
                  <a:cubicBezTo>
                    <a:pt x="-1785" y="26885"/>
                    <a:pt x="1202" y="32860"/>
                    <a:pt x="5683" y="40328"/>
                  </a:cubicBezTo>
                  <a:cubicBezTo>
                    <a:pt x="10164" y="47796"/>
                    <a:pt x="10164" y="50783"/>
                    <a:pt x="10164" y="59745"/>
                  </a:cubicBezTo>
                  <a:cubicBezTo>
                    <a:pt x="11658" y="70201"/>
                    <a:pt x="19126" y="73188"/>
                    <a:pt x="20620" y="70201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7" name="任意多边形: 形状 10436"/>
            <p:cNvSpPr/>
            <p:nvPr/>
          </p:nvSpPr>
          <p:spPr>
            <a:xfrm>
              <a:off x="6350148" y="2898840"/>
              <a:ext cx="74682" cy="149363"/>
            </a:xfrm>
            <a:custGeom>
              <a:avLst/>
              <a:gdLst>
                <a:gd name="connsiteX0" fmla="*/ 84007 w 74681"/>
                <a:gd name="connsiteY0" fmla="*/ 128816 h 149363"/>
                <a:gd name="connsiteX1" fmla="*/ 88488 w 74681"/>
                <a:gd name="connsiteY1" fmla="*/ 151220 h 149363"/>
                <a:gd name="connsiteX2" fmla="*/ 55628 w 74681"/>
                <a:gd name="connsiteY2" fmla="*/ 160182 h 149363"/>
                <a:gd name="connsiteX3" fmla="*/ 48160 w 74681"/>
                <a:gd name="connsiteY3" fmla="*/ 142259 h 149363"/>
                <a:gd name="connsiteX4" fmla="*/ 1857 w 74681"/>
                <a:gd name="connsiteY4" fmla="*/ 40692 h 149363"/>
                <a:gd name="connsiteX5" fmla="*/ 21274 w 74681"/>
                <a:gd name="connsiteY5" fmla="*/ 1857 h 149363"/>
                <a:gd name="connsiteX6" fmla="*/ 21274 w 74681"/>
                <a:gd name="connsiteY6" fmla="*/ 1857 h 149363"/>
                <a:gd name="connsiteX7" fmla="*/ 60109 w 74681"/>
                <a:gd name="connsiteY7" fmla="*/ 21274 h 149363"/>
                <a:gd name="connsiteX8" fmla="*/ 84007 w 74681"/>
                <a:gd name="connsiteY8" fmla="*/ 128816 h 14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681" h="149363">
                  <a:moveTo>
                    <a:pt x="84007" y="128816"/>
                  </a:moveTo>
                  <a:cubicBezTo>
                    <a:pt x="88488" y="139272"/>
                    <a:pt x="89982" y="146740"/>
                    <a:pt x="88488" y="151220"/>
                  </a:cubicBezTo>
                  <a:cubicBezTo>
                    <a:pt x="86994" y="157195"/>
                    <a:pt x="58615" y="166157"/>
                    <a:pt x="55628" y="160182"/>
                  </a:cubicBezTo>
                  <a:cubicBezTo>
                    <a:pt x="52641" y="155701"/>
                    <a:pt x="49654" y="149727"/>
                    <a:pt x="48160" y="142259"/>
                  </a:cubicBezTo>
                  <a:lnTo>
                    <a:pt x="1857" y="40692"/>
                  </a:lnTo>
                  <a:cubicBezTo>
                    <a:pt x="-4117" y="24262"/>
                    <a:pt x="4844" y="7832"/>
                    <a:pt x="21274" y="1857"/>
                  </a:cubicBezTo>
                  <a:lnTo>
                    <a:pt x="21274" y="1857"/>
                  </a:lnTo>
                  <a:cubicBezTo>
                    <a:pt x="37704" y="-4117"/>
                    <a:pt x="54134" y="4844"/>
                    <a:pt x="60109" y="21274"/>
                  </a:cubicBezTo>
                  <a:lnTo>
                    <a:pt x="84007" y="128816"/>
                  </a:ln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8" name="任意多边形: 形状 10437"/>
            <p:cNvSpPr/>
            <p:nvPr/>
          </p:nvSpPr>
          <p:spPr>
            <a:xfrm>
              <a:off x="6363208" y="3421602"/>
              <a:ext cx="89618" cy="44809"/>
            </a:xfrm>
            <a:custGeom>
              <a:avLst/>
              <a:gdLst>
                <a:gd name="connsiteX0" fmla="*/ 6721 w 89618"/>
                <a:gd name="connsiteY0" fmla="*/ 3361 h 44809"/>
                <a:gd name="connsiteX1" fmla="*/ 6721 w 89618"/>
                <a:gd name="connsiteY1" fmla="*/ 21284 h 44809"/>
                <a:gd name="connsiteX2" fmla="*/ 56011 w 89618"/>
                <a:gd name="connsiteY2" fmla="*/ 49663 h 44809"/>
                <a:gd name="connsiteX3" fmla="*/ 87378 w 89618"/>
                <a:gd name="connsiteY3" fmla="*/ 49663 h 44809"/>
                <a:gd name="connsiteX4" fmla="*/ 87378 w 89618"/>
                <a:gd name="connsiteY4" fmla="*/ 49663 h 44809"/>
                <a:gd name="connsiteX5" fmla="*/ 87378 w 89618"/>
                <a:gd name="connsiteY5" fmla="*/ 31740 h 44809"/>
                <a:gd name="connsiteX6" fmla="*/ 38088 w 89618"/>
                <a:gd name="connsiteY6" fmla="*/ 3361 h 44809"/>
                <a:gd name="connsiteX7" fmla="*/ 6721 w 89618"/>
                <a:gd name="connsiteY7" fmla="*/ 3361 h 44809"/>
                <a:gd name="connsiteX8" fmla="*/ 6721 w 89618"/>
                <a:gd name="connsiteY8" fmla="*/ 336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3361"/>
                  </a:moveTo>
                  <a:cubicBezTo>
                    <a:pt x="-2240" y="7842"/>
                    <a:pt x="-2240" y="16803"/>
                    <a:pt x="6721" y="21284"/>
                  </a:cubicBezTo>
                  <a:lnTo>
                    <a:pt x="56011" y="49663"/>
                  </a:lnTo>
                  <a:cubicBezTo>
                    <a:pt x="64973" y="54144"/>
                    <a:pt x="78416" y="54144"/>
                    <a:pt x="87378" y="49663"/>
                  </a:cubicBezTo>
                  <a:lnTo>
                    <a:pt x="87378" y="49663"/>
                  </a:lnTo>
                  <a:cubicBezTo>
                    <a:pt x="96339" y="45183"/>
                    <a:pt x="96339" y="36221"/>
                    <a:pt x="87378" y="31740"/>
                  </a:cubicBezTo>
                  <a:lnTo>
                    <a:pt x="38088" y="3361"/>
                  </a:lnTo>
                  <a:cubicBezTo>
                    <a:pt x="29126" y="-1120"/>
                    <a:pt x="14190" y="-1120"/>
                    <a:pt x="6721" y="3361"/>
                  </a:cubicBezTo>
                  <a:lnTo>
                    <a:pt x="6721" y="3361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9" name="任意多边形: 形状 10438"/>
            <p:cNvSpPr/>
            <p:nvPr/>
          </p:nvSpPr>
          <p:spPr>
            <a:xfrm>
              <a:off x="6362461" y="3393596"/>
              <a:ext cx="89618" cy="59745"/>
            </a:xfrm>
            <a:custGeom>
              <a:avLst/>
              <a:gdLst>
                <a:gd name="connsiteX0" fmla="*/ 52277 w 89618"/>
                <a:gd name="connsiteY0" fmla="*/ 2987 h 59745"/>
                <a:gd name="connsiteX1" fmla="*/ 16430 w 89618"/>
                <a:gd name="connsiteY1" fmla="*/ 0 h 59745"/>
                <a:gd name="connsiteX2" fmla="*/ 0 w 89618"/>
                <a:gd name="connsiteY2" fmla="*/ 40328 h 59745"/>
                <a:gd name="connsiteX3" fmla="*/ 92605 w 89618"/>
                <a:gd name="connsiteY3" fmla="*/ 70201 h 59745"/>
                <a:gd name="connsiteX4" fmla="*/ 62733 w 89618"/>
                <a:gd name="connsiteY4" fmla="*/ 26885 h 59745"/>
                <a:gd name="connsiteX5" fmla="*/ 52277 w 89618"/>
                <a:gd name="connsiteY5" fmla="*/ 2987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59745">
                  <a:moveTo>
                    <a:pt x="52277" y="2987"/>
                  </a:moveTo>
                  <a:lnTo>
                    <a:pt x="16430" y="0"/>
                  </a:lnTo>
                  <a:cubicBezTo>
                    <a:pt x="8962" y="10456"/>
                    <a:pt x="1493" y="22405"/>
                    <a:pt x="0" y="40328"/>
                  </a:cubicBezTo>
                  <a:lnTo>
                    <a:pt x="92605" y="70201"/>
                  </a:lnTo>
                  <a:cubicBezTo>
                    <a:pt x="95593" y="58252"/>
                    <a:pt x="80656" y="38835"/>
                    <a:pt x="62733" y="26885"/>
                  </a:cubicBezTo>
                  <a:cubicBezTo>
                    <a:pt x="55264" y="20911"/>
                    <a:pt x="59745" y="10456"/>
                    <a:pt x="52277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0" name="任意多边形: 形状 10439"/>
            <p:cNvSpPr/>
            <p:nvPr/>
          </p:nvSpPr>
          <p:spPr>
            <a:xfrm>
              <a:off x="6222059" y="3047073"/>
              <a:ext cx="209109" cy="194172"/>
            </a:xfrm>
            <a:custGeom>
              <a:avLst/>
              <a:gdLst>
                <a:gd name="connsiteX0" fmla="*/ 222552 w 209108"/>
                <a:gd name="connsiteY0" fmla="*/ 144882 h 194172"/>
                <a:gd name="connsiteX1" fmla="*/ 188198 w 209108"/>
                <a:gd name="connsiteY1" fmla="*/ 207615 h 194172"/>
                <a:gd name="connsiteX2" fmla="*/ 25392 w 209108"/>
                <a:gd name="connsiteY2" fmla="*/ 98580 h 194172"/>
                <a:gd name="connsiteX3" fmla="*/ 4481 w 209108"/>
                <a:gd name="connsiteY3" fmla="*/ 65720 h 194172"/>
                <a:gd name="connsiteX4" fmla="*/ 0 w 209108"/>
                <a:gd name="connsiteY4" fmla="*/ 35847 h 194172"/>
                <a:gd name="connsiteX5" fmla="*/ 74682 w 209108"/>
                <a:gd name="connsiteY5" fmla="*/ 22405 h 194172"/>
                <a:gd name="connsiteX6" fmla="*/ 137414 w 209108"/>
                <a:gd name="connsiteY6" fmla="*/ 0 h 194172"/>
                <a:gd name="connsiteX7" fmla="*/ 140402 w 209108"/>
                <a:gd name="connsiteY7" fmla="*/ 50784 h 194172"/>
                <a:gd name="connsiteX8" fmla="*/ 222552 w 209108"/>
                <a:gd name="connsiteY8" fmla="*/ 144882 h 194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108" h="194172">
                  <a:moveTo>
                    <a:pt x="222552" y="144882"/>
                  </a:moveTo>
                  <a:lnTo>
                    <a:pt x="188198" y="207615"/>
                  </a:lnTo>
                  <a:lnTo>
                    <a:pt x="25392" y="98580"/>
                  </a:lnTo>
                  <a:cubicBezTo>
                    <a:pt x="13443" y="91112"/>
                    <a:pt x="5975" y="79163"/>
                    <a:pt x="4481" y="65720"/>
                  </a:cubicBezTo>
                  <a:lnTo>
                    <a:pt x="0" y="35847"/>
                  </a:lnTo>
                  <a:lnTo>
                    <a:pt x="74682" y="22405"/>
                  </a:lnTo>
                  <a:lnTo>
                    <a:pt x="137414" y="0"/>
                  </a:lnTo>
                  <a:lnTo>
                    <a:pt x="140402" y="50784"/>
                  </a:lnTo>
                  <a:lnTo>
                    <a:pt x="222552" y="144882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1" name="任意多边形: 形状 10440"/>
            <p:cNvSpPr/>
            <p:nvPr/>
          </p:nvSpPr>
          <p:spPr>
            <a:xfrm>
              <a:off x="6358727" y="3377913"/>
              <a:ext cx="74682" cy="44809"/>
            </a:xfrm>
            <a:custGeom>
              <a:avLst/>
              <a:gdLst>
                <a:gd name="connsiteX0" fmla="*/ 64973 w 74681"/>
                <a:gd name="connsiteY0" fmla="*/ 6721 h 44809"/>
                <a:gd name="connsiteX1" fmla="*/ 64973 w 74681"/>
                <a:gd name="connsiteY1" fmla="*/ 38088 h 44809"/>
                <a:gd name="connsiteX2" fmla="*/ 11202 w 74681"/>
                <a:gd name="connsiteY2" fmla="*/ 38088 h 44809"/>
                <a:gd name="connsiteX3" fmla="*/ 11202 w 74681"/>
                <a:gd name="connsiteY3" fmla="*/ 6721 h 44809"/>
                <a:gd name="connsiteX4" fmla="*/ 64973 w 74681"/>
                <a:gd name="connsiteY4" fmla="*/ 672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64973" y="6721"/>
                  </a:moveTo>
                  <a:cubicBezTo>
                    <a:pt x="79909" y="15683"/>
                    <a:pt x="79909" y="29126"/>
                    <a:pt x="64973" y="38088"/>
                  </a:cubicBezTo>
                  <a:cubicBezTo>
                    <a:pt x="50037" y="47050"/>
                    <a:pt x="26139" y="47050"/>
                    <a:pt x="11202" y="38088"/>
                  </a:cubicBezTo>
                  <a:cubicBezTo>
                    <a:pt x="-3734" y="29126"/>
                    <a:pt x="-3734" y="15683"/>
                    <a:pt x="11202" y="6721"/>
                  </a:cubicBezTo>
                  <a:cubicBezTo>
                    <a:pt x="26139" y="-2240"/>
                    <a:pt x="50037" y="-2240"/>
                    <a:pt x="64973" y="672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2" name="任意多边形: 形状 10441"/>
            <p:cNvSpPr/>
            <p:nvPr/>
          </p:nvSpPr>
          <p:spPr>
            <a:xfrm>
              <a:off x="6359474" y="3182199"/>
              <a:ext cx="89618" cy="224045"/>
            </a:xfrm>
            <a:custGeom>
              <a:avLst/>
              <a:gdLst>
                <a:gd name="connsiteX0" fmla="*/ 0 w 89618"/>
                <a:gd name="connsiteY0" fmla="*/ 217372 h 224045"/>
                <a:gd name="connsiteX1" fmla="*/ 20911 w 89618"/>
                <a:gd name="connsiteY1" fmla="*/ 29174 h 224045"/>
                <a:gd name="connsiteX2" fmla="*/ 38835 w 89618"/>
                <a:gd name="connsiteY2" fmla="*/ 9756 h 224045"/>
                <a:gd name="connsiteX3" fmla="*/ 71694 w 89618"/>
                <a:gd name="connsiteY3" fmla="*/ 795 h 224045"/>
                <a:gd name="connsiteX4" fmla="*/ 97086 w 89618"/>
                <a:gd name="connsiteY4" fmla="*/ 29174 h 224045"/>
                <a:gd name="connsiteX5" fmla="*/ 76175 w 89618"/>
                <a:gd name="connsiteY5" fmla="*/ 217372 h 224045"/>
                <a:gd name="connsiteX6" fmla="*/ 65720 w 89618"/>
                <a:gd name="connsiteY6" fmla="*/ 226333 h 224045"/>
                <a:gd name="connsiteX7" fmla="*/ 0 w 89618"/>
                <a:gd name="connsiteY7" fmla="*/ 217372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618" h="224045">
                  <a:moveTo>
                    <a:pt x="0" y="217372"/>
                  </a:moveTo>
                  <a:cubicBezTo>
                    <a:pt x="1494" y="160613"/>
                    <a:pt x="16430" y="35148"/>
                    <a:pt x="20911" y="29174"/>
                  </a:cubicBezTo>
                  <a:cubicBezTo>
                    <a:pt x="25392" y="21705"/>
                    <a:pt x="31366" y="14237"/>
                    <a:pt x="38835" y="9756"/>
                  </a:cubicBezTo>
                  <a:cubicBezTo>
                    <a:pt x="49290" y="3782"/>
                    <a:pt x="59745" y="-2193"/>
                    <a:pt x="71694" y="795"/>
                  </a:cubicBezTo>
                  <a:cubicBezTo>
                    <a:pt x="85137" y="3782"/>
                    <a:pt x="95593" y="15731"/>
                    <a:pt x="97086" y="29174"/>
                  </a:cubicBezTo>
                  <a:cubicBezTo>
                    <a:pt x="98580" y="42616"/>
                    <a:pt x="79163" y="209903"/>
                    <a:pt x="76175" y="217372"/>
                  </a:cubicBezTo>
                  <a:cubicBezTo>
                    <a:pt x="73188" y="224840"/>
                    <a:pt x="73188" y="224840"/>
                    <a:pt x="65720" y="226333"/>
                  </a:cubicBezTo>
                  <a:lnTo>
                    <a:pt x="0" y="217372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3" name="任意多边形: 形状 10442"/>
            <p:cNvSpPr/>
            <p:nvPr/>
          </p:nvSpPr>
          <p:spPr>
            <a:xfrm>
              <a:off x="6482699" y="3354388"/>
              <a:ext cx="89618" cy="44809"/>
            </a:xfrm>
            <a:custGeom>
              <a:avLst/>
              <a:gdLst>
                <a:gd name="connsiteX0" fmla="*/ 6721 w 89618"/>
                <a:gd name="connsiteY0" fmla="*/ 3361 h 44809"/>
                <a:gd name="connsiteX1" fmla="*/ 6721 w 89618"/>
                <a:gd name="connsiteY1" fmla="*/ 21284 h 44809"/>
                <a:gd name="connsiteX2" fmla="*/ 56011 w 89618"/>
                <a:gd name="connsiteY2" fmla="*/ 49663 h 44809"/>
                <a:gd name="connsiteX3" fmla="*/ 87378 w 89618"/>
                <a:gd name="connsiteY3" fmla="*/ 49663 h 44809"/>
                <a:gd name="connsiteX4" fmla="*/ 87378 w 89618"/>
                <a:gd name="connsiteY4" fmla="*/ 49663 h 44809"/>
                <a:gd name="connsiteX5" fmla="*/ 87378 w 89618"/>
                <a:gd name="connsiteY5" fmla="*/ 31740 h 44809"/>
                <a:gd name="connsiteX6" fmla="*/ 38088 w 89618"/>
                <a:gd name="connsiteY6" fmla="*/ 3361 h 44809"/>
                <a:gd name="connsiteX7" fmla="*/ 6721 w 89618"/>
                <a:gd name="connsiteY7" fmla="*/ 3361 h 44809"/>
                <a:gd name="connsiteX8" fmla="*/ 6721 w 89618"/>
                <a:gd name="connsiteY8" fmla="*/ 336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3361"/>
                  </a:moveTo>
                  <a:cubicBezTo>
                    <a:pt x="-2240" y="7842"/>
                    <a:pt x="-2240" y="16803"/>
                    <a:pt x="6721" y="21284"/>
                  </a:cubicBezTo>
                  <a:lnTo>
                    <a:pt x="56011" y="49663"/>
                  </a:lnTo>
                  <a:cubicBezTo>
                    <a:pt x="64973" y="54144"/>
                    <a:pt x="78416" y="54144"/>
                    <a:pt x="87378" y="49663"/>
                  </a:cubicBezTo>
                  <a:lnTo>
                    <a:pt x="87378" y="49663"/>
                  </a:lnTo>
                  <a:cubicBezTo>
                    <a:pt x="96339" y="45183"/>
                    <a:pt x="96339" y="36221"/>
                    <a:pt x="87378" y="31740"/>
                  </a:cubicBezTo>
                  <a:lnTo>
                    <a:pt x="38088" y="3361"/>
                  </a:lnTo>
                  <a:cubicBezTo>
                    <a:pt x="29126" y="-1120"/>
                    <a:pt x="14190" y="-1120"/>
                    <a:pt x="6721" y="3361"/>
                  </a:cubicBezTo>
                  <a:lnTo>
                    <a:pt x="6721" y="3361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4" name="任意多边形: 形状 10443"/>
            <p:cNvSpPr/>
            <p:nvPr/>
          </p:nvSpPr>
          <p:spPr>
            <a:xfrm>
              <a:off x="6483445" y="3326383"/>
              <a:ext cx="89618" cy="59745"/>
            </a:xfrm>
            <a:custGeom>
              <a:avLst/>
              <a:gdLst>
                <a:gd name="connsiteX0" fmla="*/ 52277 w 89618"/>
                <a:gd name="connsiteY0" fmla="*/ 2987 h 59745"/>
                <a:gd name="connsiteX1" fmla="*/ 16430 w 89618"/>
                <a:gd name="connsiteY1" fmla="*/ 0 h 59745"/>
                <a:gd name="connsiteX2" fmla="*/ 0 w 89618"/>
                <a:gd name="connsiteY2" fmla="*/ 40328 h 59745"/>
                <a:gd name="connsiteX3" fmla="*/ 92605 w 89618"/>
                <a:gd name="connsiteY3" fmla="*/ 70201 h 59745"/>
                <a:gd name="connsiteX4" fmla="*/ 62733 w 89618"/>
                <a:gd name="connsiteY4" fmla="*/ 26885 h 59745"/>
                <a:gd name="connsiteX5" fmla="*/ 52277 w 89618"/>
                <a:gd name="connsiteY5" fmla="*/ 2987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59745">
                  <a:moveTo>
                    <a:pt x="52277" y="2987"/>
                  </a:moveTo>
                  <a:lnTo>
                    <a:pt x="16430" y="0"/>
                  </a:lnTo>
                  <a:cubicBezTo>
                    <a:pt x="8962" y="10456"/>
                    <a:pt x="1494" y="22405"/>
                    <a:pt x="0" y="40328"/>
                  </a:cubicBezTo>
                  <a:lnTo>
                    <a:pt x="92605" y="70201"/>
                  </a:lnTo>
                  <a:cubicBezTo>
                    <a:pt x="95593" y="58252"/>
                    <a:pt x="80656" y="38835"/>
                    <a:pt x="62733" y="26885"/>
                  </a:cubicBezTo>
                  <a:cubicBezTo>
                    <a:pt x="55264" y="22405"/>
                    <a:pt x="58252" y="10456"/>
                    <a:pt x="52277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5" name="任意多边形: 形状 10444"/>
            <p:cNvSpPr/>
            <p:nvPr/>
          </p:nvSpPr>
          <p:spPr>
            <a:xfrm>
              <a:off x="6284792" y="3024668"/>
              <a:ext cx="253918" cy="164300"/>
            </a:xfrm>
            <a:custGeom>
              <a:avLst/>
              <a:gdLst>
                <a:gd name="connsiteX0" fmla="*/ 253918 w 253917"/>
                <a:gd name="connsiteY0" fmla="*/ 94099 h 164299"/>
                <a:gd name="connsiteX1" fmla="*/ 230020 w 253917"/>
                <a:gd name="connsiteY1" fmla="*/ 165793 h 164299"/>
                <a:gd name="connsiteX2" fmla="*/ 213590 w 253917"/>
                <a:gd name="connsiteY2" fmla="*/ 159819 h 164299"/>
                <a:gd name="connsiteX3" fmla="*/ 0 w 253917"/>
                <a:gd name="connsiteY3" fmla="*/ 83644 h 164299"/>
                <a:gd name="connsiteX4" fmla="*/ 101567 w 253917"/>
                <a:gd name="connsiteY4" fmla="*/ 0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917" h="164299">
                  <a:moveTo>
                    <a:pt x="253918" y="94099"/>
                  </a:moveTo>
                  <a:lnTo>
                    <a:pt x="230020" y="165793"/>
                  </a:lnTo>
                  <a:lnTo>
                    <a:pt x="213590" y="159819"/>
                  </a:lnTo>
                  <a:lnTo>
                    <a:pt x="0" y="83644"/>
                  </a:lnTo>
                  <a:lnTo>
                    <a:pt x="101567" y="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6" name="任意多边形: 形状 10445"/>
            <p:cNvSpPr/>
            <p:nvPr/>
          </p:nvSpPr>
          <p:spPr>
            <a:xfrm>
              <a:off x="6475230" y="3313313"/>
              <a:ext cx="74682" cy="29873"/>
            </a:xfrm>
            <a:custGeom>
              <a:avLst/>
              <a:gdLst>
                <a:gd name="connsiteX0" fmla="*/ 64973 w 74681"/>
                <a:gd name="connsiteY0" fmla="*/ 5601 h 29872"/>
                <a:gd name="connsiteX1" fmla="*/ 64973 w 74681"/>
                <a:gd name="connsiteY1" fmla="*/ 36968 h 29872"/>
                <a:gd name="connsiteX2" fmla="*/ 11202 w 74681"/>
                <a:gd name="connsiteY2" fmla="*/ 36968 h 29872"/>
                <a:gd name="connsiteX3" fmla="*/ 11202 w 74681"/>
                <a:gd name="connsiteY3" fmla="*/ 5601 h 29872"/>
                <a:gd name="connsiteX4" fmla="*/ 64973 w 74681"/>
                <a:gd name="connsiteY4" fmla="*/ 5601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29872">
                  <a:moveTo>
                    <a:pt x="64973" y="5601"/>
                  </a:moveTo>
                  <a:cubicBezTo>
                    <a:pt x="79910" y="14563"/>
                    <a:pt x="79910" y="28006"/>
                    <a:pt x="64973" y="36968"/>
                  </a:cubicBezTo>
                  <a:cubicBezTo>
                    <a:pt x="50037" y="45929"/>
                    <a:pt x="26139" y="45929"/>
                    <a:pt x="11202" y="36968"/>
                  </a:cubicBezTo>
                  <a:cubicBezTo>
                    <a:pt x="-3734" y="28006"/>
                    <a:pt x="-3734" y="14563"/>
                    <a:pt x="11202" y="5601"/>
                  </a:cubicBezTo>
                  <a:cubicBezTo>
                    <a:pt x="26139" y="-1867"/>
                    <a:pt x="50037" y="-1867"/>
                    <a:pt x="64973" y="560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7" name="任意多边形: 形状 10446"/>
            <p:cNvSpPr/>
            <p:nvPr/>
          </p:nvSpPr>
          <p:spPr>
            <a:xfrm>
              <a:off x="6475163" y="3117043"/>
              <a:ext cx="74682" cy="209109"/>
            </a:xfrm>
            <a:custGeom>
              <a:avLst/>
              <a:gdLst>
                <a:gd name="connsiteX0" fmla="*/ 814 w 74681"/>
                <a:gd name="connsiteY0" fmla="*/ 218301 h 209108"/>
                <a:gd name="connsiteX1" fmla="*/ 6789 w 74681"/>
                <a:gd name="connsiteY1" fmla="*/ 48027 h 209108"/>
                <a:gd name="connsiteX2" fmla="*/ 21725 w 74681"/>
                <a:gd name="connsiteY2" fmla="*/ 12179 h 209108"/>
                <a:gd name="connsiteX3" fmla="*/ 53091 w 74681"/>
                <a:gd name="connsiteY3" fmla="*/ 230 h 209108"/>
                <a:gd name="connsiteX4" fmla="*/ 82964 w 74681"/>
                <a:gd name="connsiteY4" fmla="*/ 37571 h 209108"/>
                <a:gd name="connsiteX5" fmla="*/ 76990 w 74681"/>
                <a:gd name="connsiteY5" fmla="*/ 218301 h 209108"/>
                <a:gd name="connsiteX6" fmla="*/ 54585 w 74681"/>
                <a:gd name="connsiteY6" fmla="*/ 218301 h 209108"/>
                <a:gd name="connsiteX7" fmla="*/ 814 w 74681"/>
                <a:gd name="connsiteY7" fmla="*/ 218301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209108">
                  <a:moveTo>
                    <a:pt x="814" y="218301"/>
                  </a:moveTo>
                  <a:cubicBezTo>
                    <a:pt x="-2173" y="163037"/>
                    <a:pt x="3801" y="54001"/>
                    <a:pt x="6789" y="48027"/>
                  </a:cubicBezTo>
                  <a:cubicBezTo>
                    <a:pt x="9776" y="40559"/>
                    <a:pt x="15750" y="16660"/>
                    <a:pt x="21725" y="12179"/>
                  </a:cubicBezTo>
                  <a:cubicBezTo>
                    <a:pt x="30687" y="4711"/>
                    <a:pt x="41142" y="-1263"/>
                    <a:pt x="53091" y="230"/>
                  </a:cubicBezTo>
                  <a:cubicBezTo>
                    <a:pt x="66534" y="1724"/>
                    <a:pt x="78483" y="10686"/>
                    <a:pt x="82964" y="37571"/>
                  </a:cubicBezTo>
                  <a:cubicBezTo>
                    <a:pt x="84458" y="51014"/>
                    <a:pt x="79977" y="210833"/>
                    <a:pt x="76990" y="218301"/>
                  </a:cubicBezTo>
                  <a:cubicBezTo>
                    <a:pt x="75496" y="225769"/>
                    <a:pt x="63547" y="215314"/>
                    <a:pt x="54585" y="218301"/>
                  </a:cubicBezTo>
                  <a:lnTo>
                    <a:pt x="814" y="218301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8" name="任意多边形: 形状 10447"/>
            <p:cNvSpPr/>
            <p:nvPr/>
          </p:nvSpPr>
          <p:spPr>
            <a:xfrm>
              <a:off x="6319599" y="2784646"/>
              <a:ext cx="89618" cy="164300"/>
            </a:xfrm>
            <a:custGeom>
              <a:avLst/>
              <a:gdLst>
                <a:gd name="connsiteX0" fmla="*/ 89165 w 89618"/>
                <a:gd name="connsiteY0" fmla="*/ 136962 h 164299"/>
                <a:gd name="connsiteX1" fmla="*/ 66761 w 89618"/>
                <a:gd name="connsiteY1" fmla="*/ 174302 h 164299"/>
                <a:gd name="connsiteX2" fmla="*/ 66761 w 89618"/>
                <a:gd name="connsiteY2" fmla="*/ 174302 h 164299"/>
                <a:gd name="connsiteX3" fmla="*/ 29420 w 89618"/>
                <a:gd name="connsiteY3" fmla="*/ 151898 h 164299"/>
                <a:gd name="connsiteX4" fmla="*/ 1041 w 89618"/>
                <a:gd name="connsiteY4" fmla="*/ 38382 h 164299"/>
                <a:gd name="connsiteX5" fmla="*/ 23445 w 89618"/>
                <a:gd name="connsiteY5" fmla="*/ 1041 h 164299"/>
                <a:gd name="connsiteX6" fmla="*/ 23445 w 89618"/>
                <a:gd name="connsiteY6" fmla="*/ 1041 h 164299"/>
                <a:gd name="connsiteX7" fmla="*/ 60786 w 89618"/>
                <a:gd name="connsiteY7" fmla="*/ 23445 h 164299"/>
                <a:gd name="connsiteX8" fmla="*/ 89165 w 89618"/>
                <a:gd name="connsiteY8" fmla="*/ 136962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164299">
                  <a:moveTo>
                    <a:pt x="89165" y="136962"/>
                  </a:moveTo>
                  <a:cubicBezTo>
                    <a:pt x="93646" y="153391"/>
                    <a:pt x="83191" y="169821"/>
                    <a:pt x="66761" y="174302"/>
                  </a:cubicBezTo>
                  <a:lnTo>
                    <a:pt x="66761" y="174302"/>
                  </a:lnTo>
                  <a:cubicBezTo>
                    <a:pt x="50331" y="178783"/>
                    <a:pt x="33901" y="168328"/>
                    <a:pt x="29420" y="151898"/>
                  </a:cubicBezTo>
                  <a:lnTo>
                    <a:pt x="1041" y="38382"/>
                  </a:lnTo>
                  <a:cubicBezTo>
                    <a:pt x="-3440" y="21952"/>
                    <a:pt x="7015" y="5522"/>
                    <a:pt x="23445" y="1041"/>
                  </a:cubicBezTo>
                  <a:lnTo>
                    <a:pt x="23445" y="1041"/>
                  </a:lnTo>
                  <a:cubicBezTo>
                    <a:pt x="39875" y="-3440"/>
                    <a:pt x="56305" y="7015"/>
                    <a:pt x="60786" y="23445"/>
                  </a:cubicBezTo>
                  <a:lnTo>
                    <a:pt x="89165" y="136962"/>
                  </a:ln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9" name="任意多边形: 形状 10448"/>
            <p:cNvSpPr/>
            <p:nvPr/>
          </p:nvSpPr>
          <p:spPr>
            <a:xfrm>
              <a:off x="6238489" y="3003758"/>
              <a:ext cx="134427" cy="89618"/>
            </a:xfrm>
            <a:custGeom>
              <a:avLst/>
              <a:gdLst>
                <a:gd name="connsiteX0" fmla="*/ 0 w 134427"/>
                <a:gd name="connsiteY0" fmla="*/ 85137 h 89618"/>
                <a:gd name="connsiteX1" fmla="*/ 37341 w 134427"/>
                <a:gd name="connsiteY1" fmla="*/ 89618 h 89618"/>
                <a:gd name="connsiteX2" fmla="*/ 73188 w 134427"/>
                <a:gd name="connsiteY2" fmla="*/ 76175 h 89618"/>
                <a:gd name="connsiteX3" fmla="*/ 126959 w 134427"/>
                <a:gd name="connsiteY3" fmla="*/ 43315 h 89618"/>
                <a:gd name="connsiteX4" fmla="*/ 147870 w 134427"/>
                <a:gd name="connsiteY4" fmla="*/ 22405 h 89618"/>
                <a:gd name="connsiteX5" fmla="*/ 147870 w 134427"/>
                <a:gd name="connsiteY5" fmla="*/ 22405 h 89618"/>
                <a:gd name="connsiteX6" fmla="*/ 144882 w 134427"/>
                <a:gd name="connsiteY6" fmla="*/ 0 h 89618"/>
                <a:gd name="connsiteX7" fmla="*/ 141895 w 134427"/>
                <a:gd name="connsiteY7" fmla="*/ 0 h 89618"/>
                <a:gd name="connsiteX8" fmla="*/ 83643 w 134427"/>
                <a:gd name="connsiteY8" fmla="*/ 41822 h 89618"/>
                <a:gd name="connsiteX9" fmla="*/ 70201 w 134427"/>
                <a:gd name="connsiteY9" fmla="*/ 47796 h 89618"/>
                <a:gd name="connsiteX10" fmla="*/ 5974 w 134427"/>
                <a:gd name="connsiteY10" fmla="*/ 56758 h 89618"/>
                <a:gd name="connsiteX11" fmla="*/ 0 w 134427"/>
                <a:gd name="connsiteY11" fmla="*/ 85137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4427" h="89618">
                  <a:moveTo>
                    <a:pt x="0" y="85137"/>
                  </a:moveTo>
                  <a:cubicBezTo>
                    <a:pt x="10455" y="91112"/>
                    <a:pt x="23898" y="92605"/>
                    <a:pt x="37341" y="89618"/>
                  </a:cubicBezTo>
                  <a:cubicBezTo>
                    <a:pt x="49290" y="86631"/>
                    <a:pt x="61239" y="82150"/>
                    <a:pt x="73188" y="76175"/>
                  </a:cubicBezTo>
                  <a:cubicBezTo>
                    <a:pt x="92605" y="67214"/>
                    <a:pt x="110529" y="55264"/>
                    <a:pt x="126959" y="43315"/>
                  </a:cubicBezTo>
                  <a:cubicBezTo>
                    <a:pt x="134427" y="37341"/>
                    <a:pt x="143389" y="31366"/>
                    <a:pt x="147870" y="22405"/>
                  </a:cubicBezTo>
                  <a:cubicBezTo>
                    <a:pt x="147870" y="22405"/>
                    <a:pt x="147870" y="22405"/>
                    <a:pt x="147870" y="22405"/>
                  </a:cubicBezTo>
                  <a:lnTo>
                    <a:pt x="144882" y="0"/>
                  </a:lnTo>
                  <a:lnTo>
                    <a:pt x="141895" y="0"/>
                  </a:lnTo>
                  <a:cubicBezTo>
                    <a:pt x="123972" y="16430"/>
                    <a:pt x="104554" y="31366"/>
                    <a:pt x="83643" y="41822"/>
                  </a:cubicBezTo>
                  <a:cubicBezTo>
                    <a:pt x="79163" y="44809"/>
                    <a:pt x="74682" y="46303"/>
                    <a:pt x="70201" y="47796"/>
                  </a:cubicBezTo>
                  <a:cubicBezTo>
                    <a:pt x="49290" y="56758"/>
                    <a:pt x="28379" y="61239"/>
                    <a:pt x="5974" y="56758"/>
                  </a:cubicBezTo>
                  <a:cubicBezTo>
                    <a:pt x="2987" y="67214"/>
                    <a:pt x="1493" y="76175"/>
                    <a:pt x="0" y="85137"/>
                  </a:cubicBez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0" name="任意多边形: 形状 10449"/>
            <p:cNvSpPr/>
            <p:nvPr/>
          </p:nvSpPr>
          <p:spPr>
            <a:xfrm>
              <a:off x="6208617" y="2775641"/>
              <a:ext cx="164300" cy="298727"/>
            </a:xfrm>
            <a:custGeom>
              <a:avLst/>
              <a:gdLst>
                <a:gd name="connsiteX0" fmla="*/ 177742 w 164299"/>
                <a:gd name="connsiteY0" fmla="*/ 213180 h 298726"/>
                <a:gd name="connsiteX1" fmla="*/ 147870 w 164299"/>
                <a:gd name="connsiteY1" fmla="*/ 263964 h 298726"/>
                <a:gd name="connsiteX2" fmla="*/ 143389 w 164299"/>
                <a:gd name="connsiteY2" fmla="*/ 265458 h 298726"/>
                <a:gd name="connsiteX3" fmla="*/ 128452 w 164299"/>
                <a:gd name="connsiteY3" fmla="*/ 274419 h 298726"/>
                <a:gd name="connsiteX4" fmla="*/ 125465 w 164299"/>
                <a:gd name="connsiteY4" fmla="*/ 275913 h 298726"/>
                <a:gd name="connsiteX5" fmla="*/ 94099 w 164299"/>
                <a:gd name="connsiteY5" fmla="*/ 293837 h 298726"/>
                <a:gd name="connsiteX6" fmla="*/ 92605 w 164299"/>
                <a:gd name="connsiteY6" fmla="*/ 293837 h 298726"/>
                <a:gd name="connsiteX7" fmla="*/ 52277 w 164299"/>
                <a:gd name="connsiteY7" fmla="*/ 299811 h 298726"/>
                <a:gd name="connsiteX8" fmla="*/ 46303 w 164299"/>
                <a:gd name="connsiteY8" fmla="*/ 298318 h 298726"/>
                <a:gd name="connsiteX9" fmla="*/ 4481 w 164299"/>
                <a:gd name="connsiteY9" fmla="*/ 241559 h 298726"/>
                <a:gd name="connsiteX10" fmla="*/ 0 w 164299"/>
                <a:gd name="connsiteY10" fmla="*/ 72779 h 298726"/>
                <a:gd name="connsiteX11" fmla="*/ 61239 w 164299"/>
                <a:gd name="connsiteY11" fmla="*/ 11540 h 298726"/>
                <a:gd name="connsiteX12" fmla="*/ 119491 w 164299"/>
                <a:gd name="connsiteY12" fmla="*/ 4072 h 298726"/>
                <a:gd name="connsiteX13" fmla="*/ 164300 w 164299"/>
                <a:gd name="connsiteY13" fmla="*/ 56349 h 298726"/>
                <a:gd name="connsiteX14" fmla="*/ 165793 w 164299"/>
                <a:gd name="connsiteY14" fmla="*/ 75766 h 298726"/>
                <a:gd name="connsiteX15" fmla="*/ 167287 w 164299"/>
                <a:gd name="connsiteY15" fmla="*/ 101158 h 298726"/>
                <a:gd name="connsiteX16" fmla="*/ 167287 w 164299"/>
                <a:gd name="connsiteY16" fmla="*/ 107132 h 298726"/>
                <a:gd name="connsiteX17" fmla="*/ 173261 w 164299"/>
                <a:gd name="connsiteY17" fmla="*/ 163890 h 298726"/>
                <a:gd name="connsiteX18" fmla="*/ 174755 w 164299"/>
                <a:gd name="connsiteY18" fmla="*/ 193763 h 298726"/>
                <a:gd name="connsiteX19" fmla="*/ 177742 w 164299"/>
                <a:gd name="connsiteY19" fmla="*/ 213180 h 29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4299" h="298726">
                  <a:moveTo>
                    <a:pt x="177742" y="213180"/>
                  </a:moveTo>
                  <a:cubicBezTo>
                    <a:pt x="177742" y="234091"/>
                    <a:pt x="165793" y="253508"/>
                    <a:pt x="147870" y="263964"/>
                  </a:cubicBezTo>
                  <a:lnTo>
                    <a:pt x="143389" y="265458"/>
                  </a:lnTo>
                  <a:lnTo>
                    <a:pt x="128452" y="274419"/>
                  </a:lnTo>
                  <a:lnTo>
                    <a:pt x="125465" y="275913"/>
                  </a:lnTo>
                  <a:lnTo>
                    <a:pt x="94099" y="293837"/>
                  </a:lnTo>
                  <a:cubicBezTo>
                    <a:pt x="94099" y="293837"/>
                    <a:pt x="94099" y="293837"/>
                    <a:pt x="92605" y="293837"/>
                  </a:cubicBezTo>
                  <a:cubicBezTo>
                    <a:pt x="79163" y="301305"/>
                    <a:pt x="65720" y="302798"/>
                    <a:pt x="52277" y="299811"/>
                  </a:cubicBezTo>
                  <a:cubicBezTo>
                    <a:pt x="50783" y="299811"/>
                    <a:pt x="47796" y="298318"/>
                    <a:pt x="46303" y="298318"/>
                  </a:cubicBezTo>
                  <a:cubicBezTo>
                    <a:pt x="22405" y="290849"/>
                    <a:pt x="4481" y="269939"/>
                    <a:pt x="4481" y="241559"/>
                  </a:cubicBezTo>
                  <a:lnTo>
                    <a:pt x="0" y="72779"/>
                  </a:lnTo>
                  <a:cubicBezTo>
                    <a:pt x="13443" y="48881"/>
                    <a:pt x="34354" y="29463"/>
                    <a:pt x="61239" y="11540"/>
                  </a:cubicBezTo>
                  <a:cubicBezTo>
                    <a:pt x="80656" y="-409"/>
                    <a:pt x="101567" y="-3397"/>
                    <a:pt x="119491" y="4072"/>
                  </a:cubicBezTo>
                  <a:cubicBezTo>
                    <a:pt x="141895" y="11540"/>
                    <a:pt x="158325" y="30957"/>
                    <a:pt x="164300" y="56349"/>
                  </a:cubicBezTo>
                  <a:cubicBezTo>
                    <a:pt x="165793" y="62323"/>
                    <a:pt x="165793" y="69791"/>
                    <a:pt x="165793" y="75766"/>
                  </a:cubicBezTo>
                  <a:lnTo>
                    <a:pt x="167287" y="101158"/>
                  </a:lnTo>
                  <a:lnTo>
                    <a:pt x="167287" y="107132"/>
                  </a:lnTo>
                  <a:lnTo>
                    <a:pt x="173261" y="163890"/>
                  </a:lnTo>
                  <a:lnTo>
                    <a:pt x="174755" y="193763"/>
                  </a:lnTo>
                  <a:lnTo>
                    <a:pt x="177742" y="213180"/>
                  </a:ln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1" name="任意多边形: 形状 10450"/>
            <p:cNvSpPr/>
            <p:nvPr/>
          </p:nvSpPr>
          <p:spPr>
            <a:xfrm>
              <a:off x="6236996" y="2872318"/>
              <a:ext cx="59745" cy="194172"/>
            </a:xfrm>
            <a:custGeom>
              <a:avLst/>
              <a:gdLst>
                <a:gd name="connsiteX0" fmla="*/ 64226 w 59745"/>
                <a:gd name="connsiteY0" fmla="*/ 198653 h 194172"/>
                <a:gd name="connsiteX1" fmla="*/ 23898 w 59745"/>
                <a:gd name="connsiteY1" fmla="*/ 204628 h 194172"/>
                <a:gd name="connsiteX2" fmla="*/ 17924 w 59745"/>
                <a:gd name="connsiteY2" fmla="*/ 203134 h 194172"/>
                <a:gd name="connsiteX3" fmla="*/ 4481 w 59745"/>
                <a:gd name="connsiteY3" fmla="*/ 137414 h 194172"/>
                <a:gd name="connsiteX4" fmla="*/ 0 w 59745"/>
                <a:gd name="connsiteY4" fmla="*/ 104554 h 194172"/>
                <a:gd name="connsiteX5" fmla="*/ 4481 w 59745"/>
                <a:gd name="connsiteY5" fmla="*/ 64226 h 194172"/>
                <a:gd name="connsiteX6" fmla="*/ 13443 w 59745"/>
                <a:gd name="connsiteY6" fmla="*/ 19417 h 194172"/>
                <a:gd name="connsiteX7" fmla="*/ 20911 w 59745"/>
                <a:gd name="connsiteY7" fmla="*/ 0 h 194172"/>
                <a:gd name="connsiteX8" fmla="*/ 25392 w 59745"/>
                <a:gd name="connsiteY8" fmla="*/ 91112 h 194172"/>
                <a:gd name="connsiteX9" fmla="*/ 26885 w 59745"/>
                <a:gd name="connsiteY9" fmla="*/ 110529 h 194172"/>
                <a:gd name="connsiteX10" fmla="*/ 31366 w 59745"/>
                <a:gd name="connsiteY10" fmla="*/ 132933 h 194172"/>
                <a:gd name="connsiteX11" fmla="*/ 64226 w 59745"/>
                <a:gd name="connsiteY11" fmla="*/ 198653 h 194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745" h="194172">
                  <a:moveTo>
                    <a:pt x="64226" y="198653"/>
                  </a:moveTo>
                  <a:cubicBezTo>
                    <a:pt x="50784" y="206122"/>
                    <a:pt x="37341" y="207615"/>
                    <a:pt x="23898" y="204628"/>
                  </a:cubicBezTo>
                  <a:cubicBezTo>
                    <a:pt x="22405" y="204628"/>
                    <a:pt x="19417" y="203134"/>
                    <a:pt x="17924" y="203134"/>
                  </a:cubicBezTo>
                  <a:cubicBezTo>
                    <a:pt x="13443" y="180730"/>
                    <a:pt x="8962" y="159819"/>
                    <a:pt x="4481" y="137414"/>
                  </a:cubicBezTo>
                  <a:cubicBezTo>
                    <a:pt x="2987" y="126959"/>
                    <a:pt x="0" y="115010"/>
                    <a:pt x="0" y="104554"/>
                  </a:cubicBezTo>
                  <a:cubicBezTo>
                    <a:pt x="0" y="91112"/>
                    <a:pt x="2987" y="77669"/>
                    <a:pt x="4481" y="64226"/>
                  </a:cubicBezTo>
                  <a:cubicBezTo>
                    <a:pt x="7468" y="49290"/>
                    <a:pt x="10455" y="34354"/>
                    <a:pt x="13443" y="19417"/>
                  </a:cubicBezTo>
                  <a:cubicBezTo>
                    <a:pt x="14936" y="13443"/>
                    <a:pt x="16430" y="5974"/>
                    <a:pt x="20911" y="0"/>
                  </a:cubicBezTo>
                  <a:cubicBezTo>
                    <a:pt x="22405" y="31366"/>
                    <a:pt x="23898" y="61239"/>
                    <a:pt x="25392" y="91112"/>
                  </a:cubicBezTo>
                  <a:cubicBezTo>
                    <a:pt x="25392" y="97086"/>
                    <a:pt x="25392" y="104554"/>
                    <a:pt x="26885" y="110529"/>
                  </a:cubicBezTo>
                  <a:cubicBezTo>
                    <a:pt x="28379" y="117997"/>
                    <a:pt x="29873" y="125465"/>
                    <a:pt x="31366" y="132933"/>
                  </a:cubicBezTo>
                  <a:cubicBezTo>
                    <a:pt x="37341" y="153844"/>
                    <a:pt x="43316" y="183717"/>
                    <a:pt x="64226" y="198653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2" name="任意多边形: 形状 10451"/>
            <p:cNvSpPr/>
            <p:nvPr/>
          </p:nvSpPr>
          <p:spPr>
            <a:xfrm>
              <a:off x="6325120" y="2855888"/>
              <a:ext cx="14936" cy="14936"/>
            </a:xfrm>
            <a:custGeom>
              <a:avLst/>
              <a:gdLst>
                <a:gd name="connsiteX0" fmla="*/ 8962 w 0"/>
                <a:gd name="connsiteY0" fmla="*/ 2987 h 0"/>
                <a:gd name="connsiteX1" fmla="*/ 4481 w 0"/>
                <a:gd name="connsiteY1" fmla="*/ 10456 h 0"/>
                <a:gd name="connsiteX2" fmla="*/ 0 w 0"/>
                <a:gd name="connsiteY2" fmla="*/ 7468 h 0"/>
                <a:gd name="connsiteX3" fmla="*/ 4481 w 0"/>
                <a:gd name="connsiteY3" fmla="*/ 0 h 0"/>
                <a:gd name="connsiteX4" fmla="*/ 8962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2987"/>
                  </a:moveTo>
                  <a:cubicBezTo>
                    <a:pt x="8962" y="5975"/>
                    <a:pt x="7468" y="8962"/>
                    <a:pt x="4481" y="10456"/>
                  </a:cubicBezTo>
                  <a:cubicBezTo>
                    <a:pt x="1493" y="11949"/>
                    <a:pt x="0" y="10456"/>
                    <a:pt x="0" y="7468"/>
                  </a:cubicBezTo>
                  <a:cubicBezTo>
                    <a:pt x="0" y="4481"/>
                    <a:pt x="1493" y="1494"/>
                    <a:pt x="4481" y="0"/>
                  </a:cubicBezTo>
                  <a:cubicBezTo>
                    <a:pt x="5974" y="0"/>
                    <a:pt x="8962" y="0"/>
                    <a:pt x="8962" y="2987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3" name="任意多边形: 形状 10452"/>
            <p:cNvSpPr/>
            <p:nvPr/>
          </p:nvSpPr>
          <p:spPr>
            <a:xfrm>
              <a:off x="6331095" y="2919528"/>
              <a:ext cx="14936" cy="14936"/>
            </a:xfrm>
            <a:custGeom>
              <a:avLst/>
              <a:gdLst>
                <a:gd name="connsiteX0" fmla="*/ 8962 w 0"/>
                <a:gd name="connsiteY0" fmla="*/ 3573 h 0"/>
                <a:gd name="connsiteX1" fmla="*/ 4481 w 0"/>
                <a:gd name="connsiteY1" fmla="*/ 11041 h 0"/>
                <a:gd name="connsiteX2" fmla="*/ 0 w 0"/>
                <a:gd name="connsiteY2" fmla="*/ 8054 h 0"/>
                <a:gd name="connsiteX3" fmla="*/ 4481 w 0"/>
                <a:gd name="connsiteY3" fmla="*/ 586 h 0"/>
                <a:gd name="connsiteX4" fmla="*/ 8962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3573"/>
                  </a:moveTo>
                  <a:cubicBezTo>
                    <a:pt x="8962" y="6561"/>
                    <a:pt x="7468" y="9548"/>
                    <a:pt x="4481" y="11041"/>
                  </a:cubicBezTo>
                  <a:cubicBezTo>
                    <a:pt x="1494" y="12535"/>
                    <a:pt x="0" y="11041"/>
                    <a:pt x="0" y="8054"/>
                  </a:cubicBezTo>
                  <a:cubicBezTo>
                    <a:pt x="0" y="5067"/>
                    <a:pt x="1494" y="2080"/>
                    <a:pt x="4481" y="586"/>
                  </a:cubicBezTo>
                  <a:cubicBezTo>
                    <a:pt x="7468" y="-908"/>
                    <a:pt x="8962" y="586"/>
                    <a:pt x="8962" y="3573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4" name="任意多边形: 形状 10453"/>
            <p:cNvSpPr/>
            <p:nvPr/>
          </p:nvSpPr>
          <p:spPr>
            <a:xfrm>
              <a:off x="6335576" y="2979274"/>
              <a:ext cx="14936" cy="14936"/>
            </a:xfrm>
            <a:custGeom>
              <a:avLst/>
              <a:gdLst>
                <a:gd name="connsiteX0" fmla="*/ 8962 w 0"/>
                <a:gd name="connsiteY0" fmla="*/ 3573 h 0"/>
                <a:gd name="connsiteX1" fmla="*/ 4481 w 0"/>
                <a:gd name="connsiteY1" fmla="*/ 11041 h 0"/>
                <a:gd name="connsiteX2" fmla="*/ 0 w 0"/>
                <a:gd name="connsiteY2" fmla="*/ 8054 h 0"/>
                <a:gd name="connsiteX3" fmla="*/ 4481 w 0"/>
                <a:gd name="connsiteY3" fmla="*/ 586 h 0"/>
                <a:gd name="connsiteX4" fmla="*/ 8962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3573"/>
                  </a:moveTo>
                  <a:cubicBezTo>
                    <a:pt x="8962" y="6561"/>
                    <a:pt x="7468" y="9548"/>
                    <a:pt x="4481" y="11041"/>
                  </a:cubicBezTo>
                  <a:cubicBezTo>
                    <a:pt x="1493" y="12535"/>
                    <a:pt x="0" y="11041"/>
                    <a:pt x="0" y="8054"/>
                  </a:cubicBezTo>
                  <a:cubicBezTo>
                    <a:pt x="0" y="5067"/>
                    <a:pt x="1493" y="2080"/>
                    <a:pt x="4481" y="586"/>
                  </a:cubicBezTo>
                  <a:cubicBezTo>
                    <a:pt x="7468" y="-908"/>
                    <a:pt x="8962" y="586"/>
                    <a:pt x="8962" y="3573"/>
                  </a:cubicBez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5" name="任意多边形: 形状 10454"/>
            <p:cNvSpPr/>
            <p:nvPr/>
          </p:nvSpPr>
          <p:spPr>
            <a:xfrm>
              <a:off x="6340057" y="3032137"/>
              <a:ext cx="14936" cy="14936"/>
            </a:xfrm>
            <a:custGeom>
              <a:avLst/>
              <a:gdLst>
                <a:gd name="connsiteX0" fmla="*/ 8962 w 0"/>
                <a:gd name="connsiteY0" fmla="*/ 2987 h 0"/>
                <a:gd name="connsiteX1" fmla="*/ 4481 w 0"/>
                <a:gd name="connsiteY1" fmla="*/ 10455 h 0"/>
                <a:gd name="connsiteX2" fmla="*/ 0 w 0"/>
                <a:gd name="connsiteY2" fmla="*/ 7468 h 0"/>
                <a:gd name="connsiteX3" fmla="*/ 4481 w 0"/>
                <a:gd name="connsiteY3" fmla="*/ 0 h 0"/>
                <a:gd name="connsiteX4" fmla="*/ 8962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2987"/>
                  </a:moveTo>
                  <a:cubicBezTo>
                    <a:pt x="8962" y="5975"/>
                    <a:pt x="7468" y="8962"/>
                    <a:pt x="4481" y="10455"/>
                  </a:cubicBezTo>
                  <a:cubicBezTo>
                    <a:pt x="1493" y="11949"/>
                    <a:pt x="0" y="10455"/>
                    <a:pt x="0" y="7468"/>
                  </a:cubicBezTo>
                  <a:cubicBezTo>
                    <a:pt x="0" y="4481"/>
                    <a:pt x="1493" y="1494"/>
                    <a:pt x="4481" y="0"/>
                  </a:cubicBezTo>
                  <a:cubicBezTo>
                    <a:pt x="7468" y="0"/>
                    <a:pt x="8962" y="0"/>
                    <a:pt x="8962" y="2987"/>
                  </a:cubicBez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6" name="任意多边形: 形状 10455"/>
            <p:cNvSpPr/>
            <p:nvPr/>
          </p:nvSpPr>
          <p:spPr>
            <a:xfrm>
              <a:off x="6189073" y="2842319"/>
              <a:ext cx="59745" cy="164300"/>
            </a:xfrm>
            <a:custGeom>
              <a:avLst/>
              <a:gdLst>
                <a:gd name="connsiteX0" fmla="*/ 59871 w 59745"/>
                <a:gd name="connsiteY0" fmla="*/ 149489 h 164299"/>
                <a:gd name="connsiteX1" fmla="*/ 27012 w 59745"/>
                <a:gd name="connsiteY1" fmla="*/ 176375 h 164299"/>
                <a:gd name="connsiteX2" fmla="*/ 27012 w 59745"/>
                <a:gd name="connsiteY2" fmla="*/ 176375 h 164299"/>
                <a:gd name="connsiteX3" fmla="*/ 126 w 59745"/>
                <a:gd name="connsiteY3" fmla="*/ 143515 h 164299"/>
                <a:gd name="connsiteX4" fmla="*/ 10581 w 59745"/>
                <a:gd name="connsiteY4" fmla="*/ 27012 h 164299"/>
                <a:gd name="connsiteX5" fmla="*/ 43441 w 59745"/>
                <a:gd name="connsiteY5" fmla="*/ 126 h 164299"/>
                <a:gd name="connsiteX6" fmla="*/ 43441 w 59745"/>
                <a:gd name="connsiteY6" fmla="*/ 126 h 164299"/>
                <a:gd name="connsiteX7" fmla="*/ 70327 w 59745"/>
                <a:gd name="connsiteY7" fmla="*/ 32986 h 164299"/>
                <a:gd name="connsiteX8" fmla="*/ 59871 w 59745"/>
                <a:gd name="connsiteY8" fmla="*/ 149489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64299">
                  <a:moveTo>
                    <a:pt x="59871" y="149489"/>
                  </a:moveTo>
                  <a:cubicBezTo>
                    <a:pt x="58378" y="165920"/>
                    <a:pt x="43441" y="177868"/>
                    <a:pt x="27012" y="176375"/>
                  </a:cubicBezTo>
                  <a:lnTo>
                    <a:pt x="27012" y="176375"/>
                  </a:lnTo>
                  <a:cubicBezTo>
                    <a:pt x="10581" y="174881"/>
                    <a:pt x="-1368" y="159945"/>
                    <a:pt x="126" y="143515"/>
                  </a:cubicBezTo>
                  <a:lnTo>
                    <a:pt x="10581" y="27012"/>
                  </a:lnTo>
                  <a:cubicBezTo>
                    <a:pt x="12075" y="10581"/>
                    <a:pt x="27012" y="-1368"/>
                    <a:pt x="43441" y="126"/>
                  </a:cubicBezTo>
                  <a:lnTo>
                    <a:pt x="43441" y="126"/>
                  </a:lnTo>
                  <a:cubicBezTo>
                    <a:pt x="59871" y="1620"/>
                    <a:pt x="71821" y="16556"/>
                    <a:pt x="70327" y="32986"/>
                  </a:cubicBezTo>
                  <a:lnTo>
                    <a:pt x="59871" y="149489"/>
                  </a:ln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7" name="任意多边形: 形状 10456"/>
            <p:cNvSpPr/>
            <p:nvPr/>
          </p:nvSpPr>
          <p:spPr>
            <a:xfrm>
              <a:off x="6226309" y="3109806"/>
              <a:ext cx="44809" cy="89618"/>
            </a:xfrm>
            <a:custGeom>
              <a:avLst/>
              <a:gdLst>
                <a:gd name="connsiteX0" fmla="*/ 1725 w 44809"/>
                <a:gd name="connsiteY0" fmla="*/ 47796 h 89618"/>
                <a:gd name="connsiteX1" fmla="*/ 4712 w 44809"/>
                <a:gd name="connsiteY1" fmla="*/ 59745 h 89618"/>
                <a:gd name="connsiteX2" fmla="*/ 10686 w 44809"/>
                <a:gd name="connsiteY2" fmla="*/ 65720 h 89618"/>
                <a:gd name="connsiteX3" fmla="*/ 27117 w 44809"/>
                <a:gd name="connsiteY3" fmla="*/ 82150 h 89618"/>
                <a:gd name="connsiteX4" fmla="*/ 31597 w 44809"/>
                <a:gd name="connsiteY4" fmla="*/ 86631 h 89618"/>
                <a:gd name="connsiteX5" fmla="*/ 46534 w 44809"/>
                <a:gd name="connsiteY5" fmla="*/ 91112 h 89618"/>
                <a:gd name="connsiteX6" fmla="*/ 51015 w 44809"/>
                <a:gd name="connsiteY6" fmla="*/ 89618 h 89618"/>
                <a:gd name="connsiteX7" fmla="*/ 52508 w 44809"/>
                <a:gd name="connsiteY7" fmla="*/ 88125 h 89618"/>
                <a:gd name="connsiteX8" fmla="*/ 48027 w 44809"/>
                <a:gd name="connsiteY8" fmla="*/ 77669 h 89618"/>
                <a:gd name="connsiteX9" fmla="*/ 42053 w 44809"/>
                <a:gd name="connsiteY9" fmla="*/ 56758 h 89618"/>
                <a:gd name="connsiteX10" fmla="*/ 40559 w 44809"/>
                <a:gd name="connsiteY10" fmla="*/ 35847 h 89618"/>
                <a:gd name="connsiteX11" fmla="*/ 43546 w 44809"/>
                <a:gd name="connsiteY11" fmla="*/ 50784 h 89618"/>
                <a:gd name="connsiteX12" fmla="*/ 55496 w 44809"/>
                <a:gd name="connsiteY12" fmla="*/ 58252 h 89618"/>
                <a:gd name="connsiteX13" fmla="*/ 56989 w 44809"/>
                <a:gd name="connsiteY13" fmla="*/ 58252 h 89618"/>
                <a:gd name="connsiteX14" fmla="*/ 56989 w 44809"/>
                <a:gd name="connsiteY14" fmla="*/ 56758 h 89618"/>
                <a:gd name="connsiteX15" fmla="*/ 56989 w 44809"/>
                <a:gd name="connsiteY15" fmla="*/ 47796 h 89618"/>
                <a:gd name="connsiteX16" fmla="*/ 54002 w 44809"/>
                <a:gd name="connsiteY16" fmla="*/ 41822 h 89618"/>
                <a:gd name="connsiteX17" fmla="*/ 52508 w 44809"/>
                <a:gd name="connsiteY17" fmla="*/ 34354 h 89618"/>
                <a:gd name="connsiteX18" fmla="*/ 36078 w 44809"/>
                <a:gd name="connsiteY18" fmla="*/ 4481 h 89618"/>
                <a:gd name="connsiteX19" fmla="*/ 30104 w 44809"/>
                <a:gd name="connsiteY19" fmla="*/ 1494 h 89618"/>
                <a:gd name="connsiteX20" fmla="*/ 15167 w 44809"/>
                <a:gd name="connsiteY20" fmla="*/ 0 h 89618"/>
                <a:gd name="connsiteX21" fmla="*/ 12180 w 44809"/>
                <a:gd name="connsiteY21" fmla="*/ 1494 h 89618"/>
                <a:gd name="connsiteX22" fmla="*/ 10686 w 44809"/>
                <a:gd name="connsiteY22" fmla="*/ 2987 h 89618"/>
                <a:gd name="connsiteX23" fmla="*/ 1725 w 44809"/>
                <a:gd name="connsiteY23" fmla="*/ 23898 h 89618"/>
                <a:gd name="connsiteX24" fmla="*/ 1725 w 44809"/>
                <a:gd name="connsiteY24" fmla="*/ 47796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4809" h="89618">
                  <a:moveTo>
                    <a:pt x="1725" y="47796"/>
                  </a:moveTo>
                  <a:cubicBezTo>
                    <a:pt x="1725" y="52277"/>
                    <a:pt x="3218" y="55265"/>
                    <a:pt x="4712" y="59745"/>
                  </a:cubicBezTo>
                  <a:cubicBezTo>
                    <a:pt x="6206" y="62733"/>
                    <a:pt x="7699" y="64226"/>
                    <a:pt x="10686" y="65720"/>
                  </a:cubicBezTo>
                  <a:cubicBezTo>
                    <a:pt x="16661" y="71694"/>
                    <a:pt x="21142" y="76175"/>
                    <a:pt x="27117" y="82150"/>
                  </a:cubicBezTo>
                  <a:cubicBezTo>
                    <a:pt x="28610" y="83644"/>
                    <a:pt x="30104" y="85137"/>
                    <a:pt x="31597" y="86631"/>
                  </a:cubicBezTo>
                  <a:cubicBezTo>
                    <a:pt x="36078" y="89618"/>
                    <a:pt x="40559" y="91112"/>
                    <a:pt x="46534" y="91112"/>
                  </a:cubicBezTo>
                  <a:cubicBezTo>
                    <a:pt x="48027" y="91112"/>
                    <a:pt x="49521" y="91112"/>
                    <a:pt x="51015" y="89618"/>
                  </a:cubicBezTo>
                  <a:cubicBezTo>
                    <a:pt x="51015" y="89618"/>
                    <a:pt x="52508" y="88125"/>
                    <a:pt x="52508" y="88125"/>
                  </a:cubicBezTo>
                  <a:cubicBezTo>
                    <a:pt x="52508" y="83644"/>
                    <a:pt x="51015" y="80656"/>
                    <a:pt x="48027" y="77669"/>
                  </a:cubicBezTo>
                  <a:cubicBezTo>
                    <a:pt x="45040" y="71694"/>
                    <a:pt x="43546" y="64226"/>
                    <a:pt x="42053" y="56758"/>
                  </a:cubicBezTo>
                  <a:cubicBezTo>
                    <a:pt x="40559" y="49290"/>
                    <a:pt x="40559" y="41822"/>
                    <a:pt x="40559" y="35847"/>
                  </a:cubicBezTo>
                  <a:cubicBezTo>
                    <a:pt x="40559" y="40328"/>
                    <a:pt x="42053" y="46303"/>
                    <a:pt x="43546" y="50784"/>
                  </a:cubicBezTo>
                  <a:cubicBezTo>
                    <a:pt x="46534" y="55265"/>
                    <a:pt x="51015" y="58252"/>
                    <a:pt x="55496" y="58252"/>
                  </a:cubicBezTo>
                  <a:cubicBezTo>
                    <a:pt x="55496" y="58252"/>
                    <a:pt x="56989" y="58252"/>
                    <a:pt x="56989" y="58252"/>
                  </a:cubicBezTo>
                  <a:cubicBezTo>
                    <a:pt x="56989" y="58252"/>
                    <a:pt x="56989" y="58252"/>
                    <a:pt x="56989" y="56758"/>
                  </a:cubicBezTo>
                  <a:cubicBezTo>
                    <a:pt x="58483" y="53771"/>
                    <a:pt x="58483" y="50784"/>
                    <a:pt x="56989" y="47796"/>
                  </a:cubicBezTo>
                  <a:cubicBezTo>
                    <a:pt x="55496" y="46303"/>
                    <a:pt x="54002" y="44809"/>
                    <a:pt x="54002" y="41822"/>
                  </a:cubicBezTo>
                  <a:cubicBezTo>
                    <a:pt x="52508" y="38835"/>
                    <a:pt x="52508" y="35847"/>
                    <a:pt x="52508" y="34354"/>
                  </a:cubicBezTo>
                  <a:cubicBezTo>
                    <a:pt x="51015" y="22405"/>
                    <a:pt x="45040" y="11949"/>
                    <a:pt x="36078" y="4481"/>
                  </a:cubicBezTo>
                  <a:cubicBezTo>
                    <a:pt x="34585" y="2987"/>
                    <a:pt x="33091" y="1494"/>
                    <a:pt x="30104" y="1494"/>
                  </a:cubicBezTo>
                  <a:cubicBezTo>
                    <a:pt x="25623" y="0"/>
                    <a:pt x="19648" y="0"/>
                    <a:pt x="15167" y="0"/>
                  </a:cubicBezTo>
                  <a:cubicBezTo>
                    <a:pt x="13674" y="0"/>
                    <a:pt x="12180" y="0"/>
                    <a:pt x="12180" y="1494"/>
                  </a:cubicBezTo>
                  <a:cubicBezTo>
                    <a:pt x="10686" y="1494"/>
                    <a:pt x="10686" y="2987"/>
                    <a:pt x="10686" y="2987"/>
                  </a:cubicBezTo>
                  <a:cubicBezTo>
                    <a:pt x="6206" y="8962"/>
                    <a:pt x="3218" y="16430"/>
                    <a:pt x="1725" y="23898"/>
                  </a:cubicBezTo>
                  <a:cubicBezTo>
                    <a:pt x="-1263" y="32860"/>
                    <a:pt x="231" y="40328"/>
                    <a:pt x="1725" y="47796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8" name="任意多边形: 形状 10457"/>
            <p:cNvSpPr/>
            <p:nvPr/>
          </p:nvSpPr>
          <p:spPr>
            <a:xfrm>
              <a:off x="6188691" y="2959934"/>
              <a:ext cx="59745" cy="164300"/>
            </a:xfrm>
            <a:custGeom>
              <a:avLst/>
              <a:gdLst>
                <a:gd name="connsiteX0" fmla="*/ 70709 w 59745"/>
                <a:gd name="connsiteY0" fmla="*/ 134936 h 164299"/>
                <a:gd name="connsiteX1" fmla="*/ 72203 w 59745"/>
                <a:gd name="connsiteY1" fmla="*/ 157340 h 164299"/>
                <a:gd name="connsiteX2" fmla="*/ 37849 w 59745"/>
                <a:gd name="connsiteY2" fmla="*/ 161821 h 164299"/>
                <a:gd name="connsiteX3" fmla="*/ 31875 w 59745"/>
                <a:gd name="connsiteY3" fmla="*/ 142404 h 164299"/>
                <a:gd name="connsiteX4" fmla="*/ 509 w 59745"/>
                <a:gd name="connsiteY4" fmla="*/ 36356 h 164299"/>
                <a:gd name="connsiteX5" fmla="*/ 24407 w 59745"/>
                <a:gd name="connsiteY5" fmla="*/ 509 h 164299"/>
                <a:gd name="connsiteX6" fmla="*/ 24407 w 59745"/>
                <a:gd name="connsiteY6" fmla="*/ 509 h 164299"/>
                <a:gd name="connsiteX7" fmla="*/ 60254 w 59745"/>
                <a:gd name="connsiteY7" fmla="*/ 24407 h 164299"/>
                <a:gd name="connsiteX8" fmla="*/ 70709 w 59745"/>
                <a:gd name="connsiteY8" fmla="*/ 134936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64299">
                  <a:moveTo>
                    <a:pt x="70709" y="134936"/>
                  </a:moveTo>
                  <a:cubicBezTo>
                    <a:pt x="73697" y="145391"/>
                    <a:pt x="73697" y="152859"/>
                    <a:pt x="72203" y="157340"/>
                  </a:cubicBezTo>
                  <a:cubicBezTo>
                    <a:pt x="70709" y="163315"/>
                    <a:pt x="40837" y="167796"/>
                    <a:pt x="37849" y="161821"/>
                  </a:cubicBezTo>
                  <a:cubicBezTo>
                    <a:pt x="34862" y="157340"/>
                    <a:pt x="33369" y="149872"/>
                    <a:pt x="31875" y="142404"/>
                  </a:cubicBezTo>
                  <a:lnTo>
                    <a:pt x="509" y="36356"/>
                  </a:lnTo>
                  <a:cubicBezTo>
                    <a:pt x="-2479" y="19926"/>
                    <a:pt x="7977" y="3496"/>
                    <a:pt x="24407" y="509"/>
                  </a:cubicBezTo>
                  <a:lnTo>
                    <a:pt x="24407" y="509"/>
                  </a:lnTo>
                  <a:cubicBezTo>
                    <a:pt x="40837" y="-2479"/>
                    <a:pt x="57267" y="7977"/>
                    <a:pt x="60254" y="24407"/>
                  </a:cubicBezTo>
                  <a:lnTo>
                    <a:pt x="70709" y="134936"/>
                  </a:ln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9" name="任意多边形: 形状 10458"/>
            <p:cNvSpPr/>
            <p:nvPr/>
          </p:nvSpPr>
          <p:spPr>
            <a:xfrm>
              <a:off x="6316158" y="2817053"/>
              <a:ext cx="14936" cy="14936"/>
            </a:xfrm>
            <a:custGeom>
              <a:avLst/>
              <a:gdLst>
                <a:gd name="connsiteX0" fmla="*/ 17924 w 14936"/>
                <a:gd name="connsiteY0" fmla="*/ 22405 h 14936"/>
                <a:gd name="connsiteX1" fmla="*/ 7468 w 14936"/>
                <a:gd name="connsiteY1" fmla="*/ 28379 h 14936"/>
                <a:gd name="connsiteX2" fmla="*/ 0 w 14936"/>
                <a:gd name="connsiteY2" fmla="*/ 5974 h 14936"/>
                <a:gd name="connsiteX3" fmla="*/ 17924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7924" y="22405"/>
                  </a:moveTo>
                  <a:lnTo>
                    <a:pt x="7468" y="28379"/>
                  </a:lnTo>
                  <a:lnTo>
                    <a:pt x="0" y="5974"/>
                  </a:lnTo>
                  <a:lnTo>
                    <a:pt x="17924" y="0"/>
                  </a:lnTo>
                  <a:close/>
                </a:path>
              </a:pathLst>
            </a:custGeom>
            <a:solidFill>
              <a:srgbClr val="242423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0" name="任意多边形: 形状 10459"/>
            <p:cNvSpPr/>
            <p:nvPr/>
          </p:nvSpPr>
          <p:spPr>
            <a:xfrm>
              <a:off x="6323626" y="2839458"/>
              <a:ext cx="14936" cy="134427"/>
            </a:xfrm>
            <a:custGeom>
              <a:avLst/>
              <a:gdLst>
                <a:gd name="connsiteX0" fmla="*/ 1494 w 14936"/>
                <a:gd name="connsiteY0" fmla="*/ 123972 h 134427"/>
                <a:gd name="connsiteX1" fmla="*/ 0 w 14936"/>
                <a:gd name="connsiteY1" fmla="*/ 5974 h 134427"/>
                <a:gd name="connsiteX2" fmla="*/ 10455 w 14936"/>
                <a:gd name="connsiteY2" fmla="*/ 0 h 134427"/>
                <a:gd name="connsiteX3" fmla="*/ 25392 w 14936"/>
                <a:gd name="connsiteY3" fmla="*/ 112023 h 134427"/>
                <a:gd name="connsiteX4" fmla="*/ 16430 w 14936"/>
                <a:gd name="connsiteY4" fmla="*/ 134427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34427">
                  <a:moveTo>
                    <a:pt x="1494" y="123972"/>
                  </a:moveTo>
                  <a:lnTo>
                    <a:pt x="0" y="5974"/>
                  </a:lnTo>
                  <a:lnTo>
                    <a:pt x="10455" y="0"/>
                  </a:lnTo>
                  <a:lnTo>
                    <a:pt x="25392" y="112023"/>
                  </a:lnTo>
                  <a:lnTo>
                    <a:pt x="16430" y="134427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1" name="任意多边形: 形状 10460"/>
            <p:cNvSpPr/>
            <p:nvPr/>
          </p:nvSpPr>
          <p:spPr>
            <a:xfrm>
              <a:off x="6259774" y="2778219"/>
              <a:ext cx="74682" cy="74682"/>
            </a:xfrm>
            <a:custGeom>
              <a:avLst/>
              <a:gdLst>
                <a:gd name="connsiteX0" fmla="*/ 14563 w 74681"/>
                <a:gd name="connsiteY0" fmla="*/ 4481 h 74681"/>
                <a:gd name="connsiteX1" fmla="*/ 1120 w 74681"/>
                <a:gd name="connsiteY1" fmla="*/ 22405 h 74681"/>
                <a:gd name="connsiteX2" fmla="*/ 1120 w 74681"/>
                <a:gd name="connsiteY2" fmla="*/ 31366 h 74681"/>
                <a:gd name="connsiteX3" fmla="*/ 16057 w 74681"/>
                <a:gd name="connsiteY3" fmla="*/ 52277 h 74681"/>
                <a:gd name="connsiteX4" fmla="*/ 50410 w 74681"/>
                <a:gd name="connsiteY4" fmla="*/ 77669 h 74681"/>
                <a:gd name="connsiteX5" fmla="*/ 66840 w 74681"/>
                <a:gd name="connsiteY5" fmla="*/ 43316 h 74681"/>
                <a:gd name="connsiteX6" fmla="*/ 86257 w 74681"/>
                <a:gd name="connsiteY6" fmla="*/ 61239 h 74681"/>
                <a:gd name="connsiteX7" fmla="*/ 86257 w 74681"/>
                <a:gd name="connsiteY7" fmla="*/ 31366 h 74681"/>
                <a:gd name="connsiteX8" fmla="*/ 71321 w 74681"/>
                <a:gd name="connsiteY8" fmla="*/ 5975 h 74681"/>
                <a:gd name="connsiteX9" fmla="*/ 45929 w 74681"/>
                <a:gd name="connsiteY9" fmla="*/ 0 h 74681"/>
                <a:gd name="connsiteX10" fmla="*/ 20538 w 74681"/>
                <a:gd name="connsiteY10" fmla="*/ 5975 h 74681"/>
                <a:gd name="connsiteX11" fmla="*/ 14563 w 74681"/>
                <a:gd name="connsiteY11" fmla="*/ 448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74681">
                  <a:moveTo>
                    <a:pt x="14563" y="4481"/>
                  </a:moveTo>
                  <a:cubicBezTo>
                    <a:pt x="11576" y="10455"/>
                    <a:pt x="4108" y="17924"/>
                    <a:pt x="1120" y="22405"/>
                  </a:cubicBezTo>
                  <a:cubicBezTo>
                    <a:pt x="-373" y="25392"/>
                    <a:pt x="-373" y="28379"/>
                    <a:pt x="1120" y="31366"/>
                  </a:cubicBezTo>
                  <a:cubicBezTo>
                    <a:pt x="4108" y="40328"/>
                    <a:pt x="8588" y="46303"/>
                    <a:pt x="16057" y="52277"/>
                  </a:cubicBezTo>
                  <a:cubicBezTo>
                    <a:pt x="26512" y="61239"/>
                    <a:pt x="38461" y="70201"/>
                    <a:pt x="50410" y="77669"/>
                  </a:cubicBezTo>
                  <a:cubicBezTo>
                    <a:pt x="56385" y="67214"/>
                    <a:pt x="62359" y="55264"/>
                    <a:pt x="66840" y="43316"/>
                  </a:cubicBezTo>
                  <a:cubicBezTo>
                    <a:pt x="72815" y="49290"/>
                    <a:pt x="78789" y="55264"/>
                    <a:pt x="86257" y="61239"/>
                  </a:cubicBezTo>
                  <a:cubicBezTo>
                    <a:pt x="87751" y="50784"/>
                    <a:pt x="87751" y="41822"/>
                    <a:pt x="86257" y="31366"/>
                  </a:cubicBezTo>
                  <a:cubicBezTo>
                    <a:pt x="84764" y="20911"/>
                    <a:pt x="78789" y="11949"/>
                    <a:pt x="71321" y="5975"/>
                  </a:cubicBezTo>
                  <a:cubicBezTo>
                    <a:pt x="63853" y="1494"/>
                    <a:pt x="54891" y="0"/>
                    <a:pt x="45929" y="0"/>
                  </a:cubicBezTo>
                  <a:cubicBezTo>
                    <a:pt x="36967" y="0"/>
                    <a:pt x="29499" y="2987"/>
                    <a:pt x="20538" y="5975"/>
                  </a:cubicBezTo>
                  <a:cubicBezTo>
                    <a:pt x="16057" y="5975"/>
                    <a:pt x="16057" y="2987"/>
                    <a:pt x="14563" y="4481"/>
                  </a:cubicBezTo>
                  <a:close/>
                </a:path>
              </a:pathLst>
            </a:custGeom>
            <a:solidFill>
              <a:srgbClr val="167299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2" name="任意多边形: 形状 10461"/>
            <p:cNvSpPr/>
            <p:nvPr/>
          </p:nvSpPr>
          <p:spPr>
            <a:xfrm>
              <a:off x="6271349" y="2782140"/>
              <a:ext cx="59745" cy="29873"/>
            </a:xfrm>
            <a:custGeom>
              <a:avLst/>
              <a:gdLst>
                <a:gd name="connsiteX0" fmla="*/ 61239 w 59745"/>
                <a:gd name="connsiteY0" fmla="*/ 22965 h 29872"/>
                <a:gd name="connsiteX1" fmla="*/ 53771 w 59745"/>
                <a:gd name="connsiteY1" fmla="*/ 30433 h 29872"/>
                <a:gd name="connsiteX2" fmla="*/ 8962 w 59745"/>
                <a:gd name="connsiteY2" fmla="*/ 30433 h 29872"/>
                <a:gd name="connsiteX3" fmla="*/ 8962 w 59745"/>
                <a:gd name="connsiteY3" fmla="*/ 5041 h 29872"/>
                <a:gd name="connsiteX4" fmla="*/ 17924 w 59745"/>
                <a:gd name="connsiteY4" fmla="*/ 2054 h 29872"/>
                <a:gd name="connsiteX5" fmla="*/ 23898 w 59745"/>
                <a:gd name="connsiteY5" fmla="*/ 560 h 29872"/>
                <a:gd name="connsiteX6" fmla="*/ 53771 w 59745"/>
                <a:gd name="connsiteY6" fmla="*/ 5041 h 29872"/>
                <a:gd name="connsiteX7" fmla="*/ 62733 w 59745"/>
                <a:gd name="connsiteY7" fmla="*/ 14003 h 29872"/>
                <a:gd name="connsiteX8" fmla="*/ 61239 w 59745"/>
                <a:gd name="connsiteY8" fmla="*/ 22965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9872">
                  <a:moveTo>
                    <a:pt x="61239" y="22965"/>
                  </a:moveTo>
                  <a:cubicBezTo>
                    <a:pt x="59745" y="25952"/>
                    <a:pt x="56758" y="28939"/>
                    <a:pt x="53771" y="30433"/>
                  </a:cubicBezTo>
                  <a:cubicBezTo>
                    <a:pt x="41822" y="37901"/>
                    <a:pt x="20911" y="37901"/>
                    <a:pt x="8962" y="30433"/>
                  </a:cubicBezTo>
                  <a:cubicBezTo>
                    <a:pt x="-2987" y="22965"/>
                    <a:pt x="-2987" y="12509"/>
                    <a:pt x="8962" y="5041"/>
                  </a:cubicBezTo>
                  <a:cubicBezTo>
                    <a:pt x="11949" y="3547"/>
                    <a:pt x="14936" y="2054"/>
                    <a:pt x="17924" y="2054"/>
                  </a:cubicBezTo>
                  <a:cubicBezTo>
                    <a:pt x="19417" y="2054"/>
                    <a:pt x="20911" y="560"/>
                    <a:pt x="23898" y="560"/>
                  </a:cubicBezTo>
                  <a:cubicBezTo>
                    <a:pt x="34354" y="-934"/>
                    <a:pt x="44809" y="560"/>
                    <a:pt x="53771" y="5041"/>
                  </a:cubicBezTo>
                  <a:cubicBezTo>
                    <a:pt x="58252" y="8028"/>
                    <a:pt x="61239" y="11016"/>
                    <a:pt x="62733" y="14003"/>
                  </a:cubicBezTo>
                  <a:cubicBezTo>
                    <a:pt x="62733" y="15496"/>
                    <a:pt x="62733" y="18484"/>
                    <a:pt x="61239" y="22965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3" name="任意多边形: 形状 10462"/>
            <p:cNvSpPr/>
            <p:nvPr/>
          </p:nvSpPr>
          <p:spPr>
            <a:xfrm>
              <a:off x="6271349" y="2718474"/>
              <a:ext cx="59745" cy="74682"/>
            </a:xfrm>
            <a:custGeom>
              <a:avLst/>
              <a:gdLst>
                <a:gd name="connsiteX0" fmla="*/ 0 w 59745"/>
                <a:gd name="connsiteY0" fmla="*/ 0 h 74681"/>
                <a:gd name="connsiteX1" fmla="*/ 62733 w 59745"/>
                <a:gd name="connsiteY1" fmla="*/ 0 h 74681"/>
                <a:gd name="connsiteX2" fmla="*/ 62733 w 59745"/>
                <a:gd name="connsiteY2" fmla="*/ 80656 h 74681"/>
                <a:gd name="connsiteX3" fmla="*/ 0 w 59745"/>
                <a:gd name="connsiteY3" fmla="*/ 80656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74681">
                  <a:moveTo>
                    <a:pt x="0" y="0"/>
                  </a:moveTo>
                  <a:lnTo>
                    <a:pt x="62733" y="0"/>
                  </a:lnTo>
                  <a:lnTo>
                    <a:pt x="62733" y="80656"/>
                  </a:lnTo>
                  <a:lnTo>
                    <a:pt x="0" y="80656"/>
                  </a:ln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4" name="任意多边形: 形状 10463"/>
            <p:cNvSpPr/>
            <p:nvPr/>
          </p:nvSpPr>
          <p:spPr>
            <a:xfrm>
              <a:off x="6281186" y="2661335"/>
              <a:ext cx="74682" cy="119491"/>
            </a:xfrm>
            <a:custGeom>
              <a:avLst/>
              <a:gdLst>
                <a:gd name="connsiteX0" fmla="*/ 619 w 74681"/>
                <a:gd name="connsiteY0" fmla="*/ 61620 h 119490"/>
                <a:gd name="connsiteX1" fmla="*/ 3606 w 74681"/>
                <a:gd name="connsiteY1" fmla="*/ 88505 h 119490"/>
                <a:gd name="connsiteX2" fmla="*/ 15555 w 74681"/>
                <a:gd name="connsiteY2" fmla="*/ 112403 h 119490"/>
                <a:gd name="connsiteX3" fmla="*/ 51402 w 74681"/>
                <a:gd name="connsiteY3" fmla="*/ 124352 h 119490"/>
                <a:gd name="connsiteX4" fmla="*/ 60364 w 74681"/>
                <a:gd name="connsiteY4" fmla="*/ 121365 h 119490"/>
                <a:gd name="connsiteX5" fmla="*/ 69326 w 74681"/>
                <a:gd name="connsiteY5" fmla="*/ 106429 h 119490"/>
                <a:gd name="connsiteX6" fmla="*/ 75300 w 74681"/>
                <a:gd name="connsiteY6" fmla="*/ 30253 h 119490"/>
                <a:gd name="connsiteX7" fmla="*/ 73807 w 74681"/>
                <a:gd name="connsiteY7" fmla="*/ 19798 h 119490"/>
                <a:gd name="connsiteX8" fmla="*/ 48415 w 74681"/>
                <a:gd name="connsiteY8" fmla="*/ 381 h 119490"/>
                <a:gd name="connsiteX9" fmla="*/ 15555 w 74681"/>
                <a:gd name="connsiteY9" fmla="*/ 7849 h 119490"/>
                <a:gd name="connsiteX10" fmla="*/ 8087 w 74681"/>
                <a:gd name="connsiteY10" fmla="*/ 12330 h 119490"/>
                <a:gd name="connsiteX11" fmla="*/ 2112 w 74681"/>
                <a:gd name="connsiteY11" fmla="*/ 19798 h 119490"/>
                <a:gd name="connsiteX12" fmla="*/ 619 w 74681"/>
                <a:gd name="connsiteY12" fmla="*/ 61620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619" y="61620"/>
                  </a:moveTo>
                  <a:cubicBezTo>
                    <a:pt x="619" y="70582"/>
                    <a:pt x="2112" y="79543"/>
                    <a:pt x="3606" y="88505"/>
                  </a:cubicBezTo>
                  <a:cubicBezTo>
                    <a:pt x="5100" y="97467"/>
                    <a:pt x="9581" y="106429"/>
                    <a:pt x="15555" y="112403"/>
                  </a:cubicBezTo>
                  <a:cubicBezTo>
                    <a:pt x="24517" y="122859"/>
                    <a:pt x="39453" y="127339"/>
                    <a:pt x="51402" y="124352"/>
                  </a:cubicBezTo>
                  <a:cubicBezTo>
                    <a:pt x="54390" y="124352"/>
                    <a:pt x="57377" y="122859"/>
                    <a:pt x="60364" y="121365"/>
                  </a:cubicBezTo>
                  <a:cubicBezTo>
                    <a:pt x="64845" y="118378"/>
                    <a:pt x="67832" y="112403"/>
                    <a:pt x="69326" y="106429"/>
                  </a:cubicBezTo>
                  <a:cubicBezTo>
                    <a:pt x="76794" y="82530"/>
                    <a:pt x="76794" y="55645"/>
                    <a:pt x="75300" y="30253"/>
                  </a:cubicBezTo>
                  <a:cubicBezTo>
                    <a:pt x="75300" y="25773"/>
                    <a:pt x="75300" y="22785"/>
                    <a:pt x="73807" y="19798"/>
                  </a:cubicBezTo>
                  <a:cubicBezTo>
                    <a:pt x="70819" y="9342"/>
                    <a:pt x="58870" y="1874"/>
                    <a:pt x="48415" y="381"/>
                  </a:cubicBezTo>
                  <a:cubicBezTo>
                    <a:pt x="37959" y="-1113"/>
                    <a:pt x="26010" y="1874"/>
                    <a:pt x="15555" y="7849"/>
                  </a:cubicBezTo>
                  <a:cubicBezTo>
                    <a:pt x="12568" y="9342"/>
                    <a:pt x="9581" y="10836"/>
                    <a:pt x="8087" y="12330"/>
                  </a:cubicBezTo>
                  <a:cubicBezTo>
                    <a:pt x="6593" y="13823"/>
                    <a:pt x="5100" y="16811"/>
                    <a:pt x="2112" y="19798"/>
                  </a:cubicBezTo>
                  <a:cubicBezTo>
                    <a:pt x="619" y="19798"/>
                    <a:pt x="-875" y="48177"/>
                    <a:pt x="619" y="6162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5" name="任意多边形: 形状 10464"/>
            <p:cNvSpPr/>
            <p:nvPr/>
          </p:nvSpPr>
          <p:spPr>
            <a:xfrm>
              <a:off x="6281186" y="2670297"/>
              <a:ext cx="74682" cy="119491"/>
            </a:xfrm>
            <a:custGeom>
              <a:avLst/>
              <a:gdLst>
                <a:gd name="connsiteX0" fmla="*/ 619 w 74681"/>
                <a:gd name="connsiteY0" fmla="*/ 61620 h 119490"/>
                <a:gd name="connsiteX1" fmla="*/ 3606 w 74681"/>
                <a:gd name="connsiteY1" fmla="*/ 88505 h 119490"/>
                <a:gd name="connsiteX2" fmla="*/ 15555 w 74681"/>
                <a:gd name="connsiteY2" fmla="*/ 112403 h 119490"/>
                <a:gd name="connsiteX3" fmla="*/ 51402 w 74681"/>
                <a:gd name="connsiteY3" fmla="*/ 124352 h 119490"/>
                <a:gd name="connsiteX4" fmla="*/ 60364 w 74681"/>
                <a:gd name="connsiteY4" fmla="*/ 121365 h 119490"/>
                <a:gd name="connsiteX5" fmla="*/ 69326 w 74681"/>
                <a:gd name="connsiteY5" fmla="*/ 106429 h 119490"/>
                <a:gd name="connsiteX6" fmla="*/ 75300 w 74681"/>
                <a:gd name="connsiteY6" fmla="*/ 30253 h 119490"/>
                <a:gd name="connsiteX7" fmla="*/ 73807 w 74681"/>
                <a:gd name="connsiteY7" fmla="*/ 19798 h 119490"/>
                <a:gd name="connsiteX8" fmla="*/ 48415 w 74681"/>
                <a:gd name="connsiteY8" fmla="*/ 381 h 119490"/>
                <a:gd name="connsiteX9" fmla="*/ 15555 w 74681"/>
                <a:gd name="connsiteY9" fmla="*/ 7849 h 119490"/>
                <a:gd name="connsiteX10" fmla="*/ 8087 w 74681"/>
                <a:gd name="connsiteY10" fmla="*/ 12330 h 119490"/>
                <a:gd name="connsiteX11" fmla="*/ 2112 w 74681"/>
                <a:gd name="connsiteY11" fmla="*/ 19798 h 119490"/>
                <a:gd name="connsiteX12" fmla="*/ 619 w 74681"/>
                <a:gd name="connsiteY12" fmla="*/ 61620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619" y="61620"/>
                  </a:moveTo>
                  <a:cubicBezTo>
                    <a:pt x="619" y="70581"/>
                    <a:pt x="2112" y="79543"/>
                    <a:pt x="3606" y="88505"/>
                  </a:cubicBezTo>
                  <a:cubicBezTo>
                    <a:pt x="5100" y="97467"/>
                    <a:pt x="9581" y="106429"/>
                    <a:pt x="15555" y="112403"/>
                  </a:cubicBezTo>
                  <a:cubicBezTo>
                    <a:pt x="24517" y="122859"/>
                    <a:pt x="39453" y="127340"/>
                    <a:pt x="51402" y="124352"/>
                  </a:cubicBezTo>
                  <a:cubicBezTo>
                    <a:pt x="54390" y="124352"/>
                    <a:pt x="57377" y="122859"/>
                    <a:pt x="60364" y="121365"/>
                  </a:cubicBezTo>
                  <a:cubicBezTo>
                    <a:pt x="64845" y="118378"/>
                    <a:pt x="67832" y="112403"/>
                    <a:pt x="69326" y="106429"/>
                  </a:cubicBezTo>
                  <a:cubicBezTo>
                    <a:pt x="76794" y="82531"/>
                    <a:pt x="76794" y="55645"/>
                    <a:pt x="75300" y="30253"/>
                  </a:cubicBezTo>
                  <a:cubicBezTo>
                    <a:pt x="75300" y="25772"/>
                    <a:pt x="75300" y="22785"/>
                    <a:pt x="73807" y="19798"/>
                  </a:cubicBezTo>
                  <a:cubicBezTo>
                    <a:pt x="70819" y="9343"/>
                    <a:pt x="58870" y="1874"/>
                    <a:pt x="48415" y="381"/>
                  </a:cubicBezTo>
                  <a:cubicBezTo>
                    <a:pt x="37959" y="-1113"/>
                    <a:pt x="26010" y="1874"/>
                    <a:pt x="15555" y="7849"/>
                  </a:cubicBezTo>
                  <a:cubicBezTo>
                    <a:pt x="12568" y="9343"/>
                    <a:pt x="9581" y="10836"/>
                    <a:pt x="8087" y="12330"/>
                  </a:cubicBezTo>
                  <a:cubicBezTo>
                    <a:pt x="6593" y="13823"/>
                    <a:pt x="5100" y="16811"/>
                    <a:pt x="2112" y="19798"/>
                  </a:cubicBezTo>
                  <a:cubicBezTo>
                    <a:pt x="619" y="21291"/>
                    <a:pt x="-875" y="48177"/>
                    <a:pt x="619" y="61620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6" name="任意多边形: 形状 10465"/>
            <p:cNvSpPr/>
            <p:nvPr/>
          </p:nvSpPr>
          <p:spPr>
            <a:xfrm>
              <a:off x="6281805" y="2725942"/>
              <a:ext cx="44809" cy="74682"/>
            </a:xfrm>
            <a:custGeom>
              <a:avLst/>
              <a:gdLst>
                <a:gd name="connsiteX0" fmla="*/ 50784 w 44809"/>
                <a:gd name="connsiteY0" fmla="*/ 79163 h 74681"/>
                <a:gd name="connsiteX1" fmla="*/ 14936 w 44809"/>
                <a:gd name="connsiteY1" fmla="*/ 67214 h 74681"/>
                <a:gd name="connsiteX2" fmla="*/ 7468 w 44809"/>
                <a:gd name="connsiteY2" fmla="*/ 56758 h 74681"/>
                <a:gd name="connsiteX3" fmla="*/ 2987 w 44809"/>
                <a:gd name="connsiteY3" fmla="*/ 43316 h 74681"/>
                <a:gd name="connsiteX4" fmla="*/ 0 w 44809"/>
                <a:gd name="connsiteY4" fmla="*/ 16430 h 74681"/>
                <a:gd name="connsiteX5" fmla="*/ 0 w 44809"/>
                <a:gd name="connsiteY5" fmla="*/ 0 h 74681"/>
                <a:gd name="connsiteX6" fmla="*/ 0 w 44809"/>
                <a:gd name="connsiteY6" fmla="*/ 5975 h 74681"/>
                <a:gd name="connsiteX7" fmla="*/ 2987 w 44809"/>
                <a:gd name="connsiteY7" fmla="*/ 32860 h 74681"/>
                <a:gd name="connsiteX8" fmla="*/ 13443 w 44809"/>
                <a:gd name="connsiteY8" fmla="*/ 55264 h 74681"/>
                <a:gd name="connsiteX9" fmla="*/ 14936 w 44809"/>
                <a:gd name="connsiteY9" fmla="*/ 56758 h 74681"/>
                <a:gd name="connsiteX10" fmla="*/ 50784 w 44809"/>
                <a:gd name="connsiteY10" fmla="*/ 68707 h 74681"/>
                <a:gd name="connsiteX11" fmla="*/ 50784 w 44809"/>
                <a:gd name="connsiteY11" fmla="*/ 68707 h 74681"/>
                <a:gd name="connsiteX12" fmla="*/ 50784 w 44809"/>
                <a:gd name="connsiteY12" fmla="*/ 79163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09" h="74681">
                  <a:moveTo>
                    <a:pt x="50784" y="79163"/>
                  </a:moveTo>
                  <a:cubicBezTo>
                    <a:pt x="37341" y="82150"/>
                    <a:pt x="23898" y="77669"/>
                    <a:pt x="14936" y="67214"/>
                  </a:cubicBezTo>
                  <a:cubicBezTo>
                    <a:pt x="11949" y="64226"/>
                    <a:pt x="10455" y="61239"/>
                    <a:pt x="7468" y="56758"/>
                  </a:cubicBezTo>
                  <a:cubicBezTo>
                    <a:pt x="4481" y="52277"/>
                    <a:pt x="2987" y="47796"/>
                    <a:pt x="2987" y="43316"/>
                  </a:cubicBezTo>
                  <a:cubicBezTo>
                    <a:pt x="1494" y="34354"/>
                    <a:pt x="0" y="25392"/>
                    <a:pt x="0" y="16430"/>
                  </a:cubicBezTo>
                  <a:cubicBezTo>
                    <a:pt x="0" y="11949"/>
                    <a:pt x="0" y="5975"/>
                    <a:pt x="0" y="0"/>
                  </a:cubicBezTo>
                  <a:cubicBezTo>
                    <a:pt x="0" y="2987"/>
                    <a:pt x="0" y="4481"/>
                    <a:pt x="0" y="5975"/>
                  </a:cubicBezTo>
                  <a:cubicBezTo>
                    <a:pt x="0" y="14936"/>
                    <a:pt x="1494" y="23898"/>
                    <a:pt x="2987" y="32860"/>
                  </a:cubicBezTo>
                  <a:cubicBezTo>
                    <a:pt x="4481" y="40328"/>
                    <a:pt x="7468" y="49290"/>
                    <a:pt x="13443" y="55264"/>
                  </a:cubicBezTo>
                  <a:cubicBezTo>
                    <a:pt x="13443" y="55264"/>
                    <a:pt x="14936" y="56758"/>
                    <a:pt x="14936" y="56758"/>
                  </a:cubicBezTo>
                  <a:cubicBezTo>
                    <a:pt x="23898" y="67214"/>
                    <a:pt x="38835" y="71694"/>
                    <a:pt x="50784" y="68707"/>
                  </a:cubicBezTo>
                  <a:cubicBezTo>
                    <a:pt x="50784" y="68707"/>
                    <a:pt x="50784" y="68707"/>
                    <a:pt x="50784" y="68707"/>
                  </a:cubicBezTo>
                  <a:cubicBezTo>
                    <a:pt x="52277" y="71694"/>
                    <a:pt x="52277" y="74682"/>
                    <a:pt x="50784" y="79163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7" name="任意多边形: 形状 10466"/>
            <p:cNvSpPr/>
            <p:nvPr/>
          </p:nvSpPr>
          <p:spPr>
            <a:xfrm>
              <a:off x="6249851" y="2651260"/>
              <a:ext cx="89618" cy="104554"/>
            </a:xfrm>
            <a:custGeom>
              <a:avLst/>
              <a:gdLst>
                <a:gd name="connsiteX0" fmla="*/ 34940 w 89618"/>
                <a:gd name="connsiteY0" fmla="*/ 77669 h 104554"/>
                <a:gd name="connsiteX1" fmla="*/ 25979 w 89618"/>
                <a:gd name="connsiteY1" fmla="*/ 73188 h 104554"/>
                <a:gd name="connsiteX2" fmla="*/ 5068 w 89618"/>
                <a:gd name="connsiteY2" fmla="*/ 100073 h 104554"/>
                <a:gd name="connsiteX3" fmla="*/ 2081 w 89618"/>
                <a:gd name="connsiteY3" fmla="*/ 77669 h 104554"/>
                <a:gd name="connsiteX4" fmla="*/ 3574 w 89618"/>
                <a:gd name="connsiteY4" fmla="*/ 32860 h 104554"/>
                <a:gd name="connsiteX5" fmla="*/ 25979 w 89618"/>
                <a:gd name="connsiteY5" fmla="*/ 7468 h 104554"/>
                <a:gd name="connsiteX6" fmla="*/ 60332 w 89618"/>
                <a:gd name="connsiteY6" fmla="*/ 0 h 104554"/>
                <a:gd name="connsiteX7" fmla="*/ 88711 w 89618"/>
                <a:gd name="connsiteY7" fmla="*/ 5975 h 104554"/>
                <a:gd name="connsiteX8" fmla="*/ 55851 w 89618"/>
                <a:gd name="connsiteY8" fmla="*/ 40328 h 104554"/>
                <a:gd name="connsiteX9" fmla="*/ 36434 w 89618"/>
                <a:gd name="connsiteY9" fmla="*/ 37341 h 104554"/>
                <a:gd name="connsiteX10" fmla="*/ 34940 w 89618"/>
                <a:gd name="connsiteY10" fmla="*/ 7766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618" h="104554">
                  <a:moveTo>
                    <a:pt x="34940" y="77669"/>
                  </a:moveTo>
                  <a:cubicBezTo>
                    <a:pt x="34940" y="77669"/>
                    <a:pt x="28966" y="74682"/>
                    <a:pt x="25979" y="73188"/>
                  </a:cubicBezTo>
                  <a:cubicBezTo>
                    <a:pt x="46890" y="147870"/>
                    <a:pt x="6561" y="106048"/>
                    <a:pt x="5068" y="100073"/>
                  </a:cubicBezTo>
                  <a:cubicBezTo>
                    <a:pt x="3574" y="92605"/>
                    <a:pt x="2081" y="85137"/>
                    <a:pt x="2081" y="77669"/>
                  </a:cubicBezTo>
                  <a:cubicBezTo>
                    <a:pt x="587" y="62733"/>
                    <a:pt x="-2400" y="46303"/>
                    <a:pt x="3574" y="32860"/>
                  </a:cubicBezTo>
                  <a:cubicBezTo>
                    <a:pt x="8055" y="22405"/>
                    <a:pt x="15523" y="13443"/>
                    <a:pt x="25979" y="7468"/>
                  </a:cubicBezTo>
                  <a:cubicBezTo>
                    <a:pt x="36434" y="1494"/>
                    <a:pt x="49877" y="0"/>
                    <a:pt x="60332" y="0"/>
                  </a:cubicBezTo>
                  <a:cubicBezTo>
                    <a:pt x="70788" y="0"/>
                    <a:pt x="79749" y="1494"/>
                    <a:pt x="88711" y="5975"/>
                  </a:cubicBezTo>
                  <a:cubicBezTo>
                    <a:pt x="120078" y="25392"/>
                    <a:pt x="102154" y="58252"/>
                    <a:pt x="55851" y="40328"/>
                  </a:cubicBezTo>
                  <a:cubicBezTo>
                    <a:pt x="52864" y="38835"/>
                    <a:pt x="45396" y="29873"/>
                    <a:pt x="36434" y="37341"/>
                  </a:cubicBezTo>
                  <a:cubicBezTo>
                    <a:pt x="28966" y="44809"/>
                    <a:pt x="36434" y="77669"/>
                    <a:pt x="34940" y="77669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8" name="任意多边形: 形状 10467"/>
            <p:cNvSpPr/>
            <p:nvPr/>
          </p:nvSpPr>
          <p:spPr>
            <a:xfrm>
              <a:off x="6271349" y="2716980"/>
              <a:ext cx="14936" cy="29873"/>
            </a:xfrm>
            <a:custGeom>
              <a:avLst/>
              <a:gdLst>
                <a:gd name="connsiteX0" fmla="*/ 5974 w 14936"/>
                <a:gd name="connsiteY0" fmla="*/ 0 h 29872"/>
                <a:gd name="connsiteX1" fmla="*/ 13443 w 14936"/>
                <a:gd name="connsiteY1" fmla="*/ 4481 h 29872"/>
                <a:gd name="connsiteX2" fmla="*/ 16430 w 14936"/>
                <a:gd name="connsiteY2" fmla="*/ 16430 h 29872"/>
                <a:gd name="connsiteX3" fmla="*/ 16430 w 14936"/>
                <a:gd name="connsiteY3" fmla="*/ 31366 h 29872"/>
                <a:gd name="connsiteX4" fmla="*/ 13443 w 14936"/>
                <a:gd name="connsiteY4" fmla="*/ 34353 h 29872"/>
                <a:gd name="connsiteX5" fmla="*/ 7468 w 14936"/>
                <a:gd name="connsiteY5" fmla="*/ 32860 h 29872"/>
                <a:gd name="connsiteX6" fmla="*/ 4481 w 14936"/>
                <a:gd name="connsiteY6" fmla="*/ 26885 h 29872"/>
                <a:gd name="connsiteX7" fmla="*/ 0 w 14936"/>
                <a:gd name="connsiteY7" fmla="*/ 10455 h 29872"/>
                <a:gd name="connsiteX8" fmla="*/ 0 w 14936"/>
                <a:gd name="connsiteY8" fmla="*/ 2987 h 29872"/>
                <a:gd name="connsiteX9" fmla="*/ 5974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5974" y="0"/>
                  </a:moveTo>
                  <a:cubicBezTo>
                    <a:pt x="8962" y="0"/>
                    <a:pt x="11949" y="2987"/>
                    <a:pt x="13443" y="4481"/>
                  </a:cubicBezTo>
                  <a:cubicBezTo>
                    <a:pt x="14936" y="7468"/>
                    <a:pt x="16430" y="11949"/>
                    <a:pt x="16430" y="16430"/>
                  </a:cubicBezTo>
                  <a:cubicBezTo>
                    <a:pt x="16430" y="20911"/>
                    <a:pt x="17924" y="26885"/>
                    <a:pt x="16430" y="31366"/>
                  </a:cubicBezTo>
                  <a:cubicBezTo>
                    <a:pt x="16430" y="32860"/>
                    <a:pt x="14936" y="34353"/>
                    <a:pt x="13443" y="34353"/>
                  </a:cubicBezTo>
                  <a:cubicBezTo>
                    <a:pt x="11949" y="35847"/>
                    <a:pt x="8962" y="34353"/>
                    <a:pt x="7468" y="32860"/>
                  </a:cubicBezTo>
                  <a:cubicBezTo>
                    <a:pt x="5974" y="31366"/>
                    <a:pt x="4481" y="29873"/>
                    <a:pt x="4481" y="26885"/>
                  </a:cubicBezTo>
                  <a:cubicBezTo>
                    <a:pt x="2987" y="20911"/>
                    <a:pt x="1494" y="14936"/>
                    <a:pt x="0" y="10455"/>
                  </a:cubicBezTo>
                  <a:cubicBezTo>
                    <a:pt x="0" y="7468"/>
                    <a:pt x="0" y="5974"/>
                    <a:pt x="0" y="2987"/>
                  </a:cubicBezTo>
                  <a:cubicBezTo>
                    <a:pt x="1494" y="2987"/>
                    <a:pt x="2987" y="1493"/>
                    <a:pt x="5974" y="0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9" name="任意多边形: 形状 10468"/>
            <p:cNvSpPr/>
            <p:nvPr/>
          </p:nvSpPr>
          <p:spPr>
            <a:xfrm>
              <a:off x="6353499" y="3082920"/>
              <a:ext cx="59745" cy="74682"/>
            </a:xfrm>
            <a:custGeom>
              <a:avLst/>
              <a:gdLst>
                <a:gd name="connsiteX0" fmla="*/ 65720 w 59745"/>
                <a:gd name="connsiteY0" fmla="*/ 79162 h 74681"/>
                <a:gd name="connsiteX1" fmla="*/ 0 w 59745"/>
                <a:gd name="connsiteY1" fmla="*/ 28379 h 74681"/>
                <a:gd name="connsiteX2" fmla="*/ 38835 w 59745"/>
                <a:gd name="connsiteY2" fmla="*/ 0 h 74681"/>
                <a:gd name="connsiteX3" fmla="*/ 38835 w 59745"/>
                <a:gd name="connsiteY3" fmla="*/ 43315 h 74681"/>
                <a:gd name="connsiteX4" fmla="*/ 65720 w 59745"/>
                <a:gd name="connsiteY4" fmla="*/ 79162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45" h="74681">
                  <a:moveTo>
                    <a:pt x="65720" y="79162"/>
                  </a:moveTo>
                  <a:cubicBezTo>
                    <a:pt x="46303" y="58252"/>
                    <a:pt x="23898" y="41822"/>
                    <a:pt x="0" y="28379"/>
                  </a:cubicBezTo>
                  <a:cubicBezTo>
                    <a:pt x="16430" y="26885"/>
                    <a:pt x="32860" y="16430"/>
                    <a:pt x="38835" y="0"/>
                  </a:cubicBezTo>
                  <a:cubicBezTo>
                    <a:pt x="31366" y="13443"/>
                    <a:pt x="32860" y="29873"/>
                    <a:pt x="38835" y="43315"/>
                  </a:cubicBezTo>
                  <a:cubicBezTo>
                    <a:pt x="46303" y="56758"/>
                    <a:pt x="56758" y="67214"/>
                    <a:pt x="65720" y="79162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0" name="任意多边形: 形状 10469"/>
            <p:cNvSpPr/>
            <p:nvPr/>
          </p:nvSpPr>
          <p:spPr>
            <a:xfrm>
              <a:off x="4807768" y="3713234"/>
              <a:ext cx="209109" cy="164300"/>
            </a:xfrm>
            <a:custGeom>
              <a:avLst/>
              <a:gdLst>
                <a:gd name="connsiteX0" fmla="*/ 207435 w 209108"/>
                <a:gd name="connsiteY0" fmla="*/ 125465 h 164299"/>
                <a:gd name="connsiteX1" fmla="*/ 207435 w 209108"/>
                <a:gd name="connsiteY1" fmla="*/ 125465 h 164299"/>
                <a:gd name="connsiteX2" fmla="*/ 207435 w 209108"/>
                <a:gd name="connsiteY2" fmla="*/ 125465 h 164299"/>
                <a:gd name="connsiteX3" fmla="*/ 207435 w 209108"/>
                <a:gd name="connsiteY3" fmla="*/ 125465 h 164299"/>
                <a:gd name="connsiteX4" fmla="*/ 195486 w 209108"/>
                <a:gd name="connsiteY4" fmla="*/ 113516 h 164299"/>
                <a:gd name="connsiteX5" fmla="*/ 62553 w 209108"/>
                <a:gd name="connsiteY5" fmla="*/ 0 h 164299"/>
                <a:gd name="connsiteX6" fmla="*/ 13263 w 209108"/>
                <a:gd name="connsiteY6" fmla="*/ 11949 h 164299"/>
                <a:gd name="connsiteX7" fmla="*/ 10275 w 209108"/>
                <a:gd name="connsiteY7" fmla="*/ 98580 h 164299"/>
                <a:gd name="connsiteX8" fmla="*/ 170094 w 209108"/>
                <a:gd name="connsiteY8" fmla="*/ 170274 h 164299"/>
                <a:gd name="connsiteX9" fmla="*/ 170094 w 209108"/>
                <a:gd name="connsiteY9" fmla="*/ 170274 h 164299"/>
                <a:gd name="connsiteX10" fmla="*/ 208929 w 209108"/>
                <a:gd name="connsiteY10" fmla="*/ 162806 h 164299"/>
                <a:gd name="connsiteX11" fmla="*/ 208929 w 209108"/>
                <a:gd name="connsiteY11" fmla="*/ 162806 h 164299"/>
                <a:gd name="connsiteX12" fmla="*/ 207435 w 209108"/>
                <a:gd name="connsiteY12" fmla="*/ 125465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108" h="164299">
                  <a:moveTo>
                    <a:pt x="207435" y="125465"/>
                  </a:moveTo>
                  <a:cubicBezTo>
                    <a:pt x="207435" y="125465"/>
                    <a:pt x="207435" y="125465"/>
                    <a:pt x="207435" y="125465"/>
                  </a:cubicBezTo>
                  <a:lnTo>
                    <a:pt x="207435" y="125465"/>
                  </a:lnTo>
                  <a:cubicBezTo>
                    <a:pt x="207435" y="125465"/>
                    <a:pt x="207435" y="125465"/>
                    <a:pt x="207435" y="125465"/>
                  </a:cubicBezTo>
                  <a:lnTo>
                    <a:pt x="195486" y="113516"/>
                  </a:lnTo>
                  <a:lnTo>
                    <a:pt x="62553" y="0"/>
                  </a:lnTo>
                  <a:lnTo>
                    <a:pt x="13263" y="11949"/>
                  </a:lnTo>
                  <a:cubicBezTo>
                    <a:pt x="-4661" y="34354"/>
                    <a:pt x="-3167" y="85137"/>
                    <a:pt x="10275" y="98580"/>
                  </a:cubicBezTo>
                  <a:cubicBezTo>
                    <a:pt x="55084" y="143389"/>
                    <a:pt x="170094" y="170274"/>
                    <a:pt x="170094" y="170274"/>
                  </a:cubicBezTo>
                  <a:cubicBezTo>
                    <a:pt x="170094" y="170274"/>
                    <a:pt x="170094" y="170274"/>
                    <a:pt x="170094" y="170274"/>
                  </a:cubicBezTo>
                  <a:cubicBezTo>
                    <a:pt x="182043" y="177742"/>
                    <a:pt x="198473" y="174755"/>
                    <a:pt x="208929" y="162806"/>
                  </a:cubicBezTo>
                  <a:lnTo>
                    <a:pt x="208929" y="162806"/>
                  </a:lnTo>
                  <a:cubicBezTo>
                    <a:pt x="217891" y="152351"/>
                    <a:pt x="217891" y="135921"/>
                    <a:pt x="207435" y="125465"/>
                  </a:cubicBez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1" name="任意多边形: 形状 10470"/>
            <p:cNvSpPr/>
            <p:nvPr/>
          </p:nvSpPr>
          <p:spPr>
            <a:xfrm>
              <a:off x="4983837" y="4141907"/>
              <a:ext cx="14936" cy="14936"/>
            </a:xfrm>
            <a:custGeom>
              <a:avLst/>
              <a:gdLst>
                <a:gd name="connsiteX0" fmla="*/ 13443 w 0"/>
                <a:gd name="connsiteY0" fmla="*/ 0 h 14936"/>
                <a:gd name="connsiteX1" fmla="*/ 0 w 0"/>
                <a:gd name="connsiteY1" fmla="*/ 0 h 14936"/>
                <a:gd name="connsiteX2" fmla="*/ 0 w 0"/>
                <a:gd name="connsiteY2" fmla="*/ 17924 h 14936"/>
                <a:gd name="connsiteX3" fmla="*/ 13443 w 0"/>
                <a:gd name="connsiteY3" fmla="*/ 1045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936">
                  <a:moveTo>
                    <a:pt x="13443" y="0"/>
                  </a:moveTo>
                  <a:lnTo>
                    <a:pt x="0" y="0"/>
                  </a:lnTo>
                  <a:lnTo>
                    <a:pt x="0" y="17924"/>
                  </a:lnTo>
                  <a:lnTo>
                    <a:pt x="13443" y="10456"/>
                  </a:lnTo>
                  <a:close/>
                </a:path>
              </a:pathLst>
            </a:custGeom>
            <a:solidFill>
              <a:srgbClr val="94211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2" name="任意多边形: 形状 10471"/>
            <p:cNvSpPr/>
            <p:nvPr/>
          </p:nvSpPr>
          <p:spPr>
            <a:xfrm>
              <a:off x="4970861" y="4082027"/>
              <a:ext cx="59745" cy="74682"/>
            </a:xfrm>
            <a:custGeom>
              <a:avLst/>
              <a:gdLst>
                <a:gd name="connsiteX0" fmla="*/ 27912 w 59745"/>
                <a:gd name="connsiteY0" fmla="*/ 65855 h 74681"/>
                <a:gd name="connsiteX1" fmla="*/ 39861 w 59745"/>
                <a:gd name="connsiteY1" fmla="*/ 74816 h 74681"/>
                <a:gd name="connsiteX2" fmla="*/ 54798 w 59745"/>
                <a:gd name="connsiteY2" fmla="*/ 77804 h 74681"/>
                <a:gd name="connsiteX3" fmla="*/ 60772 w 59745"/>
                <a:gd name="connsiteY3" fmla="*/ 74816 h 74681"/>
                <a:gd name="connsiteX4" fmla="*/ 62266 w 59745"/>
                <a:gd name="connsiteY4" fmla="*/ 67348 h 74681"/>
                <a:gd name="connsiteX5" fmla="*/ 56291 w 59745"/>
                <a:gd name="connsiteY5" fmla="*/ 52412 h 74681"/>
                <a:gd name="connsiteX6" fmla="*/ 36874 w 59745"/>
                <a:gd name="connsiteY6" fmla="*/ 7603 h 74681"/>
                <a:gd name="connsiteX7" fmla="*/ 35380 w 59745"/>
                <a:gd name="connsiteY7" fmla="*/ 4615 h 74681"/>
                <a:gd name="connsiteX8" fmla="*/ 32393 w 59745"/>
                <a:gd name="connsiteY8" fmla="*/ 3122 h 74681"/>
                <a:gd name="connsiteX9" fmla="*/ 9989 w 59745"/>
                <a:gd name="connsiteY9" fmla="*/ 1628 h 74681"/>
                <a:gd name="connsiteX10" fmla="*/ 8495 w 59745"/>
                <a:gd name="connsiteY10" fmla="*/ 3122 h 74681"/>
                <a:gd name="connsiteX11" fmla="*/ 7001 w 59745"/>
                <a:gd name="connsiteY11" fmla="*/ 6109 h 74681"/>
                <a:gd name="connsiteX12" fmla="*/ 2520 w 59745"/>
                <a:gd name="connsiteY12" fmla="*/ 15071 h 74681"/>
                <a:gd name="connsiteX13" fmla="*/ 7001 w 59745"/>
                <a:gd name="connsiteY13" fmla="*/ 47931 h 74681"/>
                <a:gd name="connsiteX14" fmla="*/ 15963 w 59745"/>
                <a:gd name="connsiteY14" fmla="*/ 56893 h 74681"/>
                <a:gd name="connsiteX15" fmla="*/ 27912 w 59745"/>
                <a:gd name="connsiteY15" fmla="*/ 65855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745" h="74681">
                  <a:moveTo>
                    <a:pt x="27912" y="65855"/>
                  </a:moveTo>
                  <a:cubicBezTo>
                    <a:pt x="32393" y="68842"/>
                    <a:pt x="35380" y="73323"/>
                    <a:pt x="39861" y="74816"/>
                  </a:cubicBezTo>
                  <a:cubicBezTo>
                    <a:pt x="44342" y="77804"/>
                    <a:pt x="48823" y="79297"/>
                    <a:pt x="54798" y="77804"/>
                  </a:cubicBezTo>
                  <a:cubicBezTo>
                    <a:pt x="57785" y="77804"/>
                    <a:pt x="59279" y="76310"/>
                    <a:pt x="60772" y="74816"/>
                  </a:cubicBezTo>
                  <a:cubicBezTo>
                    <a:pt x="62266" y="73323"/>
                    <a:pt x="62266" y="70336"/>
                    <a:pt x="62266" y="67348"/>
                  </a:cubicBezTo>
                  <a:cubicBezTo>
                    <a:pt x="60772" y="61374"/>
                    <a:pt x="57785" y="56893"/>
                    <a:pt x="56291" y="52412"/>
                  </a:cubicBezTo>
                  <a:cubicBezTo>
                    <a:pt x="48823" y="38969"/>
                    <a:pt x="42849" y="24033"/>
                    <a:pt x="36874" y="7603"/>
                  </a:cubicBezTo>
                  <a:cubicBezTo>
                    <a:pt x="36874" y="6109"/>
                    <a:pt x="36874" y="4615"/>
                    <a:pt x="35380" y="4615"/>
                  </a:cubicBezTo>
                  <a:cubicBezTo>
                    <a:pt x="33887" y="3122"/>
                    <a:pt x="33887" y="3122"/>
                    <a:pt x="32393" y="3122"/>
                  </a:cubicBezTo>
                  <a:cubicBezTo>
                    <a:pt x="24925" y="135"/>
                    <a:pt x="17457" y="-1359"/>
                    <a:pt x="9989" y="1628"/>
                  </a:cubicBezTo>
                  <a:cubicBezTo>
                    <a:pt x="9989" y="1628"/>
                    <a:pt x="8495" y="1628"/>
                    <a:pt x="8495" y="3122"/>
                  </a:cubicBezTo>
                  <a:cubicBezTo>
                    <a:pt x="8495" y="3122"/>
                    <a:pt x="7001" y="4615"/>
                    <a:pt x="7001" y="6109"/>
                  </a:cubicBezTo>
                  <a:cubicBezTo>
                    <a:pt x="5508" y="9097"/>
                    <a:pt x="4014" y="12084"/>
                    <a:pt x="2520" y="15071"/>
                  </a:cubicBezTo>
                  <a:cubicBezTo>
                    <a:pt x="-1960" y="25527"/>
                    <a:pt x="-467" y="37476"/>
                    <a:pt x="7001" y="47931"/>
                  </a:cubicBezTo>
                  <a:cubicBezTo>
                    <a:pt x="9989" y="50918"/>
                    <a:pt x="12976" y="53906"/>
                    <a:pt x="15963" y="56893"/>
                  </a:cubicBezTo>
                  <a:cubicBezTo>
                    <a:pt x="20444" y="58386"/>
                    <a:pt x="24925" y="61374"/>
                    <a:pt x="27912" y="65855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3" name="任意多边形: 形状 10472"/>
            <p:cNvSpPr/>
            <p:nvPr/>
          </p:nvSpPr>
          <p:spPr>
            <a:xfrm>
              <a:off x="4962643" y="4086642"/>
              <a:ext cx="89618" cy="89618"/>
            </a:xfrm>
            <a:custGeom>
              <a:avLst/>
              <a:gdLst>
                <a:gd name="connsiteX0" fmla="*/ 7751 w 89618"/>
                <a:gd name="connsiteY0" fmla="*/ 62733 h 89618"/>
                <a:gd name="connsiteX1" fmla="*/ 21194 w 89618"/>
                <a:gd name="connsiteY1" fmla="*/ 73188 h 89618"/>
                <a:gd name="connsiteX2" fmla="*/ 19700 w 89618"/>
                <a:gd name="connsiteY2" fmla="*/ 55265 h 89618"/>
                <a:gd name="connsiteX3" fmla="*/ 37624 w 89618"/>
                <a:gd name="connsiteY3" fmla="*/ 82150 h 89618"/>
                <a:gd name="connsiteX4" fmla="*/ 80939 w 89618"/>
                <a:gd name="connsiteY4" fmla="*/ 101567 h 89618"/>
                <a:gd name="connsiteX5" fmla="*/ 92888 w 89618"/>
                <a:gd name="connsiteY5" fmla="*/ 98580 h 89618"/>
                <a:gd name="connsiteX6" fmla="*/ 94382 w 89618"/>
                <a:gd name="connsiteY6" fmla="*/ 97086 h 89618"/>
                <a:gd name="connsiteX7" fmla="*/ 92888 w 89618"/>
                <a:gd name="connsiteY7" fmla="*/ 94099 h 89618"/>
                <a:gd name="connsiteX8" fmla="*/ 55547 w 89618"/>
                <a:gd name="connsiteY8" fmla="*/ 35848 h 89618"/>
                <a:gd name="connsiteX9" fmla="*/ 61522 w 89618"/>
                <a:gd name="connsiteY9" fmla="*/ 55265 h 89618"/>
                <a:gd name="connsiteX10" fmla="*/ 60028 w 89618"/>
                <a:gd name="connsiteY10" fmla="*/ 62733 h 89618"/>
                <a:gd name="connsiteX11" fmla="*/ 54054 w 89618"/>
                <a:gd name="connsiteY11" fmla="*/ 64227 h 89618"/>
                <a:gd name="connsiteX12" fmla="*/ 40611 w 89618"/>
                <a:gd name="connsiteY12" fmla="*/ 55265 h 89618"/>
                <a:gd name="connsiteX13" fmla="*/ 30156 w 89618"/>
                <a:gd name="connsiteY13" fmla="*/ 46303 h 89618"/>
                <a:gd name="connsiteX14" fmla="*/ 21194 w 89618"/>
                <a:gd name="connsiteY14" fmla="*/ 38835 h 89618"/>
                <a:gd name="connsiteX15" fmla="*/ 12232 w 89618"/>
                <a:gd name="connsiteY15" fmla="*/ 0 h 89618"/>
                <a:gd name="connsiteX16" fmla="*/ 283 w 89618"/>
                <a:gd name="connsiteY16" fmla="*/ 32860 h 89618"/>
                <a:gd name="connsiteX17" fmla="*/ 3270 w 89618"/>
                <a:gd name="connsiteY17" fmla="*/ 46303 h 89618"/>
                <a:gd name="connsiteX18" fmla="*/ 7751 w 89618"/>
                <a:gd name="connsiteY18" fmla="*/ 62733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9618" h="89618">
                  <a:moveTo>
                    <a:pt x="7751" y="62733"/>
                  </a:moveTo>
                  <a:cubicBezTo>
                    <a:pt x="12232" y="65720"/>
                    <a:pt x="16713" y="68707"/>
                    <a:pt x="21194" y="73188"/>
                  </a:cubicBezTo>
                  <a:cubicBezTo>
                    <a:pt x="21194" y="67214"/>
                    <a:pt x="21194" y="61239"/>
                    <a:pt x="19700" y="55265"/>
                  </a:cubicBezTo>
                  <a:cubicBezTo>
                    <a:pt x="28662" y="62733"/>
                    <a:pt x="30156" y="73188"/>
                    <a:pt x="37624" y="82150"/>
                  </a:cubicBezTo>
                  <a:cubicBezTo>
                    <a:pt x="46586" y="95593"/>
                    <a:pt x="64509" y="101567"/>
                    <a:pt x="80939" y="101567"/>
                  </a:cubicBezTo>
                  <a:cubicBezTo>
                    <a:pt x="85420" y="101567"/>
                    <a:pt x="89901" y="101567"/>
                    <a:pt x="92888" y="98580"/>
                  </a:cubicBezTo>
                  <a:cubicBezTo>
                    <a:pt x="92888" y="98580"/>
                    <a:pt x="94382" y="97086"/>
                    <a:pt x="94382" y="97086"/>
                  </a:cubicBezTo>
                  <a:cubicBezTo>
                    <a:pt x="94382" y="95593"/>
                    <a:pt x="94382" y="95593"/>
                    <a:pt x="92888" y="94099"/>
                  </a:cubicBezTo>
                  <a:cubicBezTo>
                    <a:pt x="80939" y="74682"/>
                    <a:pt x="68990" y="53771"/>
                    <a:pt x="55547" y="35848"/>
                  </a:cubicBezTo>
                  <a:cubicBezTo>
                    <a:pt x="58535" y="41822"/>
                    <a:pt x="60028" y="47796"/>
                    <a:pt x="61522" y="55265"/>
                  </a:cubicBezTo>
                  <a:cubicBezTo>
                    <a:pt x="61522" y="58252"/>
                    <a:pt x="63016" y="61239"/>
                    <a:pt x="60028" y="62733"/>
                  </a:cubicBezTo>
                  <a:cubicBezTo>
                    <a:pt x="58535" y="64227"/>
                    <a:pt x="55547" y="64227"/>
                    <a:pt x="54054" y="64227"/>
                  </a:cubicBezTo>
                  <a:cubicBezTo>
                    <a:pt x="48079" y="62733"/>
                    <a:pt x="43598" y="59745"/>
                    <a:pt x="40611" y="55265"/>
                  </a:cubicBezTo>
                  <a:cubicBezTo>
                    <a:pt x="37624" y="52277"/>
                    <a:pt x="33143" y="49290"/>
                    <a:pt x="30156" y="46303"/>
                  </a:cubicBezTo>
                  <a:cubicBezTo>
                    <a:pt x="27168" y="43316"/>
                    <a:pt x="24181" y="41822"/>
                    <a:pt x="21194" y="38835"/>
                  </a:cubicBezTo>
                  <a:cubicBezTo>
                    <a:pt x="12232" y="28379"/>
                    <a:pt x="10738" y="13443"/>
                    <a:pt x="12232" y="0"/>
                  </a:cubicBezTo>
                  <a:cubicBezTo>
                    <a:pt x="3270" y="7468"/>
                    <a:pt x="-1211" y="20911"/>
                    <a:pt x="283" y="32860"/>
                  </a:cubicBezTo>
                  <a:cubicBezTo>
                    <a:pt x="1777" y="37341"/>
                    <a:pt x="3270" y="41822"/>
                    <a:pt x="3270" y="46303"/>
                  </a:cubicBezTo>
                  <a:cubicBezTo>
                    <a:pt x="9245" y="52277"/>
                    <a:pt x="9245" y="58252"/>
                    <a:pt x="7751" y="62733"/>
                  </a:cubicBezTo>
                  <a:close/>
                </a:path>
              </a:pathLst>
            </a:custGeom>
            <a:solidFill>
              <a:srgbClr val="E6332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4" name="任意多边形: 形状 10473"/>
            <p:cNvSpPr/>
            <p:nvPr/>
          </p:nvSpPr>
          <p:spPr>
            <a:xfrm>
              <a:off x="4955925" y="3829737"/>
              <a:ext cx="59745" cy="268854"/>
            </a:xfrm>
            <a:custGeom>
              <a:avLst/>
              <a:gdLst>
                <a:gd name="connsiteX0" fmla="*/ 51810 w 59745"/>
                <a:gd name="connsiteY0" fmla="*/ 262880 h 268854"/>
                <a:gd name="connsiteX1" fmla="*/ 21937 w 59745"/>
                <a:gd name="connsiteY1" fmla="*/ 256905 h 268854"/>
                <a:gd name="connsiteX2" fmla="*/ 8495 w 59745"/>
                <a:gd name="connsiteY2" fmla="*/ 29873 h 268854"/>
                <a:gd name="connsiteX3" fmla="*/ 38367 w 59745"/>
                <a:gd name="connsiteY3" fmla="*/ 0 h 268854"/>
                <a:gd name="connsiteX4" fmla="*/ 38367 w 59745"/>
                <a:gd name="connsiteY4" fmla="*/ 0 h 268854"/>
                <a:gd name="connsiteX5" fmla="*/ 68240 w 59745"/>
                <a:gd name="connsiteY5" fmla="*/ 29873 h 268854"/>
                <a:gd name="connsiteX6" fmla="*/ 51810 w 59745"/>
                <a:gd name="connsiteY6" fmla="*/ 262880 h 268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745" h="268854">
                  <a:moveTo>
                    <a:pt x="51810" y="262880"/>
                  </a:moveTo>
                  <a:cubicBezTo>
                    <a:pt x="45836" y="274829"/>
                    <a:pt x="23431" y="271841"/>
                    <a:pt x="21937" y="256905"/>
                  </a:cubicBezTo>
                  <a:cubicBezTo>
                    <a:pt x="7001" y="167287"/>
                    <a:pt x="-10923" y="74682"/>
                    <a:pt x="8495" y="29873"/>
                  </a:cubicBezTo>
                  <a:cubicBezTo>
                    <a:pt x="8495" y="13443"/>
                    <a:pt x="21937" y="0"/>
                    <a:pt x="38367" y="0"/>
                  </a:cubicBezTo>
                  <a:lnTo>
                    <a:pt x="38367" y="0"/>
                  </a:lnTo>
                  <a:cubicBezTo>
                    <a:pt x="54797" y="0"/>
                    <a:pt x="68240" y="13443"/>
                    <a:pt x="68240" y="29873"/>
                  </a:cubicBezTo>
                  <a:lnTo>
                    <a:pt x="51810" y="262880"/>
                  </a:ln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5" name="任意多边形: 形状 10474"/>
            <p:cNvSpPr/>
            <p:nvPr/>
          </p:nvSpPr>
          <p:spPr>
            <a:xfrm>
              <a:off x="4755024" y="3478733"/>
              <a:ext cx="44809" cy="119491"/>
            </a:xfrm>
            <a:custGeom>
              <a:avLst/>
              <a:gdLst>
                <a:gd name="connsiteX0" fmla="*/ 27172 w 44809"/>
                <a:gd name="connsiteY0" fmla="*/ 91112 h 119490"/>
                <a:gd name="connsiteX1" fmla="*/ 40614 w 44809"/>
                <a:gd name="connsiteY1" fmla="*/ 79162 h 119490"/>
                <a:gd name="connsiteX2" fmla="*/ 49576 w 44809"/>
                <a:gd name="connsiteY2" fmla="*/ 38834 h 119490"/>
                <a:gd name="connsiteX3" fmla="*/ 37627 w 44809"/>
                <a:gd name="connsiteY3" fmla="*/ 2987 h 119490"/>
                <a:gd name="connsiteX4" fmla="*/ 30159 w 44809"/>
                <a:gd name="connsiteY4" fmla="*/ 0 h 119490"/>
                <a:gd name="connsiteX5" fmla="*/ 24184 w 44809"/>
                <a:gd name="connsiteY5" fmla="*/ 19417 h 119490"/>
                <a:gd name="connsiteX6" fmla="*/ 10742 w 44809"/>
                <a:gd name="connsiteY6" fmla="*/ 35847 h 119490"/>
                <a:gd name="connsiteX7" fmla="*/ 286 w 44809"/>
                <a:gd name="connsiteY7" fmla="*/ 71694 h 119490"/>
                <a:gd name="connsiteX8" fmla="*/ 6261 w 44809"/>
                <a:gd name="connsiteY8" fmla="*/ 122478 h 119490"/>
                <a:gd name="connsiteX9" fmla="*/ 27172 w 44809"/>
                <a:gd name="connsiteY9" fmla="*/ 91112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09" h="119490">
                  <a:moveTo>
                    <a:pt x="27172" y="91112"/>
                  </a:moveTo>
                  <a:cubicBezTo>
                    <a:pt x="31652" y="88124"/>
                    <a:pt x="36133" y="83643"/>
                    <a:pt x="40614" y="79162"/>
                  </a:cubicBezTo>
                  <a:cubicBezTo>
                    <a:pt x="49576" y="68707"/>
                    <a:pt x="54057" y="52277"/>
                    <a:pt x="49576" y="38834"/>
                  </a:cubicBezTo>
                  <a:cubicBezTo>
                    <a:pt x="45095" y="26885"/>
                    <a:pt x="36133" y="14936"/>
                    <a:pt x="37627" y="2987"/>
                  </a:cubicBezTo>
                  <a:cubicBezTo>
                    <a:pt x="34640" y="1493"/>
                    <a:pt x="31652" y="1493"/>
                    <a:pt x="30159" y="0"/>
                  </a:cubicBezTo>
                  <a:cubicBezTo>
                    <a:pt x="31652" y="7468"/>
                    <a:pt x="28665" y="13443"/>
                    <a:pt x="24184" y="19417"/>
                  </a:cubicBezTo>
                  <a:cubicBezTo>
                    <a:pt x="19703" y="25392"/>
                    <a:pt x="15223" y="29873"/>
                    <a:pt x="10742" y="35847"/>
                  </a:cubicBezTo>
                  <a:cubicBezTo>
                    <a:pt x="3273" y="46303"/>
                    <a:pt x="-1207" y="58252"/>
                    <a:pt x="286" y="71694"/>
                  </a:cubicBezTo>
                  <a:cubicBezTo>
                    <a:pt x="1780" y="89618"/>
                    <a:pt x="10742" y="106048"/>
                    <a:pt x="6261" y="122478"/>
                  </a:cubicBezTo>
                  <a:cubicBezTo>
                    <a:pt x="6261" y="110529"/>
                    <a:pt x="16716" y="100073"/>
                    <a:pt x="27172" y="91112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6" name="任意多边形: 形状 10475"/>
            <p:cNvSpPr/>
            <p:nvPr/>
          </p:nvSpPr>
          <p:spPr>
            <a:xfrm>
              <a:off x="4762405" y="3740119"/>
              <a:ext cx="209109" cy="164300"/>
            </a:xfrm>
            <a:custGeom>
              <a:avLst/>
              <a:gdLst>
                <a:gd name="connsiteX0" fmla="*/ 209482 w 209108"/>
                <a:gd name="connsiteY0" fmla="*/ 164300 h 164299"/>
                <a:gd name="connsiteX1" fmla="*/ 209482 w 209108"/>
                <a:gd name="connsiteY1" fmla="*/ 164300 h 164299"/>
                <a:gd name="connsiteX2" fmla="*/ 191559 w 209108"/>
                <a:gd name="connsiteY2" fmla="*/ 174755 h 164299"/>
                <a:gd name="connsiteX3" fmla="*/ 170648 w 209108"/>
                <a:gd name="connsiteY3" fmla="*/ 171768 h 164299"/>
                <a:gd name="connsiteX4" fmla="*/ 170648 w 209108"/>
                <a:gd name="connsiteY4" fmla="*/ 171768 h 164299"/>
                <a:gd name="connsiteX5" fmla="*/ 151230 w 209108"/>
                <a:gd name="connsiteY5" fmla="*/ 165793 h 164299"/>
                <a:gd name="connsiteX6" fmla="*/ 10829 w 209108"/>
                <a:gd name="connsiteY6" fmla="*/ 98580 h 164299"/>
                <a:gd name="connsiteX7" fmla="*/ 13816 w 209108"/>
                <a:gd name="connsiteY7" fmla="*/ 11949 h 164299"/>
                <a:gd name="connsiteX8" fmla="*/ 63106 w 209108"/>
                <a:gd name="connsiteY8" fmla="*/ 0 h 164299"/>
                <a:gd name="connsiteX9" fmla="*/ 127332 w 209108"/>
                <a:gd name="connsiteY9" fmla="*/ 53771 h 164299"/>
                <a:gd name="connsiteX10" fmla="*/ 196039 w 209108"/>
                <a:gd name="connsiteY10" fmla="*/ 112023 h 164299"/>
                <a:gd name="connsiteX11" fmla="*/ 206495 w 209108"/>
                <a:gd name="connsiteY11" fmla="*/ 122478 h 164299"/>
                <a:gd name="connsiteX12" fmla="*/ 206495 w 209108"/>
                <a:gd name="connsiteY12" fmla="*/ 122478 h 164299"/>
                <a:gd name="connsiteX13" fmla="*/ 207989 w 209108"/>
                <a:gd name="connsiteY13" fmla="*/ 123971 h 164299"/>
                <a:gd name="connsiteX14" fmla="*/ 209482 w 209108"/>
                <a:gd name="connsiteY14" fmla="*/ 125465 h 164299"/>
                <a:gd name="connsiteX15" fmla="*/ 209482 w 209108"/>
                <a:gd name="connsiteY15" fmla="*/ 125465 h 164299"/>
                <a:gd name="connsiteX16" fmla="*/ 209482 w 209108"/>
                <a:gd name="connsiteY16" fmla="*/ 125465 h 164299"/>
                <a:gd name="connsiteX17" fmla="*/ 209482 w 209108"/>
                <a:gd name="connsiteY17" fmla="*/ 164300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09108" h="164299">
                  <a:moveTo>
                    <a:pt x="209482" y="164300"/>
                  </a:moveTo>
                  <a:lnTo>
                    <a:pt x="209482" y="164300"/>
                  </a:lnTo>
                  <a:cubicBezTo>
                    <a:pt x="205001" y="170274"/>
                    <a:pt x="199027" y="173262"/>
                    <a:pt x="191559" y="174755"/>
                  </a:cubicBezTo>
                  <a:cubicBezTo>
                    <a:pt x="184090" y="176249"/>
                    <a:pt x="176622" y="174755"/>
                    <a:pt x="170648" y="171768"/>
                  </a:cubicBezTo>
                  <a:cubicBezTo>
                    <a:pt x="170648" y="171768"/>
                    <a:pt x="170648" y="171768"/>
                    <a:pt x="170648" y="171768"/>
                  </a:cubicBezTo>
                  <a:cubicBezTo>
                    <a:pt x="170648" y="171768"/>
                    <a:pt x="163180" y="170274"/>
                    <a:pt x="151230" y="165793"/>
                  </a:cubicBezTo>
                  <a:cubicBezTo>
                    <a:pt x="116877" y="155338"/>
                    <a:pt x="43689" y="132933"/>
                    <a:pt x="10829" y="98580"/>
                  </a:cubicBezTo>
                  <a:cubicBezTo>
                    <a:pt x="-2614" y="83643"/>
                    <a:pt x="-5601" y="34353"/>
                    <a:pt x="13816" y="11949"/>
                  </a:cubicBezTo>
                  <a:lnTo>
                    <a:pt x="63106" y="0"/>
                  </a:lnTo>
                  <a:lnTo>
                    <a:pt x="127332" y="53771"/>
                  </a:lnTo>
                  <a:lnTo>
                    <a:pt x="196039" y="112023"/>
                  </a:lnTo>
                  <a:lnTo>
                    <a:pt x="206495" y="122478"/>
                  </a:lnTo>
                  <a:cubicBezTo>
                    <a:pt x="206495" y="122478"/>
                    <a:pt x="206495" y="122478"/>
                    <a:pt x="206495" y="122478"/>
                  </a:cubicBezTo>
                  <a:lnTo>
                    <a:pt x="207989" y="123971"/>
                  </a:lnTo>
                  <a:cubicBezTo>
                    <a:pt x="207989" y="123971"/>
                    <a:pt x="207989" y="123971"/>
                    <a:pt x="209482" y="125465"/>
                  </a:cubicBezTo>
                  <a:lnTo>
                    <a:pt x="209482" y="125465"/>
                  </a:lnTo>
                  <a:cubicBezTo>
                    <a:pt x="209482" y="125465"/>
                    <a:pt x="209482" y="125465"/>
                    <a:pt x="209482" y="125465"/>
                  </a:cubicBezTo>
                  <a:cubicBezTo>
                    <a:pt x="216950" y="135921"/>
                    <a:pt x="218444" y="152351"/>
                    <a:pt x="209482" y="164300"/>
                  </a:cubicBez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7" name="任意多边形: 形状 10476"/>
            <p:cNvSpPr/>
            <p:nvPr/>
          </p:nvSpPr>
          <p:spPr>
            <a:xfrm>
              <a:off x="4937534" y="4168792"/>
              <a:ext cx="14936" cy="14936"/>
            </a:xfrm>
            <a:custGeom>
              <a:avLst/>
              <a:gdLst>
                <a:gd name="connsiteX0" fmla="*/ 14936 w 14936"/>
                <a:gd name="connsiteY0" fmla="*/ 0 h 14936"/>
                <a:gd name="connsiteX1" fmla="*/ 0 w 14936"/>
                <a:gd name="connsiteY1" fmla="*/ 0 h 14936"/>
                <a:gd name="connsiteX2" fmla="*/ 1494 w 14936"/>
                <a:gd name="connsiteY2" fmla="*/ 17924 h 14936"/>
                <a:gd name="connsiteX3" fmla="*/ 14936 w 14936"/>
                <a:gd name="connsiteY3" fmla="*/ 1045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4936" y="0"/>
                  </a:moveTo>
                  <a:lnTo>
                    <a:pt x="0" y="0"/>
                  </a:lnTo>
                  <a:lnTo>
                    <a:pt x="1494" y="17924"/>
                  </a:lnTo>
                  <a:lnTo>
                    <a:pt x="14936" y="10456"/>
                  </a:lnTo>
                  <a:close/>
                </a:path>
              </a:pathLst>
            </a:custGeom>
            <a:solidFill>
              <a:srgbClr val="94211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8" name="任意多边形: 形状 10477"/>
            <p:cNvSpPr/>
            <p:nvPr/>
          </p:nvSpPr>
          <p:spPr>
            <a:xfrm>
              <a:off x="4926052" y="4108912"/>
              <a:ext cx="59745" cy="74682"/>
            </a:xfrm>
            <a:custGeom>
              <a:avLst/>
              <a:gdLst>
                <a:gd name="connsiteX0" fmla="*/ 27912 w 59745"/>
                <a:gd name="connsiteY0" fmla="*/ 65855 h 74681"/>
                <a:gd name="connsiteX1" fmla="*/ 39861 w 59745"/>
                <a:gd name="connsiteY1" fmla="*/ 74816 h 74681"/>
                <a:gd name="connsiteX2" fmla="*/ 54798 w 59745"/>
                <a:gd name="connsiteY2" fmla="*/ 77804 h 74681"/>
                <a:gd name="connsiteX3" fmla="*/ 60772 w 59745"/>
                <a:gd name="connsiteY3" fmla="*/ 74816 h 74681"/>
                <a:gd name="connsiteX4" fmla="*/ 62266 w 59745"/>
                <a:gd name="connsiteY4" fmla="*/ 67348 h 74681"/>
                <a:gd name="connsiteX5" fmla="*/ 56291 w 59745"/>
                <a:gd name="connsiteY5" fmla="*/ 52412 h 74681"/>
                <a:gd name="connsiteX6" fmla="*/ 36874 w 59745"/>
                <a:gd name="connsiteY6" fmla="*/ 7603 h 74681"/>
                <a:gd name="connsiteX7" fmla="*/ 35380 w 59745"/>
                <a:gd name="connsiteY7" fmla="*/ 4616 h 74681"/>
                <a:gd name="connsiteX8" fmla="*/ 32393 w 59745"/>
                <a:gd name="connsiteY8" fmla="*/ 3122 h 74681"/>
                <a:gd name="connsiteX9" fmla="*/ 9989 w 59745"/>
                <a:gd name="connsiteY9" fmla="*/ 1628 h 74681"/>
                <a:gd name="connsiteX10" fmla="*/ 8495 w 59745"/>
                <a:gd name="connsiteY10" fmla="*/ 3122 h 74681"/>
                <a:gd name="connsiteX11" fmla="*/ 7001 w 59745"/>
                <a:gd name="connsiteY11" fmla="*/ 6109 h 74681"/>
                <a:gd name="connsiteX12" fmla="*/ 2520 w 59745"/>
                <a:gd name="connsiteY12" fmla="*/ 15071 h 74681"/>
                <a:gd name="connsiteX13" fmla="*/ 7001 w 59745"/>
                <a:gd name="connsiteY13" fmla="*/ 47931 h 74681"/>
                <a:gd name="connsiteX14" fmla="*/ 15963 w 59745"/>
                <a:gd name="connsiteY14" fmla="*/ 56893 h 74681"/>
                <a:gd name="connsiteX15" fmla="*/ 27912 w 59745"/>
                <a:gd name="connsiteY15" fmla="*/ 65855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745" h="74681">
                  <a:moveTo>
                    <a:pt x="27912" y="65855"/>
                  </a:moveTo>
                  <a:cubicBezTo>
                    <a:pt x="32393" y="68842"/>
                    <a:pt x="35380" y="73323"/>
                    <a:pt x="39861" y="74816"/>
                  </a:cubicBezTo>
                  <a:cubicBezTo>
                    <a:pt x="44342" y="77804"/>
                    <a:pt x="48823" y="79297"/>
                    <a:pt x="54798" y="77804"/>
                  </a:cubicBezTo>
                  <a:cubicBezTo>
                    <a:pt x="57785" y="77804"/>
                    <a:pt x="59279" y="76310"/>
                    <a:pt x="60772" y="74816"/>
                  </a:cubicBezTo>
                  <a:cubicBezTo>
                    <a:pt x="62266" y="73323"/>
                    <a:pt x="62266" y="70335"/>
                    <a:pt x="62266" y="67348"/>
                  </a:cubicBezTo>
                  <a:cubicBezTo>
                    <a:pt x="60772" y="61374"/>
                    <a:pt x="57785" y="56893"/>
                    <a:pt x="56291" y="52412"/>
                  </a:cubicBezTo>
                  <a:cubicBezTo>
                    <a:pt x="48823" y="38969"/>
                    <a:pt x="42849" y="24033"/>
                    <a:pt x="36874" y="7603"/>
                  </a:cubicBezTo>
                  <a:cubicBezTo>
                    <a:pt x="36874" y="6109"/>
                    <a:pt x="36874" y="4616"/>
                    <a:pt x="35380" y="4616"/>
                  </a:cubicBezTo>
                  <a:cubicBezTo>
                    <a:pt x="33887" y="3122"/>
                    <a:pt x="33887" y="3122"/>
                    <a:pt x="32393" y="3122"/>
                  </a:cubicBezTo>
                  <a:cubicBezTo>
                    <a:pt x="24925" y="134"/>
                    <a:pt x="17457" y="-1359"/>
                    <a:pt x="9989" y="1628"/>
                  </a:cubicBezTo>
                  <a:cubicBezTo>
                    <a:pt x="9989" y="1628"/>
                    <a:pt x="8495" y="1628"/>
                    <a:pt x="8495" y="3122"/>
                  </a:cubicBezTo>
                  <a:cubicBezTo>
                    <a:pt x="8495" y="3122"/>
                    <a:pt x="7001" y="4616"/>
                    <a:pt x="7001" y="6109"/>
                  </a:cubicBezTo>
                  <a:cubicBezTo>
                    <a:pt x="5508" y="9096"/>
                    <a:pt x="4014" y="12084"/>
                    <a:pt x="2520" y="15071"/>
                  </a:cubicBezTo>
                  <a:cubicBezTo>
                    <a:pt x="-1960" y="25526"/>
                    <a:pt x="-467" y="37475"/>
                    <a:pt x="7001" y="47931"/>
                  </a:cubicBezTo>
                  <a:cubicBezTo>
                    <a:pt x="9989" y="50918"/>
                    <a:pt x="12976" y="53905"/>
                    <a:pt x="15963" y="56893"/>
                  </a:cubicBezTo>
                  <a:cubicBezTo>
                    <a:pt x="20444" y="58387"/>
                    <a:pt x="23431" y="61374"/>
                    <a:pt x="27912" y="65855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9" name="任意多边形: 形状 10478"/>
            <p:cNvSpPr/>
            <p:nvPr/>
          </p:nvSpPr>
          <p:spPr>
            <a:xfrm>
              <a:off x="4917834" y="4113528"/>
              <a:ext cx="89618" cy="89618"/>
            </a:xfrm>
            <a:custGeom>
              <a:avLst/>
              <a:gdLst>
                <a:gd name="connsiteX0" fmla="*/ 7751 w 89618"/>
                <a:gd name="connsiteY0" fmla="*/ 62732 h 89618"/>
                <a:gd name="connsiteX1" fmla="*/ 21194 w 89618"/>
                <a:gd name="connsiteY1" fmla="*/ 73188 h 89618"/>
                <a:gd name="connsiteX2" fmla="*/ 19700 w 89618"/>
                <a:gd name="connsiteY2" fmla="*/ 55264 h 89618"/>
                <a:gd name="connsiteX3" fmla="*/ 37624 w 89618"/>
                <a:gd name="connsiteY3" fmla="*/ 82150 h 89618"/>
                <a:gd name="connsiteX4" fmla="*/ 80939 w 89618"/>
                <a:gd name="connsiteY4" fmla="*/ 101567 h 89618"/>
                <a:gd name="connsiteX5" fmla="*/ 92888 w 89618"/>
                <a:gd name="connsiteY5" fmla="*/ 98580 h 89618"/>
                <a:gd name="connsiteX6" fmla="*/ 94382 w 89618"/>
                <a:gd name="connsiteY6" fmla="*/ 97086 h 89618"/>
                <a:gd name="connsiteX7" fmla="*/ 92888 w 89618"/>
                <a:gd name="connsiteY7" fmla="*/ 94099 h 89618"/>
                <a:gd name="connsiteX8" fmla="*/ 55547 w 89618"/>
                <a:gd name="connsiteY8" fmla="*/ 35847 h 89618"/>
                <a:gd name="connsiteX9" fmla="*/ 61522 w 89618"/>
                <a:gd name="connsiteY9" fmla="*/ 55264 h 89618"/>
                <a:gd name="connsiteX10" fmla="*/ 60028 w 89618"/>
                <a:gd name="connsiteY10" fmla="*/ 62732 h 89618"/>
                <a:gd name="connsiteX11" fmla="*/ 54054 w 89618"/>
                <a:gd name="connsiteY11" fmla="*/ 64226 h 89618"/>
                <a:gd name="connsiteX12" fmla="*/ 40611 w 89618"/>
                <a:gd name="connsiteY12" fmla="*/ 55264 h 89618"/>
                <a:gd name="connsiteX13" fmla="*/ 30156 w 89618"/>
                <a:gd name="connsiteY13" fmla="*/ 46303 h 89618"/>
                <a:gd name="connsiteX14" fmla="*/ 21194 w 89618"/>
                <a:gd name="connsiteY14" fmla="*/ 38835 h 89618"/>
                <a:gd name="connsiteX15" fmla="*/ 12232 w 89618"/>
                <a:gd name="connsiteY15" fmla="*/ 0 h 89618"/>
                <a:gd name="connsiteX16" fmla="*/ 283 w 89618"/>
                <a:gd name="connsiteY16" fmla="*/ 32860 h 89618"/>
                <a:gd name="connsiteX17" fmla="*/ 3270 w 89618"/>
                <a:gd name="connsiteY17" fmla="*/ 46303 h 89618"/>
                <a:gd name="connsiteX18" fmla="*/ 7751 w 89618"/>
                <a:gd name="connsiteY18" fmla="*/ 62732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9618" h="89618">
                  <a:moveTo>
                    <a:pt x="7751" y="62732"/>
                  </a:moveTo>
                  <a:cubicBezTo>
                    <a:pt x="12232" y="65720"/>
                    <a:pt x="16713" y="68707"/>
                    <a:pt x="21194" y="73188"/>
                  </a:cubicBezTo>
                  <a:cubicBezTo>
                    <a:pt x="21194" y="67214"/>
                    <a:pt x="21194" y="61239"/>
                    <a:pt x="19700" y="55264"/>
                  </a:cubicBezTo>
                  <a:cubicBezTo>
                    <a:pt x="28662" y="62732"/>
                    <a:pt x="30156" y="73188"/>
                    <a:pt x="37624" y="82150"/>
                  </a:cubicBezTo>
                  <a:cubicBezTo>
                    <a:pt x="46586" y="95593"/>
                    <a:pt x="64509" y="101567"/>
                    <a:pt x="80939" y="101567"/>
                  </a:cubicBezTo>
                  <a:cubicBezTo>
                    <a:pt x="85420" y="101567"/>
                    <a:pt x="89901" y="101567"/>
                    <a:pt x="92888" y="98580"/>
                  </a:cubicBezTo>
                  <a:cubicBezTo>
                    <a:pt x="92888" y="98580"/>
                    <a:pt x="94382" y="97086"/>
                    <a:pt x="94382" y="97086"/>
                  </a:cubicBezTo>
                  <a:cubicBezTo>
                    <a:pt x="94382" y="95593"/>
                    <a:pt x="94382" y="95593"/>
                    <a:pt x="92888" y="94099"/>
                  </a:cubicBezTo>
                  <a:cubicBezTo>
                    <a:pt x="80939" y="74682"/>
                    <a:pt x="68990" y="53771"/>
                    <a:pt x="55547" y="35847"/>
                  </a:cubicBezTo>
                  <a:cubicBezTo>
                    <a:pt x="58535" y="41822"/>
                    <a:pt x="60028" y="47796"/>
                    <a:pt x="61522" y="55264"/>
                  </a:cubicBezTo>
                  <a:cubicBezTo>
                    <a:pt x="61522" y="58252"/>
                    <a:pt x="63016" y="61239"/>
                    <a:pt x="60028" y="62732"/>
                  </a:cubicBezTo>
                  <a:cubicBezTo>
                    <a:pt x="58535" y="64226"/>
                    <a:pt x="55547" y="64226"/>
                    <a:pt x="54054" y="64226"/>
                  </a:cubicBezTo>
                  <a:cubicBezTo>
                    <a:pt x="48079" y="62732"/>
                    <a:pt x="43598" y="59745"/>
                    <a:pt x="40611" y="55264"/>
                  </a:cubicBezTo>
                  <a:cubicBezTo>
                    <a:pt x="37624" y="52277"/>
                    <a:pt x="33143" y="49290"/>
                    <a:pt x="30156" y="46303"/>
                  </a:cubicBezTo>
                  <a:cubicBezTo>
                    <a:pt x="27168" y="43315"/>
                    <a:pt x="24181" y="41822"/>
                    <a:pt x="21194" y="38835"/>
                  </a:cubicBezTo>
                  <a:cubicBezTo>
                    <a:pt x="12232" y="28379"/>
                    <a:pt x="10738" y="13443"/>
                    <a:pt x="12232" y="0"/>
                  </a:cubicBezTo>
                  <a:cubicBezTo>
                    <a:pt x="3270" y="7468"/>
                    <a:pt x="-1211" y="20911"/>
                    <a:pt x="283" y="32860"/>
                  </a:cubicBezTo>
                  <a:cubicBezTo>
                    <a:pt x="1777" y="37341"/>
                    <a:pt x="3270" y="41822"/>
                    <a:pt x="3270" y="46303"/>
                  </a:cubicBezTo>
                  <a:cubicBezTo>
                    <a:pt x="7751" y="52277"/>
                    <a:pt x="7751" y="58252"/>
                    <a:pt x="7751" y="62732"/>
                  </a:cubicBezTo>
                  <a:close/>
                </a:path>
              </a:pathLst>
            </a:custGeom>
            <a:solidFill>
              <a:srgbClr val="E6332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0" name="任意多边形: 形状 10479"/>
            <p:cNvSpPr/>
            <p:nvPr/>
          </p:nvSpPr>
          <p:spPr>
            <a:xfrm>
              <a:off x="4911067" y="3856623"/>
              <a:ext cx="59745" cy="268854"/>
            </a:xfrm>
            <a:custGeom>
              <a:avLst/>
              <a:gdLst>
                <a:gd name="connsiteX0" fmla="*/ 66795 w 59745"/>
                <a:gd name="connsiteY0" fmla="*/ 29873 h 268854"/>
                <a:gd name="connsiteX1" fmla="*/ 57834 w 59745"/>
                <a:gd name="connsiteY1" fmla="*/ 176249 h 268854"/>
                <a:gd name="connsiteX2" fmla="*/ 51859 w 59745"/>
                <a:gd name="connsiteY2" fmla="*/ 264373 h 268854"/>
                <a:gd name="connsiteX3" fmla="*/ 21986 w 59745"/>
                <a:gd name="connsiteY3" fmla="*/ 258399 h 268854"/>
                <a:gd name="connsiteX4" fmla="*/ 2569 w 59745"/>
                <a:gd name="connsiteY4" fmla="*/ 50784 h 268854"/>
                <a:gd name="connsiteX5" fmla="*/ 8544 w 59745"/>
                <a:gd name="connsiteY5" fmla="*/ 29873 h 268854"/>
                <a:gd name="connsiteX6" fmla="*/ 26467 w 59745"/>
                <a:gd name="connsiteY6" fmla="*/ 2987 h 268854"/>
                <a:gd name="connsiteX7" fmla="*/ 38416 w 59745"/>
                <a:gd name="connsiteY7" fmla="*/ 0 h 268854"/>
                <a:gd name="connsiteX8" fmla="*/ 38416 w 59745"/>
                <a:gd name="connsiteY8" fmla="*/ 0 h 268854"/>
                <a:gd name="connsiteX9" fmla="*/ 56340 w 59745"/>
                <a:gd name="connsiteY9" fmla="*/ 5975 h 268854"/>
                <a:gd name="connsiteX10" fmla="*/ 56340 w 59745"/>
                <a:gd name="connsiteY10" fmla="*/ 5975 h 268854"/>
                <a:gd name="connsiteX11" fmla="*/ 66795 w 59745"/>
                <a:gd name="connsiteY11" fmla="*/ 29873 h 268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745" h="268854">
                  <a:moveTo>
                    <a:pt x="66795" y="29873"/>
                  </a:moveTo>
                  <a:lnTo>
                    <a:pt x="57834" y="176249"/>
                  </a:lnTo>
                  <a:lnTo>
                    <a:pt x="51859" y="264373"/>
                  </a:lnTo>
                  <a:cubicBezTo>
                    <a:pt x="45884" y="276322"/>
                    <a:pt x="23480" y="273335"/>
                    <a:pt x="21986" y="258399"/>
                  </a:cubicBezTo>
                  <a:cubicBezTo>
                    <a:pt x="10037" y="180730"/>
                    <a:pt x="-6393" y="100074"/>
                    <a:pt x="2569" y="50784"/>
                  </a:cubicBezTo>
                  <a:cubicBezTo>
                    <a:pt x="4063" y="43316"/>
                    <a:pt x="5556" y="35847"/>
                    <a:pt x="8544" y="29873"/>
                  </a:cubicBezTo>
                  <a:cubicBezTo>
                    <a:pt x="8544" y="17924"/>
                    <a:pt x="16012" y="7468"/>
                    <a:pt x="26467" y="2987"/>
                  </a:cubicBezTo>
                  <a:cubicBezTo>
                    <a:pt x="29455" y="1494"/>
                    <a:pt x="33935" y="0"/>
                    <a:pt x="38416" y="0"/>
                  </a:cubicBezTo>
                  <a:lnTo>
                    <a:pt x="38416" y="0"/>
                  </a:lnTo>
                  <a:cubicBezTo>
                    <a:pt x="45884" y="0"/>
                    <a:pt x="51859" y="2987"/>
                    <a:pt x="56340" y="5975"/>
                  </a:cubicBezTo>
                  <a:cubicBezTo>
                    <a:pt x="56340" y="5975"/>
                    <a:pt x="56340" y="5975"/>
                    <a:pt x="56340" y="5975"/>
                  </a:cubicBezTo>
                  <a:cubicBezTo>
                    <a:pt x="63808" y="11949"/>
                    <a:pt x="66795" y="20911"/>
                    <a:pt x="66795" y="29873"/>
                  </a:cubicBez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1" name="任意多边形: 形状 10480"/>
            <p:cNvSpPr/>
            <p:nvPr/>
          </p:nvSpPr>
          <p:spPr>
            <a:xfrm>
              <a:off x="4873308" y="3617641"/>
              <a:ext cx="29873" cy="29873"/>
            </a:xfrm>
            <a:custGeom>
              <a:avLst/>
              <a:gdLst>
                <a:gd name="connsiteX0" fmla="*/ 40328 w 29872"/>
                <a:gd name="connsiteY0" fmla="*/ 0 h 29872"/>
                <a:gd name="connsiteX1" fmla="*/ 0 w 29872"/>
                <a:gd name="connsiteY1" fmla="*/ 29873 h 29872"/>
                <a:gd name="connsiteX2" fmla="*/ 25392 w 29872"/>
                <a:gd name="connsiteY2" fmla="*/ 43316 h 29872"/>
                <a:gd name="connsiteX3" fmla="*/ 25392 w 29872"/>
                <a:gd name="connsiteY3" fmla="*/ 43316 h 29872"/>
                <a:gd name="connsiteX4" fmla="*/ 43315 w 29872"/>
                <a:gd name="connsiteY4" fmla="*/ 16430 h 29872"/>
                <a:gd name="connsiteX5" fmla="*/ 40328 w 29872"/>
                <a:gd name="connsiteY5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872" h="29872">
                  <a:moveTo>
                    <a:pt x="40328" y="0"/>
                  </a:moveTo>
                  <a:cubicBezTo>
                    <a:pt x="29873" y="14936"/>
                    <a:pt x="16430" y="26885"/>
                    <a:pt x="0" y="29873"/>
                  </a:cubicBezTo>
                  <a:cubicBezTo>
                    <a:pt x="4481" y="38835"/>
                    <a:pt x="14936" y="44809"/>
                    <a:pt x="25392" y="43316"/>
                  </a:cubicBezTo>
                  <a:lnTo>
                    <a:pt x="25392" y="43316"/>
                  </a:lnTo>
                  <a:cubicBezTo>
                    <a:pt x="37341" y="40328"/>
                    <a:pt x="46303" y="28379"/>
                    <a:pt x="43315" y="16430"/>
                  </a:cubicBezTo>
                  <a:lnTo>
                    <a:pt x="40328" y="0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2" name="任意多边形: 形状 10481"/>
            <p:cNvSpPr/>
            <p:nvPr/>
          </p:nvSpPr>
          <p:spPr>
            <a:xfrm>
              <a:off x="4850324" y="3515495"/>
              <a:ext cx="59745" cy="119491"/>
            </a:xfrm>
            <a:custGeom>
              <a:avLst/>
              <a:gdLst>
                <a:gd name="connsiteX0" fmla="*/ 63312 w 59745"/>
                <a:gd name="connsiteY0" fmla="*/ 102146 h 119490"/>
                <a:gd name="connsiteX1" fmla="*/ 45388 w 59745"/>
                <a:gd name="connsiteY1" fmla="*/ 18503 h 119490"/>
                <a:gd name="connsiteX2" fmla="*/ 18503 w 59745"/>
                <a:gd name="connsiteY2" fmla="*/ 579 h 119490"/>
                <a:gd name="connsiteX3" fmla="*/ 18503 w 59745"/>
                <a:gd name="connsiteY3" fmla="*/ 579 h 119490"/>
                <a:gd name="connsiteX4" fmla="*/ 579 w 59745"/>
                <a:gd name="connsiteY4" fmla="*/ 27464 h 119490"/>
                <a:gd name="connsiteX5" fmla="*/ 21490 w 59745"/>
                <a:gd name="connsiteY5" fmla="*/ 127538 h 119490"/>
                <a:gd name="connsiteX6" fmla="*/ 22984 w 59745"/>
                <a:gd name="connsiteY6" fmla="*/ 132019 h 119490"/>
                <a:gd name="connsiteX7" fmla="*/ 63312 w 59745"/>
                <a:gd name="connsiteY7" fmla="*/ 102146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45" h="119490">
                  <a:moveTo>
                    <a:pt x="63312" y="102146"/>
                  </a:moveTo>
                  <a:lnTo>
                    <a:pt x="45388" y="18503"/>
                  </a:lnTo>
                  <a:cubicBezTo>
                    <a:pt x="42401" y="6553"/>
                    <a:pt x="30452" y="-2408"/>
                    <a:pt x="18503" y="579"/>
                  </a:cubicBezTo>
                  <a:lnTo>
                    <a:pt x="18503" y="579"/>
                  </a:lnTo>
                  <a:cubicBezTo>
                    <a:pt x="6554" y="3566"/>
                    <a:pt x="-2408" y="15515"/>
                    <a:pt x="579" y="27464"/>
                  </a:cubicBezTo>
                  <a:lnTo>
                    <a:pt x="21490" y="127538"/>
                  </a:lnTo>
                  <a:cubicBezTo>
                    <a:pt x="21490" y="129031"/>
                    <a:pt x="22984" y="130525"/>
                    <a:pt x="22984" y="132019"/>
                  </a:cubicBezTo>
                  <a:cubicBezTo>
                    <a:pt x="39413" y="129031"/>
                    <a:pt x="51363" y="117082"/>
                    <a:pt x="63312" y="102146"/>
                  </a:cubicBezTo>
                  <a:close/>
                </a:path>
              </a:pathLst>
            </a:custGeom>
            <a:solidFill>
              <a:srgbClr val="F392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3" name="任意多边形: 形状 10482"/>
            <p:cNvSpPr/>
            <p:nvPr/>
          </p:nvSpPr>
          <p:spPr>
            <a:xfrm>
              <a:off x="4869662" y="3618476"/>
              <a:ext cx="119491" cy="59745"/>
            </a:xfrm>
            <a:custGeom>
              <a:avLst/>
              <a:gdLst>
                <a:gd name="connsiteX0" fmla="*/ 129111 w 119490"/>
                <a:gd name="connsiteY0" fmla="*/ 40987 h 59745"/>
                <a:gd name="connsiteX1" fmla="*/ 120149 w 119490"/>
                <a:gd name="connsiteY1" fmla="*/ 63391 h 59745"/>
                <a:gd name="connsiteX2" fmla="*/ 17089 w 119490"/>
                <a:gd name="connsiteY2" fmla="*/ 45468 h 59745"/>
                <a:gd name="connsiteX3" fmla="*/ 659 w 119490"/>
                <a:gd name="connsiteY3" fmla="*/ 17089 h 59745"/>
                <a:gd name="connsiteX4" fmla="*/ 659 w 119490"/>
                <a:gd name="connsiteY4" fmla="*/ 17089 h 59745"/>
                <a:gd name="connsiteX5" fmla="*/ 29038 w 119490"/>
                <a:gd name="connsiteY5" fmla="*/ 659 h 59745"/>
                <a:gd name="connsiteX6" fmla="*/ 129111 w 119490"/>
                <a:gd name="connsiteY6" fmla="*/ 40987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490" h="59745">
                  <a:moveTo>
                    <a:pt x="129111" y="40987"/>
                  </a:moveTo>
                  <a:lnTo>
                    <a:pt x="120149" y="63391"/>
                  </a:lnTo>
                  <a:lnTo>
                    <a:pt x="17089" y="45468"/>
                  </a:lnTo>
                  <a:cubicBezTo>
                    <a:pt x="5140" y="42480"/>
                    <a:pt x="-2329" y="29038"/>
                    <a:pt x="659" y="17089"/>
                  </a:cubicBezTo>
                  <a:lnTo>
                    <a:pt x="659" y="17089"/>
                  </a:lnTo>
                  <a:cubicBezTo>
                    <a:pt x="3646" y="5140"/>
                    <a:pt x="17089" y="-2329"/>
                    <a:pt x="29038" y="659"/>
                  </a:cubicBezTo>
                  <a:lnTo>
                    <a:pt x="129111" y="40987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4" name="任意多边形: 形状 10483"/>
            <p:cNvSpPr/>
            <p:nvPr/>
          </p:nvSpPr>
          <p:spPr>
            <a:xfrm>
              <a:off x="4985605" y="3659463"/>
              <a:ext cx="89618" cy="44809"/>
            </a:xfrm>
            <a:custGeom>
              <a:avLst/>
              <a:gdLst>
                <a:gd name="connsiteX0" fmla="*/ 13168 w 89618"/>
                <a:gd name="connsiteY0" fmla="*/ 0 h 44809"/>
                <a:gd name="connsiteX1" fmla="*/ 5699 w 89618"/>
                <a:gd name="connsiteY1" fmla="*/ 22405 h 44809"/>
                <a:gd name="connsiteX2" fmla="*/ 29598 w 89618"/>
                <a:gd name="connsiteY2" fmla="*/ 43316 h 44809"/>
                <a:gd name="connsiteX3" fmla="*/ 43040 w 89618"/>
                <a:gd name="connsiteY3" fmla="*/ 49290 h 44809"/>
                <a:gd name="connsiteX4" fmla="*/ 60964 w 89618"/>
                <a:gd name="connsiteY4" fmla="*/ 56758 h 44809"/>
                <a:gd name="connsiteX5" fmla="*/ 66938 w 89618"/>
                <a:gd name="connsiteY5" fmla="*/ 58252 h 44809"/>
                <a:gd name="connsiteX6" fmla="*/ 71419 w 89618"/>
                <a:gd name="connsiteY6" fmla="*/ 58252 h 44809"/>
                <a:gd name="connsiteX7" fmla="*/ 90837 w 89618"/>
                <a:gd name="connsiteY7" fmla="*/ 46303 h 44809"/>
                <a:gd name="connsiteX8" fmla="*/ 74407 w 89618"/>
                <a:gd name="connsiteY8" fmla="*/ 32860 h 44809"/>
                <a:gd name="connsiteX9" fmla="*/ 57977 w 89618"/>
                <a:gd name="connsiteY9" fmla="*/ 22405 h 44809"/>
                <a:gd name="connsiteX10" fmla="*/ 40053 w 89618"/>
                <a:gd name="connsiteY10" fmla="*/ 7468 h 44809"/>
                <a:gd name="connsiteX11" fmla="*/ 28104 w 89618"/>
                <a:gd name="connsiteY11" fmla="*/ 2987 h 44809"/>
                <a:gd name="connsiteX12" fmla="*/ 13168 w 89618"/>
                <a:gd name="connsiteY12" fmla="*/ 0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618" h="44809">
                  <a:moveTo>
                    <a:pt x="13168" y="0"/>
                  </a:moveTo>
                  <a:cubicBezTo>
                    <a:pt x="2712" y="0"/>
                    <a:pt x="-6250" y="14936"/>
                    <a:pt x="5699" y="22405"/>
                  </a:cubicBezTo>
                  <a:cubicBezTo>
                    <a:pt x="14661" y="28379"/>
                    <a:pt x="20636" y="38835"/>
                    <a:pt x="29598" y="43316"/>
                  </a:cubicBezTo>
                  <a:cubicBezTo>
                    <a:pt x="34078" y="46303"/>
                    <a:pt x="38559" y="47796"/>
                    <a:pt x="43040" y="49290"/>
                  </a:cubicBezTo>
                  <a:cubicBezTo>
                    <a:pt x="49015" y="52277"/>
                    <a:pt x="54989" y="55264"/>
                    <a:pt x="60964" y="56758"/>
                  </a:cubicBezTo>
                  <a:cubicBezTo>
                    <a:pt x="62457" y="58252"/>
                    <a:pt x="65445" y="58252"/>
                    <a:pt x="66938" y="58252"/>
                  </a:cubicBezTo>
                  <a:cubicBezTo>
                    <a:pt x="68432" y="58252"/>
                    <a:pt x="69926" y="58252"/>
                    <a:pt x="71419" y="58252"/>
                  </a:cubicBezTo>
                  <a:cubicBezTo>
                    <a:pt x="74407" y="58252"/>
                    <a:pt x="90837" y="52277"/>
                    <a:pt x="90837" y="46303"/>
                  </a:cubicBezTo>
                  <a:cubicBezTo>
                    <a:pt x="93824" y="43316"/>
                    <a:pt x="80381" y="37341"/>
                    <a:pt x="74407" y="32860"/>
                  </a:cubicBezTo>
                  <a:cubicBezTo>
                    <a:pt x="66938" y="28379"/>
                    <a:pt x="65445" y="26885"/>
                    <a:pt x="57977" y="22405"/>
                  </a:cubicBezTo>
                  <a:cubicBezTo>
                    <a:pt x="50508" y="17924"/>
                    <a:pt x="46027" y="10455"/>
                    <a:pt x="40053" y="7468"/>
                  </a:cubicBezTo>
                  <a:cubicBezTo>
                    <a:pt x="37066" y="4481"/>
                    <a:pt x="32585" y="4481"/>
                    <a:pt x="28104" y="2987"/>
                  </a:cubicBezTo>
                  <a:cubicBezTo>
                    <a:pt x="23623" y="1494"/>
                    <a:pt x="19142" y="0"/>
                    <a:pt x="13168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5" name="任意多边形: 形状 10484"/>
            <p:cNvSpPr/>
            <p:nvPr/>
          </p:nvSpPr>
          <p:spPr>
            <a:xfrm>
              <a:off x="4995951" y="3660957"/>
              <a:ext cx="59745" cy="14936"/>
            </a:xfrm>
            <a:custGeom>
              <a:avLst/>
              <a:gdLst>
                <a:gd name="connsiteX0" fmla="*/ 49124 w 59745"/>
                <a:gd name="connsiteY0" fmla="*/ 2987 h 14936"/>
                <a:gd name="connsiteX1" fmla="*/ 68541 w 59745"/>
                <a:gd name="connsiteY1" fmla="*/ 8962 h 14936"/>
                <a:gd name="connsiteX2" fmla="*/ 65554 w 59745"/>
                <a:gd name="connsiteY2" fmla="*/ 16430 h 14936"/>
                <a:gd name="connsiteX3" fmla="*/ 56592 w 59745"/>
                <a:gd name="connsiteY3" fmla="*/ 16430 h 14936"/>
                <a:gd name="connsiteX4" fmla="*/ 49124 w 59745"/>
                <a:gd name="connsiteY4" fmla="*/ 13443 h 14936"/>
                <a:gd name="connsiteX5" fmla="*/ 29707 w 59745"/>
                <a:gd name="connsiteY5" fmla="*/ 16430 h 14936"/>
                <a:gd name="connsiteX6" fmla="*/ 11783 w 59745"/>
                <a:gd name="connsiteY6" fmla="*/ 13443 h 14936"/>
                <a:gd name="connsiteX7" fmla="*/ 1328 w 59745"/>
                <a:gd name="connsiteY7" fmla="*/ 8962 h 14936"/>
                <a:gd name="connsiteX8" fmla="*/ 1328 w 59745"/>
                <a:gd name="connsiteY8" fmla="*/ 0 h 14936"/>
                <a:gd name="connsiteX9" fmla="*/ 29707 w 59745"/>
                <a:gd name="connsiteY9" fmla="*/ 0 h 14936"/>
                <a:gd name="connsiteX10" fmla="*/ 38669 w 59745"/>
                <a:gd name="connsiteY10" fmla="*/ 0 h 14936"/>
                <a:gd name="connsiteX11" fmla="*/ 49124 w 59745"/>
                <a:gd name="connsiteY11" fmla="*/ 2987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745" h="14936">
                  <a:moveTo>
                    <a:pt x="49124" y="2987"/>
                  </a:moveTo>
                  <a:cubicBezTo>
                    <a:pt x="55099" y="5974"/>
                    <a:pt x="62567" y="7468"/>
                    <a:pt x="68541" y="8962"/>
                  </a:cubicBezTo>
                  <a:cubicBezTo>
                    <a:pt x="70035" y="11949"/>
                    <a:pt x="68541" y="14936"/>
                    <a:pt x="65554" y="16430"/>
                  </a:cubicBezTo>
                  <a:cubicBezTo>
                    <a:pt x="62567" y="17924"/>
                    <a:pt x="59579" y="16430"/>
                    <a:pt x="56592" y="16430"/>
                  </a:cubicBezTo>
                  <a:cubicBezTo>
                    <a:pt x="53605" y="14936"/>
                    <a:pt x="50618" y="14936"/>
                    <a:pt x="49124" y="13443"/>
                  </a:cubicBezTo>
                  <a:cubicBezTo>
                    <a:pt x="43149" y="11949"/>
                    <a:pt x="37175" y="14936"/>
                    <a:pt x="29707" y="16430"/>
                  </a:cubicBezTo>
                  <a:cubicBezTo>
                    <a:pt x="23732" y="16430"/>
                    <a:pt x="17758" y="14936"/>
                    <a:pt x="11783" y="13443"/>
                  </a:cubicBezTo>
                  <a:cubicBezTo>
                    <a:pt x="8796" y="11949"/>
                    <a:pt x="4315" y="10455"/>
                    <a:pt x="1328" y="8962"/>
                  </a:cubicBezTo>
                  <a:cubicBezTo>
                    <a:pt x="-1660" y="7468"/>
                    <a:pt x="1328" y="2987"/>
                    <a:pt x="1328" y="0"/>
                  </a:cubicBezTo>
                  <a:cubicBezTo>
                    <a:pt x="11783" y="0"/>
                    <a:pt x="17758" y="0"/>
                    <a:pt x="29707" y="0"/>
                  </a:cubicBezTo>
                  <a:cubicBezTo>
                    <a:pt x="32694" y="0"/>
                    <a:pt x="35681" y="0"/>
                    <a:pt x="38669" y="0"/>
                  </a:cubicBezTo>
                  <a:cubicBezTo>
                    <a:pt x="43149" y="0"/>
                    <a:pt x="46137" y="1493"/>
                    <a:pt x="49124" y="298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6" name="任意多边形: 形状 10485"/>
            <p:cNvSpPr/>
            <p:nvPr/>
          </p:nvSpPr>
          <p:spPr>
            <a:xfrm>
              <a:off x="4737387" y="3493670"/>
              <a:ext cx="164300" cy="253918"/>
            </a:xfrm>
            <a:custGeom>
              <a:avLst/>
              <a:gdLst>
                <a:gd name="connsiteX0" fmla="*/ 164300 w 164299"/>
                <a:gd name="connsiteY0" fmla="*/ 149363 h 253917"/>
                <a:gd name="connsiteX1" fmla="*/ 156832 w 164299"/>
                <a:gd name="connsiteY1" fmla="*/ 158325 h 253917"/>
                <a:gd name="connsiteX2" fmla="*/ 153844 w 164299"/>
                <a:gd name="connsiteY2" fmla="*/ 171768 h 253917"/>
                <a:gd name="connsiteX3" fmla="*/ 153844 w 164299"/>
                <a:gd name="connsiteY3" fmla="*/ 207615 h 253917"/>
                <a:gd name="connsiteX4" fmla="*/ 153844 w 164299"/>
                <a:gd name="connsiteY4" fmla="*/ 210602 h 253917"/>
                <a:gd name="connsiteX5" fmla="*/ 149363 w 164299"/>
                <a:gd name="connsiteY5" fmla="*/ 237488 h 253917"/>
                <a:gd name="connsiteX6" fmla="*/ 141895 w 164299"/>
                <a:gd name="connsiteY6" fmla="*/ 246450 h 253917"/>
                <a:gd name="connsiteX7" fmla="*/ 71694 w 164299"/>
                <a:gd name="connsiteY7" fmla="*/ 267360 h 253917"/>
                <a:gd name="connsiteX8" fmla="*/ 47796 w 164299"/>
                <a:gd name="connsiteY8" fmla="*/ 252424 h 253917"/>
                <a:gd name="connsiteX9" fmla="*/ 44809 w 164299"/>
                <a:gd name="connsiteY9" fmla="*/ 238981 h 253917"/>
                <a:gd name="connsiteX10" fmla="*/ 44809 w 164299"/>
                <a:gd name="connsiteY10" fmla="*/ 230020 h 253917"/>
                <a:gd name="connsiteX11" fmla="*/ 44809 w 164299"/>
                <a:gd name="connsiteY11" fmla="*/ 227032 h 253917"/>
                <a:gd name="connsiteX12" fmla="*/ 23898 w 164299"/>
                <a:gd name="connsiteY12" fmla="*/ 164300 h 253917"/>
                <a:gd name="connsiteX13" fmla="*/ 22405 w 164299"/>
                <a:gd name="connsiteY13" fmla="*/ 162806 h 253917"/>
                <a:gd name="connsiteX14" fmla="*/ 0 w 164299"/>
                <a:gd name="connsiteY14" fmla="*/ 106048 h 253917"/>
                <a:gd name="connsiteX15" fmla="*/ 83644 w 164299"/>
                <a:gd name="connsiteY15" fmla="*/ 10455 h 253917"/>
                <a:gd name="connsiteX16" fmla="*/ 117997 w 164299"/>
                <a:gd name="connsiteY16" fmla="*/ 0 h 253917"/>
                <a:gd name="connsiteX17" fmla="*/ 149363 w 164299"/>
                <a:gd name="connsiteY17" fmla="*/ 14936 h 253917"/>
                <a:gd name="connsiteX18" fmla="*/ 156832 w 164299"/>
                <a:gd name="connsiteY18" fmla="*/ 58252 h 253917"/>
                <a:gd name="connsiteX19" fmla="*/ 176249 w 164299"/>
                <a:gd name="connsiteY19" fmla="*/ 95593 h 253917"/>
                <a:gd name="connsiteX20" fmla="*/ 164300 w 164299"/>
                <a:gd name="connsiteY20" fmla="*/ 149363 h 253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64299" h="253917">
                  <a:moveTo>
                    <a:pt x="164300" y="149363"/>
                  </a:moveTo>
                  <a:cubicBezTo>
                    <a:pt x="161312" y="152351"/>
                    <a:pt x="158325" y="155338"/>
                    <a:pt x="156832" y="158325"/>
                  </a:cubicBezTo>
                  <a:cubicBezTo>
                    <a:pt x="153844" y="162806"/>
                    <a:pt x="153844" y="167287"/>
                    <a:pt x="153844" y="171768"/>
                  </a:cubicBezTo>
                  <a:cubicBezTo>
                    <a:pt x="153844" y="183717"/>
                    <a:pt x="152351" y="195666"/>
                    <a:pt x="153844" y="207615"/>
                  </a:cubicBezTo>
                  <a:cubicBezTo>
                    <a:pt x="153844" y="209109"/>
                    <a:pt x="153844" y="210602"/>
                    <a:pt x="153844" y="210602"/>
                  </a:cubicBezTo>
                  <a:cubicBezTo>
                    <a:pt x="153844" y="219564"/>
                    <a:pt x="153844" y="230020"/>
                    <a:pt x="149363" y="237488"/>
                  </a:cubicBezTo>
                  <a:cubicBezTo>
                    <a:pt x="147870" y="240475"/>
                    <a:pt x="144882" y="243462"/>
                    <a:pt x="141895" y="246450"/>
                  </a:cubicBezTo>
                  <a:cubicBezTo>
                    <a:pt x="123972" y="264373"/>
                    <a:pt x="97086" y="271841"/>
                    <a:pt x="71694" y="267360"/>
                  </a:cubicBezTo>
                  <a:cubicBezTo>
                    <a:pt x="62733" y="265867"/>
                    <a:pt x="52277" y="261386"/>
                    <a:pt x="47796" y="252424"/>
                  </a:cubicBezTo>
                  <a:cubicBezTo>
                    <a:pt x="44809" y="247943"/>
                    <a:pt x="44809" y="243462"/>
                    <a:pt x="44809" y="238981"/>
                  </a:cubicBezTo>
                  <a:cubicBezTo>
                    <a:pt x="44809" y="235994"/>
                    <a:pt x="44809" y="233007"/>
                    <a:pt x="44809" y="230020"/>
                  </a:cubicBezTo>
                  <a:cubicBezTo>
                    <a:pt x="44809" y="228526"/>
                    <a:pt x="44809" y="228526"/>
                    <a:pt x="44809" y="227032"/>
                  </a:cubicBezTo>
                  <a:cubicBezTo>
                    <a:pt x="43315" y="204628"/>
                    <a:pt x="35847" y="183717"/>
                    <a:pt x="23898" y="164300"/>
                  </a:cubicBezTo>
                  <a:cubicBezTo>
                    <a:pt x="23898" y="164300"/>
                    <a:pt x="23898" y="162806"/>
                    <a:pt x="22405" y="162806"/>
                  </a:cubicBezTo>
                  <a:cubicBezTo>
                    <a:pt x="13443" y="149363"/>
                    <a:pt x="0" y="120984"/>
                    <a:pt x="0" y="106048"/>
                  </a:cubicBezTo>
                  <a:cubicBezTo>
                    <a:pt x="0" y="68707"/>
                    <a:pt x="74682" y="14936"/>
                    <a:pt x="83644" y="10455"/>
                  </a:cubicBezTo>
                  <a:cubicBezTo>
                    <a:pt x="95593" y="5974"/>
                    <a:pt x="106048" y="0"/>
                    <a:pt x="117997" y="0"/>
                  </a:cubicBezTo>
                  <a:cubicBezTo>
                    <a:pt x="129946" y="0"/>
                    <a:pt x="143389" y="4481"/>
                    <a:pt x="149363" y="14936"/>
                  </a:cubicBezTo>
                  <a:cubicBezTo>
                    <a:pt x="156832" y="28379"/>
                    <a:pt x="152351" y="44809"/>
                    <a:pt x="156832" y="58252"/>
                  </a:cubicBezTo>
                  <a:cubicBezTo>
                    <a:pt x="159819" y="71694"/>
                    <a:pt x="170274" y="83643"/>
                    <a:pt x="176249" y="95593"/>
                  </a:cubicBezTo>
                  <a:cubicBezTo>
                    <a:pt x="180730" y="115010"/>
                    <a:pt x="176249" y="135921"/>
                    <a:pt x="164300" y="149363"/>
                  </a:cubicBezTo>
                  <a:close/>
                </a:path>
              </a:pathLst>
            </a:custGeom>
            <a:solidFill>
              <a:srgbClr val="F392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7" name="任意多边形: 形状 10486"/>
            <p:cNvSpPr/>
            <p:nvPr/>
          </p:nvSpPr>
          <p:spPr>
            <a:xfrm>
              <a:off x="4791158" y="3510100"/>
              <a:ext cx="59745" cy="29873"/>
            </a:xfrm>
            <a:custGeom>
              <a:avLst/>
              <a:gdLst>
                <a:gd name="connsiteX0" fmla="*/ 61239 w 59745"/>
                <a:gd name="connsiteY0" fmla="*/ 14936 h 29872"/>
                <a:gd name="connsiteX1" fmla="*/ 61239 w 59745"/>
                <a:gd name="connsiteY1" fmla="*/ 17924 h 29872"/>
                <a:gd name="connsiteX2" fmla="*/ 59745 w 59745"/>
                <a:gd name="connsiteY2" fmla="*/ 20911 h 29872"/>
                <a:gd name="connsiteX3" fmla="*/ 52277 w 59745"/>
                <a:gd name="connsiteY3" fmla="*/ 28379 h 29872"/>
                <a:gd name="connsiteX4" fmla="*/ 8962 w 59745"/>
                <a:gd name="connsiteY4" fmla="*/ 28379 h 29872"/>
                <a:gd name="connsiteX5" fmla="*/ 0 w 59745"/>
                <a:gd name="connsiteY5" fmla="*/ 16430 h 29872"/>
                <a:gd name="connsiteX6" fmla="*/ 8962 w 59745"/>
                <a:gd name="connsiteY6" fmla="*/ 4481 h 29872"/>
                <a:gd name="connsiteX7" fmla="*/ 17924 w 59745"/>
                <a:gd name="connsiteY7" fmla="*/ 1494 h 29872"/>
                <a:gd name="connsiteX8" fmla="*/ 22405 w 59745"/>
                <a:gd name="connsiteY8" fmla="*/ 0 h 29872"/>
                <a:gd name="connsiteX9" fmla="*/ 23898 w 59745"/>
                <a:gd name="connsiteY9" fmla="*/ 0 h 29872"/>
                <a:gd name="connsiteX10" fmla="*/ 31366 w 59745"/>
                <a:gd name="connsiteY10" fmla="*/ 0 h 29872"/>
                <a:gd name="connsiteX11" fmla="*/ 52277 w 59745"/>
                <a:gd name="connsiteY11" fmla="*/ 4481 h 29872"/>
                <a:gd name="connsiteX12" fmla="*/ 56758 w 59745"/>
                <a:gd name="connsiteY12" fmla="*/ 8962 h 29872"/>
                <a:gd name="connsiteX13" fmla="*/ 56758 w 59745"/>
                <a:gd name="connsiteY13" fmla="*/ 8962 h 29872"/>
                <a:gd name="connsiteX14" fmla="*/ 59745 w 59745"/>
                <a:gd name="connsiteY14" fmla="*/ 13443 h 29872"/>
                <a:gd name="connsiteX15" fmla="*/ 61239 w 59745"/>
                <a:gd name="connsiteY15" fmla="*/ 14936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745" h="29872">
                  <a:moveTo>
                    <a:pt x="61239" y="14936"/>
                  </a:moveTo>
                  <a:cubicBezTo>
                    <a:pt x="61239" y="16430"/>
                    <a:pt x="61239" y="16430"/>
                    <a:pt x="61239" y="17924"/>
                  </a:cubicBezTo>
                  <a:cubicBezTo>
                    <a:pt x="61239" y="19417"/>
                    <a:pt x="61239" y="19417"/>
                    <a:pt x="59745" y="20911"/>
                  </a:cubicBezTo>
                  <a:cubicBezTo>
                    <a:pt x="58252" y="23898"/>
                    <a:pt x="55264" y="25392"/>
                    <a:pt x="52277" y="28379"/>
                  </a:cubicBezTo>
                  <a:cubicBezTo>
                    <a:pt x="40328" y="35847"/>
                    <a:pt x="20911" y="35847"/>
                    <a:pt x="8962" y="28379"/>
                  </a:cubicBezTo>
                  <a:cubicBezTo>
                    <a:pt x="2987" y="25392"/>
                    <a:pt x="0" y="20911"/>
                    <a:pt x="0" y="16430"/>
                  </a:cubicBezTo>
                  <a:cubicBezTo>
                    <a:pt x="0" y="11949"/>
                    <a:pt x="2987" y="7468"/>
                    <a:pt x="8962" y="4481"/>
                  </a:cubicBezTo>
                  <a:cubicBezTo>
                    <a:pt x="11949" y="2987"/>
                    <a:pt x="14936" y="1494"/>
                    <a:pt x="17924" y="1494"/>
                  </a:cubicBezTo>
                  <a:cubicBezTo>
                    <a:pt x="19417" y="1494"/>
                    <a:pt x="20911" y="1494"/>
                    <a:pt x="22405" y="0"/>
                  </a:cubicBezTo>
                  <a:cubicBezTo>
                    <a:pt x="22405" y="0"/>
                    <a:pt x="23898" y="0"/>
                    <a:pt x="23898" y="0"/>
                  </a:cubicBezTo>
                  <a:cubicBezTo>
                    <a:pt x="26885" y="0"/>
                    <a:pt x="29873" y="0"/>
                    <a:pt x="31366" y="0"/>
                  </a:cubicBezTo>
                  <a:cubicBezTo>
                    <a:pt x="38834" y="0"/>
                    <a:pt x="46303" y="1494"/>
                    <a:pt x="52277" y="4481"/>
                  </a:cubicBezTo>
                  <a:cubicBezTo>
                    <a:pt x="53771" y="5975"/>
                    <a:pt x="55264" y="7468"/>
                    <a:pt x="56758" y="8962"/>
                  </a:cubicBezTo>
                  <a:cubicBezTo>
                    <a:pt x="56758" y="8962"/>
                    <a:pt x="56758" y="8962"/>
                    <a:pt x="56758" y="8962"/>
                  </a:cubicBezTo>
                  <a:cubicBezTo>
                    <a:pt x="58252" y="10455"/>
                    <a:pt x="58252" y="11949"/>
                    <a:pt x="59745" y="13443"/>
                  </a:cubicBezTo>
                  <a:cubicBezTo>
                    <a:pt x="61239" y="11949"/>
                    <a:pt x="61239" y="13443"/>
                    <a:pt x="61239" y="14936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8" name="任意多边形: 形状 10487"/>
            <p:cNvSpPr/>
            <p:nvPr/>
          </p:nvSpPr>
          <p:spPr>
            <a:xfrm>
              <a:off x="4791158" y="3433924"/>
              <a:ext cx="59745" cy="89618"/>
            </a:xfrm>
            <a:custGeom>
              <a:avLst/>
              <a:gdLst>
                <a:gd name="connsiteX0" fmla="*/ 0 w 59745"/>
                <a:gd name="connsiteY0" fmla="*/ 0 h 89618"/>
                <a:gd name="connsiteX1" fmla="*/ 61239 w 59745"/>
                <a:gd name="connsiteY1" fmla="*/ 0 h 89618"/>
                <a:gd name="connsiteX2" fmla="*/ 61239 w 59745"/>
                <a:gd name="connsiteY2" fmla="*/ 91112 h 89618"/>
                <a:gd name="connsiteX3" fmla="*/ 0 w 59745"/>
                <a:gd name="connsiteY3" fmla="*/ 91112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89618">
                  <a:moveTo>
                    <a:pt x="0" y="0"/>
                  </a:moveTo>
                  <a:lnTo>
                    <a:pt x="61239" y="0"/>
                  </a:lnTo>
                  <a:lnTo>
                    <a:pt x="61239" y="91112"/>
                  </a:lnTo>
                  <a:lnTo>
                    <a:pt x="0" y="91112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9" name="任意多边形: 形状 10488"/>
            <p:cNvSpPr/>
            <p:nvPr/>
          </p:nvSpPr>
          <p:spPr>
            <a:xfrm>
              <a:off x="4803107" y="3438405"/>
              <a:ext cx="44809" cy="89618"/>
            </a:xfrm>
            <a:custGeom>
              <a:avLst/>
              <a:gdLst>
                <a:gd name="connsiteX0" fmla="*/ 49290 w 44809"/>
                <a:gd name="connsiteY0" fmla="*/ 77669 h 89618"/>
                <a:gd name="connsiteX1" fmla="*/ 49290 w 44809"/>
                <a:gd name="connsiteY1" fmla="*/ 86631 h 89618"/>
                <a:gd name="connsiteX2" fmla="*/ 49290 w 44809"/>
                <a:gd name="connsiteY2" fmla="*/ 89618 h 89618"/>
                <a:gd name="connsiteX3" fmla="*/ 32860 w 44809"/>
                <a:gd name="connsiteY3" fmla="*/ 86631 h 89618"/>
                <a:gd name="connsiteX4" fmla="*/ 16430 w 44809"/>
                <a:gd name="connsiteY4" fmla="*/ 74682 h 89618"/>
                <a:gd name="connsiteX5" fmla="*/ 11949 w 44809"/>
                <a:gd name="connsiteY5" fmla="*/ 68707 h 89618"/>
                <a:gd name="connsiteX6" fmla="*/ 8962 w 44809"/>
                <a:gd name="connsiteY6" fmla="*/ 62733 h 89618"/>
                <a:gd name="connsiteX7" fmla="*/ 2987 w 44809"/>
                <a:gd name="connsiteY7" fmla="*/ 47796 h 89618"/>
                <a:gd name="connsiteX8" fmla="*/ 0 w 44809"/>
                <a:gd name="connsiteY8" fmla="*/ 17924 h 89618"/>
                <a:gd name="connsiteX9" fmla="*/ 0 w 44809"/>
                <a:gd name="connsiteY9" fmla="*/ 0 h 89618"/>
                <a:gd name="connsiteX10" fmla="*/ 0 w 44809"/>
                <a:gd name="connsiteY10" fmla="*/ 7468 h 89618"/>
                <a:gd name="connsiteX11" fmla="*/ 2987 w 44809"/>
                <a:gd name="connsiteY11" fmla="*/ 37341 h 89618"/>
                <a:gd name="connsiteX12" fmla="*/ 14936 w 44809"/>
                <a:gd name="connsiteY12" fmla="*/ 62733 h 89618"/>
                <a:gd name="connsiteX13" fmla="*/ 16430 w 44809"/>
                <a:gd name="connsiteY13" fmla="*/ 64226 h 89618"/>
                <a:gd name="connsiteX14" fmla="*/ 20911 w 44809"/>
                <a:gd name="connsiteY14" fmla="*/ 68707 h 89618"/>
                <a:gd name="connsiteX15" fmla="*/ 46303 w 44809"/>
                <a:gd name="connsiteY15" fmla="*/ 77669 h 89618"/>
                <a:gd name="connsiteX16" fmla="*/ 49290 w 44809"/>
                <a:gd name="connsiteY16" fmla="*/ 77669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4809" h="89618">
                  <a:moveTo>
                    <a:pt x="49290" y="77669"/>
                  </a:moveTo>
                  <a:lnTo>
                    <a:pt x="49290" y="86631"/>
                  </a:lnTo>
                  <a:cubicBezTo>
                    <a:pt x="49290" y="88125"/>
                    <a:pt x="49290" y="88125"/>
                    <a:pt x="49290" y="89618"/>
                  </a:cubicBezTo>
                  <a:cubicBezTo>
                    <a:pt x="43315" y="89618"/>
                    <a:pt x="37341" y="89618"/>
                    <a:pt x="32860" y="86631"/>
                  </a:cubicBezTo>
                  <a:cubicBezTo>
                    <a:pt x="26885" y="83644"/>
                    <a:pt x="20911" y="80656"/>
                    <a:pt x="16430" y="74682"/>
                  </a:cubicBezTo>
                  <a:cubicBezTo>
                    <a:pt x="14936" y="73188"/>
                    <a:pt x="13443" y="71694"/>
                    <a:pt x="11949" y="68707"/>
                  </a:cubicBezTo>
                  <a:cubicBezTo>
                    <a:pt x="10456" y="67214"/>
                    <a:pt x="8962" y="65720"/>
                    <a:pt x="8962" y="62733"/>
                  </a:cubicBezTo>
                  <a:cubicBezTo>
                    <a:pt x="5975" y="58252"/>
                    <a:pt x="4481" y="52277"/>
                    <a:pt x="2987" y="47796"/>
                  </a:cubicBezTo>
                  <a:cubicBezTo>
                    <a:pt x="0" y="37341"/>
                    <a:pt x="0" y="28379"/>
                    <a:pt x="0" y="17924"/>
                  </a:cubicBezTo>
                  <a:cubicBezTo>
                    <a:pt x="0" y="13443"/>
                    <a:pt x="0" y="5975"/>
                    <a:pt x="0" y="0"/>
                  </a:cubicBezTo>
                  <a:cubicBezTo>
                    <a:pt x="0" y="2987"/>
                    <a:pt x="0" y="4481"/>
                    <a:pt x="0" y="7468"/>
                  </a:cubicBezTo>
                  <a:cubicBezTo>
                    <a:pt x="0" y="17924"/>
                    <a:pt x="1494" y="28379"/>
                    <a:pt x="2987" y="37341"/>
                  </a:cubicBezTo>
                  <a:cubicBezTo>
                    <a:pt x="4481" y="46303"/>
                    <a:pt x="8962" y="55265"/>
                    <a:pt x="14936" y="62733"/>
                  </a:cubicBezTo>
                  <a:cubicBezTo>
                    <a:pt x="14936" y="62733"/>
                    <a:pt x="16430" y="64226"/>
                    <a:pt x="16430" y="64226"/>
                  </a:cubicBezTo>
                  <a:cubicBezTo>
                    <a:pt x="17924" y="65720"/>
                    <a:pt x="19417" y="67214"/>
                    <a:pt x="20911" y="68707"/>
                  </a:cubicBezTo>
                  <a:cubicBezTo>
                    <a:pt x="26885" y="73188"/>
                    <a:pt x="37341" y="76175"/>
                    <a:pt x="46303" y="77669"/>
                  </a:cubicBezTo>
                  <a:cubicBezTo>
                    <a:pt x="47796" y="77669"/>
                    <a:pt x="47796" y="77669"/>
                    <a:pt x="49290" y="77669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0" name="任意多边形: 形状 10489"/>
            <p:cNvSpPr/>
            <p:nvPr/>
          </p:nvSpPr>
          <p:spPr>
            <a:xfrm>
              <a:off x="4794207" y="3388735"/>
              <a:ext cx="74682" cy="119491"/>
            </a:xfrm>
            <a:custGeom>
              <a:avLst/>
              <a:gdLst>
                <a:gd name="connsiteX0" fmla="*/ 4419 w 74681"/>
                <a:gd name="connsiteY0" fmla="*/ 66100 h 119490"/>
                <a:gd name="connsiteX1" fmla="*/ 10394 w 74681"/>
                <a:gd name="connsiteY1" fmla="*/ 92986 h 119490"/>
                <a:gd name="connsiteX2" fmla="*/ 62671 w 74681"/>
                <a:gd name="connsiteY2" fmla="*/ 130327 h 119490"/>
                <a:gd name="connsiteX3" fmla="*/ 85075 w 74681"/>
                <a:gd name="connsiteY3" fmla="*/ 31747 h 119490"/>
                <a:gd name="connsiteX4" fmla="*/ 83582 w 74681"/>
                <a:gd name="connsiteY4" fmla="*/ 19798 h 119490"/>
                <a:gd name="connsiteX5" fmla="*/ 59683 w 74681"/>
                <a:gd name="connsiteY5" fmla="*/ 381 h 119490"/>
                <a:gd name="connsiteX6" fmla="*/ 23836 w 74681"/>
                <a:gd name="connsiteY6" fmla="*/ 7849 h 119490"/>
                <a:gd name="connsiteX7" fmla="*/ 14874 w 74681"/>
                <a:gd name="connsiteY7" fmla="*/ 12330 h 119490"/>
                <a:gd name="connsiteX8" fmla="*/ 1432 w 74681"/>
                <a:gd name="connsiteY8" fmla="*/ 12330 h 119490"/>
                <a:gd name="connsiteX9" fmla="*/ 4419 w 74681"/>
                <a:gd name="connsiteY9" fmla="*/ 66100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681" h="119490">
                  <a:moveTo>
                    <a:pt x="4419" y="66100"/>
                  </a:moveTo>
                  <a:cubicBezTo>
                    <a:pt x="4419" y="75062"/>
                    <a:pt x="8900" y="84024"/>
                    <a:pt x="10394" y="92986"/>
                  </a:cubicBezTo>
                  <a:cubicBezTo>
                    <a:pt x="17862" y="124352"/>
                    <a:pt x="47734" y="134808"/>
                    <a:pt x="62671" y="130327"/>
                  </a:cubicBezTo>
                  <a:cubicBezTo>
                    <a:pt x="82088" y="122859"/>
                    <a:pt x="86569" y="58632"/>
                    <a:pt x="85075" y="31747"/>
                  </a:cubicBezTo>
                  <a:cubicBezTo>
                    <a:pt x="85075" y="27266"/>
                    <a:pt x="85075" y="24279"/>
                    <a:pt x="83582" y="19798"/>
                  </a:cubicBezTo>
                  <a:cubicBezTo>
                    <a:pt x="79101" y="7849"/>
                    <a:pt x="71633" y="1874"/>
                    <a:pt x="59683" y="381"/>
                  </a:cubicBezTo>
                  <a:cubicBezTo>
                    <a:pt x="47734" y="-1113"/>
                    <a:pt x="34292" y="1874"/>
                    <a:pt x="23836" y="7849"/>
                  </a:cubicBezTo>
                  <a:cubicBezTo>
                    <a:pt x="20849" y="9342"/>
                    <a:pt x="17862" y="10836"/>
                    <a:pt x="14874" y="12330"/>
                  </a:cubicBezTo>
                  <a:cubicBezTo>
                    <a:pt x="11887" y="13823"/>
                    <a:pt x="2925" y="10836"/>
                    <a:pt x="1432" y="12330"/>
                  </a:cubicBezTo>
                  <a:cubicBezTo>
                    <a:pt x="-3049" y="15317"/>
                    <a:pt x="4419" y="51164"/>
                    <a:pt x="4419" y="6610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1" name="任意多边形: 形状 10490"/>
            <p:cNvSpPr/>
            <p:nvPr/>
          </p:nvSpPr>
          <p:spPr>
            <a:xfrm>
              <a:off x="4765199" y="3368442"/>
              <a:ext cx="104554" cy="119491"/>
            </a:xfrm>
            <a:custGeom>
              <a:avLst/>
              <a:gdLst>
                <a:gd name="connsiteX0" fmla="*/ 34921 w 104554"/>
                <a:gd name="connsiteY0" fmla="*/ 5737 h 119490"/>
                <a:gd name="connsiteX1" fmla="*/ 3555 w 104554"/>
                <a:gd name="connsiteY1" fmla="*/ 38597 h 119490"/>
                <a:gd name="connsiteX2" fmla="*/ 27453 w 104554"/>
                <a:gd name="connsiteY2" fmla="*/ 125228 h 119490"/>
                <a:gd name="connsiteX3" fmla="*/ 27453 w 104554"/>
                <a:gd name="connsiteY3" fmla="*/ 99836 h 119490"/>
                <a:gd name="connsiteX4" fmla="*/ 36414 w 104554"/>
                <a:gd name="connsiteY4" fmla="*/ 65482 h 119490"/>
                <a:gd name="connsiteX5" fmla="*/ 114083 w 104554"/>
                <a:gd name="connsiteY5" fmla="*/ 46065 h 119490"/>
                <a:gd name="connsiteX6" fmla="*/ 34921 w 104554"/>
                <a:gd name="connsiteY6" fmla="*/ 5737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554" h="119490">
                  <a:moveTo>
                    <a:pt x="34921" y="5737"/>
                  </a:moveTo>
                  <a:cubicBezTo>
                    <a:pt x="21478" y="10218"/>
                    <a:pt x="6542" y="26648"/>
                    <a:pt x="3555" y="38597"/>
                  </a:cubicBezTo>
                  <a:cubicBezTo>
                    <a:pt x="-9888" y="89380"/>
                    <a:pt x="18491" y="120747"/>
                    <a:pt x="27453" y="125228"/>
                  </a:cubicBezTo>
                  <a:cubicBezTo>
                    <a:pt x="27453" y="108798"/>
                    <a:pt x="28946" y="102823"/>
                    <a:pt x="27453" y="99836"/>
                  </a:cubicBezTo>
                  <a:cubicBezTo>
                    <a:pt x="27453" y="96848"/>
                    <a:pt x="31934" y="84899"/>
                    <a:pt x="36414" y="65482"/>
                  </a:cubicBezTo>
                  <a:cubicBezTo>
                    <a:pt x="48364" y="32622"/>
                    <a:pt x="111096" y="14699"/>
                    <a:pt x="114083" y="46065"/>
                  </a:cubicBezTo>
                  <a:cubicBezTo>
                    <a:pt x="112590" y="47558"/>
                    <a:pt x="108109" y="-19655"/>
                    <a:pt x="34921" y="5737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2" name="任意多边形: 形状 10491"/>
            <p:cNvSpPr/>
            <p:nvPr/>
          </p:nvSpPr>
          <p:spPr>
            <a:xfrm>
              <a:off x="4785183" y="3442886"/>
              <a:ext cx="14936" cy="29873"/>
            </a:xfrm>
            <a:custGeom>
              <a:avLst/>
              <a:gdLst>
                <a:gd name="connsiteX0" fmla="*/ 5975 w 14936"/>
                <a:gd name="connsiteY0" fmla="*/ 0 h 29872"/>
                <a:gd name="connsiteX1" fmla="*/ 14936 w 14936"/>
                <a:gd name="connsiteY1" fmla="*/ 4481 h 29872"/>
                <a:gd name="connsiteX2" fmla="*/ 17924 w 14936"/>
                <a:gd name="connsiteY2" fmla="*/ 14936 h 29872"/>
                <a:gd name="connsiteX3" fmla="*/ 17924 w 14936"/>
                <a:gd name="connsiteY3" fmla="*/ 28379 h 29872"/>
                <a:gd name="connsiteX4" fmla="*/ 14936 w 14936"/>
                <a:gd name="connsiteY4" fmla="*/ 31366 h 29872"/>
                <a:gd name="connsiteX5" fmla="*/ 7468 w 14936"/>
                <a:gd name="connsiteY5" fmla="*/ 29873 h 29872"/>
                <a:gd name="connsiteX6" fmla="*/ 4481 w 14936"/>
                <a:gd name="connsiteY6" fmla="*/ 25392 h 29872"/>
                <a:gd name="connsiteX7" fmla="*/ 0 w 14936"/>
                <a:gd name="connsiteY7" fmla="*/ 10455 h 29872"/>
                <a:gd name="connsiteX8" fmla="*/ 0 w 14936"/>
                <a:gd name="connsiteY8" fmla="*/ 4481 h 29872"/>
                <a:gd name="connsiteX9" fmla="*/ 5975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5975" y="0"/>
                  </a:moveTo>
                  <a:cubicBezTo>
                    <a:pt x="10455" y="0"/>
                    <a:pt x="13443" y="1494"/>
                    <a:pt x="14936" y="4481"/>
                  </a:cubicBezTo>
                  <a:cubicBezTo>
                    <a:pt x="16430" y="7468"/>
                    <a:pt x="17924" y="11949"/>
                    <a:pt x="17924" y="14936"/>
                  </a:cubicBezTo>
                  <a:cubicBezTo>
                    <a:pt x="17924" y="19417"/>
                    <a:pt x="19417" y="23898"/>
                    <a:pt x="17924" y="28379"/>
                  </a:cubicBezTo>
                  <a:cubicBezTo>
                    <a:pt x="17924" y="29873"/>
                    <a:pt x="16430" y="31366"/>
                    <a:pt x="14936" y="31366"/>
                  </a:cubicBezTo>
                  <a:cubicBezTo>
                    <a:pt x="13443" y="32860"/>
                    <a:pt x="10455" y="31366"/>
                    <a:pt x="7468" y="29873"/>
                  </a:cubicBezTo>
                  <a:cubicBezTo>
                    <a:pt x="5975" y="28379"/>
                    <a:pt x="4481" y="26885"/>
                    <a:pt x="4481" y="25392"/>
                  </a:cubicBezTo>
                  <a:cubicBezTo>
                    <a:pt x="2987" y="20911"/>
                    <a:pt x="0" y="14936"/>
                    <a:pt x="0" y="10455"/>
                  </a:cubicBezTo>
                  <a:cubicBezTo>
                    <a:pt x="0" y="8962"/>
                    <a:pt x="0" y="5975"/>
                    <a:pt x="0" y="4481"/>
                  </a:cubicBezTo>
                  <a:cubicBezTo>
                    <a:pt x="0" y="2987"/>
                    <a:pt x="2987" y="0"/>
                    <a:pt x="5975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3" name="任意多边形: 形状 10492"/>
            <p:cNvSpPr/>
            <p:nvPr/>
          </p:nvSpPr>
          <p:spPr>
            <a:xfrm>
              <a:off x="4797132" y="3635565"/>
              <a:ext cx="59745" cy="29873"/>
            </a:xfrm>
            <a:custGeom>
              <a:avLst/>
              <a:gdLst>
                <a:gd name="connsiteX0" fmla="*/ 50783 w 59745"/>
                <a:gd name="connsiteY0" fmla="*/ 38834 h 29872"/>
                <a:gd name="connsiteX1" fmla="*/ 14936 w 59745"/>
                <a:gd name="connsiteY1" fmla="*/ 32860 h 29872"/>
                <a:gd name="connsiteX2" fmla="*/ 0 w 59745"/>
                <a:gd name="connsiteY2" fmla="*/ 0 h 29872"/>
                <a:gd name="connsiteX3" fmla="*/ 28379 w 59745"/>
                <a:gd name="connsiteY3" fmla="*/ 29873 h 29872"/>
                <a:gd name="connsiteX4" fmla="*/ 68707 w 59745"/>
                <a:gd name="connsiteY4" fmla="*/ 25392 h 29872"/>
                <a:gd name="connsiteX5" fmla="*/ 50783 w 59745"/>
                <a:gd name="connsiteY5" fmla="*/ 38834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745" h="29872">
                  <a:moveTo>
                    <a:pt x="50783" y="38834"/>
                  </a:moveTo>
                  <a:cubicBezTo>
                    <a:pt x="38834" y="43315"/>
                    <a:pt x="25392" y="40328"/>
                    <a:pt x="14936" y="32860"/>
                  </a:cubicBezTo>
                  <a:cubicBezTo>
                    <a:pt x="4481" y="25392"/>
                    <a:pt x="0" y="11949"/>
                    <a:pt x="0" y="0"/>
                  </a:cubicBezTo>
                  <a:cubicBezTo>
                    <a:pt x="5974" y="13443"/>
                    <a:pt x="14936" y="23898"/>
                    <a:pt x="28379" y="29873"/>
                  </a:cubicBezTo>
                  <a:cubicBezTo>
                    <a:pt x="41822" y="34353"/>
                    <a:pt x="56758" y="34353"/>
                    <a:pt x="68707" y="25392"/>
                  </a:cubicBezTo>
                  <a:cubicBezTo>
                    <a:pt x="65720" y="29873"/>
                    <a:pt x="58252" y="35847"/>
                    <a:pt x="50783" y="38834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4" name="任意多边形: 形状 10493"/>
            <p:cNvSpPr/>
            <p:nvPr/>
          </p:nvSpPr>
          <p:spPr>
            <a:xfrm>
              <a:off x="4758298" y="3596730"/>
              <a:ext cx="14936" cy="134427"/>
            </a:xfrm>
            <a:custGeom>
              <a:avLst/>
              <a:gdLst>
                <a:gd name="connsiteX0" fmla="*/ 23898 w 14936"/>
                <a:gd name="connsiteY0" fmla="*/ 104554 h 134427"/>
                <a:gd name="connsiteX1" fmla="*/ 22405 w 14936"/>
                <a:gd name="connsiteY1" fmla="*/ 137414 h 134427"/>
                <a:gd name="connsiteX2" fmla="*/ 22405 w 14936"/>
                <a:gd name="connsiteY2" fmla="*/ 128453 h 134427"/>
                <a:gd name="connsiteX3" fmla="*/ 0 w 14936"/>
                <a:gd name="connsiteY3" fmla="*/ 62733 h 134427"/>
                <a:gd name="connsiteX4" fmla="*/ 1494 w 14936"/>
                <a:gd name="connsiteY4" fmla="*/ 55264 h 134427"/>
                <a:gd name="connsiteX5" fmla="*/ 20911 w 14936"/>
                <a:gd name="connsiteY5" fmla="*/ 0 h 134427"/>
                <a:gd name="connsiteX6" fmla="*/ 23898 w 14936"/>
                <a:gd name="connsiteY6" fmla="*/ 104554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36" h="134427">
                  <a:moveTo>
                    <a:pt x="23898" y="104554"/>
                  </a:moveTo>
                  <a:cubicBezTo>
                    <a:pt x="25392" y="115010"/>
                    <a:pt x="26885" y="126959"/>
                    <a:pt x="22405" y="137414"/>
                  </a:cubicBezTo>
                  <a:cubicBezTo>
                    <a:pt x="22405" y="134427"/>
                    <a:pt x="22405" y="131440"/>
                    <a:pt x="22405" y="128453"/>
                  </a:cubicBezTo>
                  <a:cubicBezTo>
                    <a:pt x="20911" y="104554"/>
                    <a:pt x="13443" y="82150"/>
                    <a:pt x="0" y="62733"/>
                  </a:cubicBezTo>
                  <a:cubicBezTo>
                    <a:pt x="0" y="59745"/>
                    <a:pt x="1494" y="56758"/>
                    <a:pt x="1494" y="55264"/>
                  </a:cubicBezTo>
                  <a:cubicBezTo>
                    <a:pt x="5975" y="35847"/>
                    <a:pt x="8962" y="16430"/>
                    <a:pt x="20911" y="0"/>
                  </a:cubicBezTo>
                  <a:cubicBezTo>
                    <a:pt x="32860" y="34354"/>
                    <a:pt x="20911" y="70201"/>
                    <a:pt x="23898" y="104554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5" name="任意多边形: 形状 10494"/>
            <p:cNvSpPr/>
            <p:nvPr/>
          </p:nvSpPr>
          <p:spPr>
            <a:xfrm>
              <a:off x="4722288" y="3693817"/>
              <a:ext cx="44809" cy="29873"/>
            </a:xfrm>
            <a:custGeom>
              <a:avLst/>
              <a:gdLst>
                <a:gd name="connsiteX0" fmla="*/ 1656 w 44809"/>
                <a:gd name="connsiteY0" fmla="*/ 0 h 29872"/>
                <a:gd name="connsiteX1" fmla="*/ 163 w 44809"/>
                <a:gd name="connsiteY1" fmla="*/ 8962 h 29872"/>
                <a:gd name="connsiteX2" fmla="*/ 19580 w 44809"/>
                <a:gd name="connsiteY2" fmla="*/ 34354 h 29872"/>
                <a:gd name="connsiteX3" fmla="*/ 19580 w 44809"/>
                <a:gd name="connsiteY3" fmla="*/ 34354 h 29872"/>
                <a:gd name="connsiteX4" fmla="*/ 44972 w 44809"/>
                <a:gd name="connsiteY4" fmla="*/ 14936 h 29872"/>
                <a:gd name="connsiteX5" fmla="*/ 46466 w 44809"/>
                <a:gd name="connsiteY5" fmla="*/ 7468 h 29872"/>
                <a:gd name="connsiteX6" fmla="*/ 1656 w 44809"/>
                <a:gd name="connsiteY6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09" h="29872">
                  <a:moveTo>
                    <a:pt x="1656" y="0"/>
                  </a:moveTo>
                  <a:lnTo>
                    <a:pt x="163" y="8962"/>
                  </a:lnTo>
                  <a:cubicBezTo>
                    <a:pt x="-1331" y="20911"/>
                    <a:pt x="7631" y="32860"/>
                    <a:pt x="19580" y="34354"/>
                  </a:cubicBezTo>
                  <a:lnTo>
                    <a:pt x="19580" y="34354"/>
                  </a:lnTo>
                  <a:cubicBezTo>
                    <a:pt x="31529" y="35847"/>
                    <a:pt x="43478" y="26885"/>
                    <a:pt x="44972" y="14936"/>
                  </a:cubicBezTo>
                  <a:lnTo>
                    <a:pt x="46466" y="7468"/>
                  </a:lnTo>
                  <a:cubicBezTo>
                    <a:pt x="31529" y="10455"/>
                    <a:pt x="15099" y="10455"/>
                    <a:pt x="1656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6" name="任意多边形: 形状 10495"/>
            <p:cNvSpPr/>
            <p:nvPr/>
          </p:nvSpPr>
          <p:spPr>
            <a:xfrm>
              <a:off x="4722451" y="3686348"/>
              <a:ext cx="44809" cy="164300"/>
            </a:xfrm>
            <a:custGeom>
              <a:avLst/>
              <a:gdLst>
                <a:gd name="connsiteX0" fmla="*/ 34354 w 44809"/>
                <a:gd name="connsiteY0" fmla="*/ 164300 h 164299"/>
                <a:gd name="connsiteX1" fmla="*/ 10455 w 44809"/>
                <a:gd name="connsiteY1" fmla="*/ 162806 h 164299"/>
                <a:gd name="connsiteX2" fmla="*/ 0 w 44809"/>
                <a:gd name="connsiteY2" fmla="*/ 23898 h 164299"/>
                <a:gd name="connsiteX3" fmla="*/ 22405 w 44809"/>
                <a:gd name="connsiteY3" fmla="*/ 0 h 164299"/>
                <a:gd name="connsiteX4" fmla="*/ 22405 w 44809"/>
                <a:gd name="connsiteY4" fmla="*/ 0 h 164299"/>
                <a:gd name="connsiteX5" fmla="*/ 46303 w 44809"/>
                <a:gd name="connsiteY5" fmla="*/ 22405 h 164299"/>
                <a:gd name="connsiteX6" fmla="*/ 34354 w 44809"/>
                <a:gd name="connsiteY6" fmla="*/ 164300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09" h="164299">
                  <a:moveTo>
                    <a:pt x="34354" y="164300"/>
                  </a:moveTo>
                  <a:lnTo>
                    <a:pt x="10455" y="162806"/>
                  </a:lnTo>
                  <a:lnTo>
                    <a:pt x="0" y="23898"/>
                  </a:lnTo>
                  <a:cubicBezTo>
                    <a:pt x="0" y="10455"/>
                    <a:pt x="8962" y="0"/>
                    <a:pt x="22405" y="0"/>
                  </a:cubicBezTo>
                  <a:lnTo>
                    <a:pt x="22405" y="0"/>
                  </a:lnTo>
                  <a:cubicBezTo>
                    <a:pt x="35847" y="0"/>
                    <a:pt x="46303" y="8962"/>
                    <a:pt x="46303" y="22405"/>
                  </a:cubicBezTo>
                  <a:lnTo>
                    <a:pt x="34354" y="164300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7" name="任意多边形: 形状 10496"/>
            <p:cNvSpPr/>
            <p:nvPr/>
          </p:nvSpPr>
          <p:spPr>
            <a:xfrm>
              <a:off x="4714982" y="3842164"/>
              <a:ext cx="29873" cy="89618"/>
            </a:xfrm>
            <a:custGeom>
              <a:avLst/>
              <a:gdLst>
                <a:gd name="connsiteX0" fmla="*/ 41822 w 29872"/>
                <a:gd name="connsiteY0" fmla="*/ 8484 h 89618"/>
                <a:gd name="connsiteX1" fmla="*/ 17924 w 29872"/>
                <a:gd name="connsiteY1" fmla="*/ 8484 h 89618"/>
                <a:gd name="connsiteX2" fmla="*/ 4481 w 29872"/>
                <a:gd name="connsiteY2" fmla="*/ 38357 h 89618"/>
                <a:gd name="connsiteX3" fmla="*/ 1494 w 29872"/>
                <a:gd name="connsiteY3" fmla="*/ 53293 h 89618"/>
                <a:gd name="connsiteX4" fmla="*/ 0 w 29872"/>
                <a:gd name="connsiteY4" fmla="*/ 72710 h 89618"/>
                <a:gd name="connsiteX5" fmla="*/ 0 w 29872"/>
                <a:gd name="connsiteY5" fmla="*/ 78685 h 89618"/>
                <a:gd name="connsiteX6" fmla="*/ 1494 w 29872"/>
                <a:gd name="connsiteY6" fmla="*/ 83166 h 89618"/>
                <a:gd name="connsiteX7" fmla="*/ 17924 w 29872"/>
                <a:gd name="connsiteY7" fmla="*/ 98102 h 89618"/>
                <a:gd name="connsiteX8" fmla="*/ 25392 w 29872"/>
                <a:gd name="connsiteY8" fmla="*/ 78685 h 89618"/>
                <a:gd name="connsiteX9" fmla="*/ 31366 w 29872"/>
                <a:gd name="connsiteY9" fmla="*/ 59268 h 89618"/>
                <a:gd name="connsiteX10" fmla="*/ 40328 w 29872"/>
                <a:gd name="connsiteY10" fmla="*/ 36863 h 89618"/>
                <a:gd name="connsiteX11" fmla="*/ 41822 w 29872"/>
                <a:gd name="connsiteY11" fmla="*/ 23420 h 89618"/>
                <a:gd name="connsiteX12" fmla="*/ 41822 w 29872"/>
                <a:gd name="connsiteY12" fmla="*/ 8484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72" h="89618">
                  <a:moveTo>
                    <a:pt x="41822" y="8484"/>
                  </a:moveTo>
                  <a:cubicBezTo>
                    <a:pt x="38834" y="-478"/>
                    <a:pt x="20911" y="-4959"/>
                    <a:pt x="17924" y="8484"/>
                  </a:cubicBezTo>
                  <a:cubicBezTo>
                    <a:pt x="14936" y="18939"/>
                    <a:pt x="7468" y="27901"/>
                    <a:pt x="4481" y="38357"/>
                  </a:cubicBezTo>
                  <a:cubicBezTo>
                    <a:pt x="2987" y="42838"/>
                    <a:pt x="2987" y="47319"/>
                    <a:pt x="1494" y="53293"/>
                  </a:cubicBezTo>
                  <a:cubicBezTo>
                    <a:pt x="1494" y="59268"/>
                    <a:pt x="0" y="66736"/>
                    <a:pt x="0" y="72710"/>
                  </a:cubicBezTo>
                  <a:cubicBezTo>
                    <a:pt x="0" y="74204"/>
                    <a:pt x="0" y="77191"/>
                    <a:pt x="0" y="78685"/>
                  </a:cubicBezTo>
                  <a:cubicBezTo>
                    <a:pt x="0" y="80178"/>
                    <a:pt x="1494" y="81672"/>
                    <a:pt x="1494" y="83166"/>
                  </a:cubicBezTo>
                  <a:cubicBezTo>
                    <a:pt x="2987" y="86153"/>
                    <a:pt x="13443" y="99596"/>
                    <a:pt x="17924" y="98102"/>
                  </a:cubicBezTo>
                  <a:cubicBezTo>
                    <a:pt x="20911" y="99596"/>
                    <a:pt x="23898" y="86153"/>
                    <a:pt x="25392" y="78685"/>
                  </a:cubicBezTo>
                  <a:cubicBezTo>
                    <a:pt x="26885" y="71217"/>
                    <a:pt x="28379" y="68229"/>
                    <a:pt x="31366" y="59268"/>
                  </a:cubicBezTo>
                  <a:cubicBezTo>
                    <a:pt x="32860" y="51799"/>
                    <a:pt x="38834" y="45825"/>
                    <a:pt x="40328" y="36863"/>
                  </a:cubicBezTo>
                  <a:cubicBezTo>
                    <a:pt x="41822" y="32382"/>
                    <a:pt x="41822" y="27901"/>
                    <a:pt x="41822" y="23420"/>
                  </a:cubicBezTo>
                  <a:cubicBezTo>
                    <a:pt x="43315" y="18939"/>
                    <a:pt x="43315" y="14459"/>
                    <a:pt x="41822" y="8484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8" name="任意多边形: 形状 10497"/>
            <p:cNvSpPr/>
            <p:nvPr/>
          </p:nvSpPr>
          <p:spPr>
            <a:xfrm>
              <a:off x="4748962" y="3852142"/>
              <a:ext cx="14936" cy="59745"/>
            </a:xfrm>
            <a:custGeom>
              <a:avLst/>
              <a:gdLst>
                <a:gd name="connsiteX0" fmla="*/ 18297 w 14936"/>
                <a:gd name="connsiteY0" fmla="*/ 44809 h 59745"/>
                <a:gd name="connsiteX1" fmla="*/ 18297 w 14936"/>
                <a:gd name="connsiteY1" fmla="*/ 65720 h 59745"/>
                <a:gd name="connsiteX2" fmla="*/ 10829 w 14936"/>
                <a:gd name="connsiteY2" fmla="*/ 64226 h 59745"/>
                <a:gd name="connsiteX3" fmla="*/ 9335 w 14936"/>
                <a:gd name="connsiteY3" fmla="*/ 56758 h 59745"/>
                <a:gd name="connsiteX4" fmla="*/ 9335 w 14936"/>
                <a:gd name="connsiteY4" fmla="*/ 47796 h 59745"/>
                <a:gd name="connsiteX5" fmla="*/ 1867 w 14936"/>
                <a:gd name="connsiteY5" fmla="*/ 31366 h 59745"/>
                <a:gd name="connsiteX6" fmla="*/ 373 w 14936"/>
                <a:gd name="connsiteY6" fmla="*/ 13443 h 59745"/>
                <a:gd name="connsiteX7" fmla="*/ 1867 w 14936"/>
                <a:gd name="connsiteY7" fmla="*/ 2987 h 59745"/>
                <a:gd name="connsiteX8" fmla="*/ 10829 w 14936"/>
                <a:gd name="connsiteY8" fmla="*/ 0 h 59745"/>
                <a:gd name="connsiteX9" fmla="*/ 18297 w 14936"/>
                <a:gd name="connsiteY9" fmla="*/ 26885 h 59745"/>
                <a:gd name="connsiteX10" fmla="*/ 21284 w 14936"/>
                <a:gd name="connsiteY10" fmla="*/ 35847 h 59745"/>
                <a:gd name="connsiteX11" fmla="*/ 18297 w 14936"/>
                <a:gd name="connsiteY11" fmla="*/ 44809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936" h="59745">
                  <a:moveTo>
                    <a:pt x="18297" y="44809"/>
                  </a:moveTo>
                  <a:cubicBezTo>
                    <a:pt x="18297" y="52277"/>
                    <a:pt x="18297" y="58252"/>
                    <a:pt x="18297" y="65720"/>
                  </a:cubicBezTo>
                  <a:cubicBezTo>
                    <a:pt x="16803" y="67214"/>
                    <a:pt x="12323" y="67214"/>
                    <a:pt x="10829" y="64226"/>
                  </a:cubicBezTo>
                  <a:cubicBezTo>
                    <a:pt x="9335" y="62732"/>
                    <a:pt x="7842" y="58252"/>
                    <a:pt x="9335" y="56758"/>
                  </a:cubicBezTo>
                  <a:cubicBezTo>
                    <a:pt x="9335" y="53771"/>
                    <a:pt x="9335" y="50783"/>
                    <a:pt x="9335" y="47796"/>
                  </a:cubicBezTo>
                  <a:cubicBezTo>
                    <a:pt x="7842" y="41822"/>
                    <a:pt x="3361" y="35847"/>
                    <a:pt x="1867" y="31366"/>
                  </a:cubicBezTo>
                  <a:cubicBezTo>
                    <a:pt x="-1120" y="25392"/>
                    <a:pt x="373" y="19417"/>
                    <a:pt x="373" y="13443"/>
                  </a:cubicBezTo>
                  <a:cubicBezTo>
                    <a:pt x="373" y="10455"/>
                    <a:pt x="373" y="5974"/>
                    <a:pt x="1867" y="2987"/>
                  </a:cubicBezTo>
                  <a:cubicBezTo>
                    <a:pt x="3361" y="0"/>
                    <a:pt x="7842" y="1493"/>
                    <a:pt x="10829" y="0"/>
                  </a:cubicBezTo>
                  <a:cubicBezTo>
                    <a:pt x="13816" y="10455"/>
                    <a:pt x="15310" y="16430"/>
                    <a:pt x="18297" y="26885"/>
                  </a:cubicBezTo>
                  <a:cubicBezTo>
                    <a:pt x="19791" y="29873"/>
                    <a:pt x="19791" y="32860"/>
                    <a:pt x="21284" y="35847"/>
                  </a:cubicBezTo>
                  <a:cubicBezTo>
                    <a:pt x="18297" y="37341"/>
                    <a:pt x="18297" y="41822"/>
                    <a:pt x="18297" y="4480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9" name="任意多边形: 形状 10498"/>
            <p:cNvSpPr/>
            <p:nvPr/>
          </p:nvSpPr>
          <p:spPr>
            <a:xfrm>
              <a:off x="4776221" y="3716221"/>
              <a:ext cx="119491" cy="59745"/>
            </a:xfrm>
            <a:custGeom>
              <a:avLst/>
              <a:gdLst>
                <a:gd name="connsiteX0" fmla="*/ 122478 w 119490"/>
                <a:gd name="connsiteY0" fmla="*/ 20911 h 59745"/>
                <a:gd name="connsiteX1" fmla="*/ 113516 w 119490"/>
                <a:gd name="connsiteY1" fmla="*/ 35847 h 59745"/>
                <a:gd name="connsiteX2" fmla="*/ 28379 w 119490"/>
                <a:gd name="connsiteY2" fmla="*/ 61239 h 59745"/>
                <a:gd name="connsiteX3" fmla="*/ 16430 w 119490"/>
                <a:gd name="connsiteY3" fmla="*/ 56758 h 59745"/>
                <a:gd name="connsiteX4" fmla="*/ 0 w 119490"/>
                <a:gd name="connsiteY4" fmla="*/ 35847 h 59745"/>
                <a:gd name="connsiteX5" fmla="*/ 5975 w 119490"/>
                <a:gd name="connsiteY5" fmla="*/ 16430 h 59745"/>
                <a:gd name="connsiteX6" fmla="*/ 8962 w 119490"/>
                <a:gd name="connsiteY6" fmla="*/ 29873 h 59745"/>
                <a:gd name="connsiteX7" fmla="*/ 32860 w 119490"/>
                <a:gd name="connsiteY7" fmla="*/ 44809 h 59745"/>
                <a:gd name="connsiteX8" fmla="*/ 55264 w 119490"/>
                <a:gd name="connsiteY8" fmla="*/ 46303 h 59745"/>
                <a:gd name="connsiteX9" fmla="*/ 83644 w 119490"/>
                <a:gd name="connsiteY9" fmla="*/ 37341 h 59745"/>
                <a:gd name="connsiteX10" fmla="*/ 103061 w 119490"/>
                <a:gd name="connsiteY10" fmla="*/ 23898 h 59745"/>
                <a:gd name="connsiteX11" fmla="*/ 110529 w 119490"/>
                <a:gd name="connsiteY11" fmla="*/ 14936 h 59745"/>
                <a:gd name="connsiteX12" fmla="*/ 115010 w 119490"/>
                <a:gd name="connsiteY12" fmla="*/ 0 h 59745"/>
                <a:gd name="connsiteX13" fmla="*/ 122478 w 119490"/>
                <a:gd name="connsiteY13" fmla="*/ 20911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9490" h="59745">
                  <a:moveTo>
                    <a:pt x="122478" y="20911"/>
                  </a:moveTo>
                  <a:cubicBezTo>
                    <a:pt x="120984" y="26885"/>
                    <a:pt x="117997" y="31366"/>
                    <a:pt x="113516" y="35847"/>
                  </a:cubicBezTo>
                  <a:cubicBezTo>
                    <a:pt x="106048" y="44809"/>
                    <a:pt x="70201" y="71694"/>
                    <a:pt x="28379" y="61239"/>
                  </a:cubicBezTo>
                  <a:cubicBezTo>
                    <a:pt x="23898" y="59745"/>
                    <a:pt x="20911" y="59745"/>
                    <a:pt x="16430" y="56758"/>
                  </a:cubicBezTo>
                  <a:cubicBezTo>
                    <a:pt x="8962" y="52277"/>
                    <a:pt x="2987" y="44809"/>
                    <a:pt x="0" y="35847"/>
                  </a:cubicBezTo>
                  <a:lnTo>
                    <a:pt x="5975" y="16430"/>
                  </a:lnTo>
                  <a:cubicBezTo>
                    <a:pt x="5975" y="20911"/>
                    <a:pt x="7468" y="25392"/>
                    <a:pt x="8962" y="29873"/>
                  </a:cubicBezTo>
                  <a:cubicBezTo>
                    <a:pt x="13443" y="38835"/>
                    <a:pt x="23898" y="41822"/>
                    <a:pt x="32860" y="44809"/>
                  </a:cubicBezTo>
                  <a:cubicBezTo>
                    <a:pt x="40328" y="46303"/>
                    <a:pt x="47796" y="46303"/>
                    <a:pt x="55264" y="46303"/>
                  </a:cubicBezTo>
                  <a:cubicBezTo>
                    <a:pt x="65720" y="44809"/>
                    <a:pt x="74682" y="41822"/>
                    <a:pt x="83644" y="37341"/>
                  </a:cubicBezTo>
                  <a:cubicBezTo>
                    <a:pt x="91112" y="34354"/>
                    <a:pt x="97086" y="29873"/>
                    <a:pt x="103061" y="23898"/>
                  </a:cubicBezTo>
                  <a:cubicBezTo>
                    <a:pt x="106048" y="20911"/>
                    <a:pt x="107542" y="17924"/>
                    <a:pt x="110529" y="14936"/>
                  </a:cubicBezTo>
                  <a:cubicBezTo>
                    <a:pt x="113516" y="10455"/>
                    <a:pt x="113516" y="5974"/>
                    <a:pt x="115010" y="0"/>
                  </a:cubicBezTo>
                  <a:cubicBezTo>
                    <a:pt x="116503" y="7468"/>
                    <a:pt x="119491" y="14936"/>
                    <a:pt x="122478" y="2091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0" name="任意多边形: 形状 10499"/>
            <p:cNvSpPr/>
            <p:nvPr/>
          </p:nvSpPr>
          <p:spPr>
            <a:xfrm>
              <a:off x="4858371" y="3752068"/>
              <a:ext cx="14936" cy="14936"/>
            </a:xfrm>
            <a:custGeom>
              <a:avLst/>
              <a:gdLst>
                <a:gd name="connsiteX0" fmla="*/ 14936 w 14936"/>
                <a:gd name="connsiteY0" fmla="*/ 10456 h 14936"/>
                <a:gd name="connsiteX1" fmla="*/ 2987 w 14936"/>
                <a:gd name="connsiteY1" fmla="*/ 16430 h 14936"/>
                <a:gd name="connsiteX2" fmla="*/ 0 w 14936"/>
                <a:gd name="connsiteY2" fmla="*/ 7468 h 14936"/>
                <a:gd name="connsiteX3" fmla="*/ 11949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4936" y="10456"/>
                  </a:moveTo>
                  <a:lnTo>
                    <a:pt x="2987" y="16430"/>
                  </a:lnTo>
                  <a:lnTo>
                    <a:pt x="0" y="7468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CBBBA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1" name="任意多边形: 形状 10500"/>
            <p:cNvSpPr/>
            <p:nvPr/>
          </p:nvSpPr>
          <p:spPr>
            <a:xfrm>
              <a:off x="4723944" y="3581631"/>
              <a:ext cx="44809" cy="119491"/>
            </a:xfrm>
            <a:custGeom>
              <a:avLst/>
              <a:gdLst>
                <a:gd name="connsiteX0" fmla="*/ 38834 w 44809"/>
                <a:gd name="connsiteY0" fmla="*/ 163 h 119490"/>
                <a:gd name="connsiteX1" fmla="*/ 38834 w 44809"/>
                <a:gd name="connsiteY1" fmla="*/ 163 h 119490"/>
                <a:gd name="connsiteX2" fmla="*/ 11949 w 44809"/>
                <a:gd name="connsiteY2" fmla="*/ 19580 h 119490"/>
                <a:gd name="connsiteX3" fmla="*/ 0 w 44809"/>
                <a:gd name="connsiteY3" fmla="*/ 112185 h 119490"/>
                <a:gd name="connsiteX4" fmla="*/ 46303 w 44809"/>
                <a:gd name="connsiteY4" fmla="*/ 119654 h 119490"/>
                <a:gd name="connsiteX5" fmla="*/ 58252 w 44809"/>
                <a:gd name="connsiteY5" fmla="*/ 25555 h 119490"/>
                <a:gd name="connsiteX6" fmla="*/ 38834 w 44809"/>
                <a:gd name="connsiteY6" fmla="*/ 163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09" h="119490">
                  <a:moveTo>
                    <a:pt x="38834" y="163"/>
                  </a:moveTo>
                  <a:lnTo>
                    <a:pt x="38834" y="163"/>
                  </a:lnTo>
                  <a:cubicBezTo>
                    <a:pt x="25392" y="-1331"/>
                    <a:pt x="13443" y="7631"/>
                    <a:pt x="11949" y="19580"/>
                  </a:cubicBezTo>
                  <a:lnTo>
                    <a:pt x="0" y="112185"/>
                  </a:lnTo>
                  <a:cubicBezTo>
                    <a:pt x="13443" y="121147"/>
                    <a:pt x="29873" y="122641"/>
                    <a:pt x="46303" y="119654"/>
                  </a:cubicBezTo>
                  <a:lnTo>
                    <a:pt x="58252" y="25555"/>
                  </a:lnTo>
                  <a:cubicBezTo>
                    <a:pt x="59745" y="13605"/>
                    <a:pt x="50784" y="1657"/>
                    <a:pt x="38834" y="163"/>
                  </a:cubicBezTo>
                  <a:close/>
                </a:path>
              </a:pathLst>
            </a:custGeom>
            <a:solidFill>
              <a:srgbClr val="F392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2" name="任意多边形: 形状 10501"/>
            <p:cNvSpPr/>
            <p:nvPr/>
          </p:nvSpPr>
          <p:spPr>
            <a:xfrm>
              <a:off x="4829992" y="3529517"/>
              <a:ext cx="29873" cy="74682"/>
            </a:xfrm>
            <a:custGeom>
              <a:avLst/>
              <a:gdLst>
                <a:gd name="connsiteX0" fmla="*/ 41822 w 29872"/>
                <a:gd name="connsiteY0" fmla="*/ 80656 h 74681"/>
                <a:gd name="connsiteX1" fmla="*/ 22405 w 29872"/>
                <a:gd name="connsiteY1" fmla="*/ 0 h 74681"/>
                <a:gd name="connsiteX2" fmla="*/ 2987 w 29872"/>
                <a:gd name="connsiteY2" fmla="*/ 7468 h 74681"/>
                <a:gd name="connsiteX3" fmla="*/ 0 w 29872"/>
                <a:gd name="connsiteY3" fmla="*/ 10455 h 74681"/>
                <a:gd name="connsiteX4" fmla="*/ 41822 w 29872"/>
                <a:gd name="connsiteY4" fmla="*/ 80656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72" h="74681">
                  <a:moveTo>
                    <a:pt x="41822" y="80656"/>
                  </a:moveTo>
                  <a:cubicBezTo>
                    <a:pt x="38834" y="52277"/>
                    <a:pt x="23898" y="26885"/>
                    <a:pt x="22405" y="0"/>
                  </a:cubicBezTo>
                  <a:cubicBezTo>
                    <a:pt x="16430" y="2987"/>
                    <a:pt x="8962" y="4481"/>
                    <a:pt x="2987" y="7468"/>
                  </a:cubicBezTo>
                  <a:cubicBezTo>
                    <a:pt x="1494" y="7468"/>
                    <a:pt x="0" y="8962"/>
                    <a:pt x="0" y="10455"/>
                  </a:cubicBezTo>
                  <a:cubicBezTo>
                    <a:pt x="11949" y="32860"/>
                    <a:pt x="35847" y="52277"/>
                    <a:pt x="41822" y="80656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3" name="任意多边形: 形状 10502"/>
            <p:cNvSpPr/>
            <p:nvPr/>
          </p:nvSpPr>
          <p:spPr>
            <a:xfrm>
              <a:off x="4818043" y="3388577"/>
              <a:ext cx="74682" cy="29873"/>
            </a:xfrm>
            <a:custGeom>
              <a:avLst/>
              <a:gdLst>
                <a:gd name="connsiteX0" fmla="*/ 0 w 74681"/>
                <a:gd name="connsiteY0" fmla="*/ 24437 h 29872"/>
                <a:gd name="connsiteX1" fmla="*/ 26885 w 74681"/>
                <a:gd name="connsiteY1" fmla="*/ 21450 h 29872"/>
                <a:gd name="connsiteX2" fmla="*/ 59745 w 74681"/>
                <a:gd name="connsiteY2" fmla="*/ 31905 h 29872"/>
                <a:gd name="connsiteX3" fmla="*/ 85137 w 74681"/>
                <a:gd name="connsiteY3" fmla="*/ 25930 h 29872"/>
                <a:gd name="connsiteX4" fmla="*/ 70201 w 74681"/>
                <a:gd name="connsiteY4" fmla="*/ 21450 h 29872"/>
                <a:gd name="connsiteX5" fmla="*/ 61239 w 74681"/>
                <a:gd name="connsiteY5" fmla="*/ 6513 h 29872"/>
                <a:gd name="connsiteX6" fmla="*/ 37341 w 74681"/>
                <a:gd name="connsiteY6" fmla="*/ 539 h 29872"/>
                <a:gd name="connsiteX7" fmla="*/ 13443 w 74681"/>
                <a:gd name="connsiteY7" fmla="*/ 10994 h 29872"/>
                <a:gd name="connsiteX8" fmla="*/ 0 w 74681"/>
                <a:gd name="connsiteY8" fmla="*/ 24437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681" h="29872">
                  <a:moveTo>
                    <a:pt x="0" y="24437"/>
                  </a:moveTo>
                  <a:cubicBezTo>
                    <a:pt x="8962" y="19956"/>
                    <a:pt x="17924" y="19956"/>
                    <a:pt x="26885" y="21450"/>
                  </a:cubicBezTo>
                  <a:cubicBezTo>
                    <a:pt x="38835" y="24437"/>
                    <a:pt x="47796" y="30411"/>
                    <a:pt x="59745" y="31905"/>
                  </a:cubicBezTo>
                  <a:cubicBezTo>
                    <a:pt x="68707" y="33399"/>
                    <a:pt x="77669" y="30411"/>
                    <a:pt x="85137" y="25930"/>
                  </a:cubicBezTo>
                  <a:cubicBezTo>
                    <a:pt x="80656" y="28918"/>
                    <a:pt x="73188" y="25930"/>
                    <a:pt x="70201" y="21450"/>
                  </a:cubicBezTo>
                  <a:cubicBezTo>
                    <a:pt x="67214" y="16969"/>
                    <a:pt x="64226" y="10994"/>
                    <a:pt x="61239" y="6513"/>
                  </a:cubicBezTo>
                  <a:cubicBezTo>
                    <a:pt x="55265" y="539"/>
                    <a:pt x="46303" y="-955"/>
                    <a:pt x="37341" y="539"/>
                  </a:cubicBezTo>
                  <a:cubicBezTo>
                    <a:pt x="28379" y="2032"/>
                    <a:pt x="20911" y="6513"/>
                    <a:pt x="13443" y="10994"/>
                  </a:cubicBezTo>
                  <a:cubicBezTo>
                    <a:pt x="8962" y="15475"/>
                    <a:pt x="2987" y="18462"/>
                    <a:pt x="0" y="24437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4" name="任意多边形: 形状 10503"/>
            <p:cNvSpPr/>
            <p:nvPr/>
          </p:nvSpPr>
          <p:spPr>
            <a:xfrm>
              <a:off x="4782196" y="3486202"/>
              <a:ext cx="14936" cy="14936"/>
            </a:xfrm>
            <a:custGeom>
              <a:avLst/>
              <a:gdLst>
                <a:gd name="connsiteX0" fmla="*/ 8962 w 0"/>
                <a:gd name="connsiteY0" fmla="*/ 8962 h 0"/>
                <a:gd name="connsiteX1" fmla="*/ 0 w 0"/>
                <a:gd name="connsiteY1" fmla="*/ 7468 h 0"/>
                <a:gd name="connsiteX2" fmla="*/ 0 w 0"/>
                <a:gd name="connsiteY2" fmla="*/ 0 h 0"/>
                <a:gd name="connsiteX3" fmla="*/ 8962 w 0"/>
                <a:gd name="connsiteY3" fmla="*/ 14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8962" y="8962"/>
                  </a:moveTo>
                  <a:lnTo>
                    <a:pt x="0" y="7468"/>
                  </a:lnTo>
                  <a:lnTo>
                    <a:pt x="0" y="0"/>
                  </a:lnTo>
                  <a:lnTo>
                    <a:pt x="8962" y="1493"/>
                  </a:lnTo>
                  <a:close/>
                </a:path>
              </a:pathLst>
            </a:custGeom>
            <a:solidFill>
              <a:srgbClr val="F392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5" name="任意多边形: 形状 10504"/>
            <p:cNvSpPr/>
            <p:nvPr/>
          </p:nvSpPr>
          <p:spPr>
            <a:xfrm>
              <a:off x="4858371" y="3777460"/>
              <a:ext cx="119491" cy="253918"/>
            </a:xfrm>
            <a:custGeom>
              <a:avLst/>
              <a:gdLst>
                <a:gd name="connsiteX0" fmla="*/ 110529 w 119490"/>
                <a:gd name="connsiteY0" fmla="*/ 255412 h 253917"/>
                <a:gd name="connsiteX1" fmla="*/ 119491 w 119490"/>
                <a:gd name="connsiteY1" fmla="*/ 109035 h 253917"/>
                <a:gd name="connsiteX2" fmla="*/ 109035 w 119490"/>
                <a:gd name="connsiteY2" fmla="*/ 86631 h 253917"/>
                <a:gd name="connsiteX3" fmla="*/ 109035 w 119490"/>
                <a:gd name="connsiteY3" fmla="*/ 86631 h 253917"/>
                <a:gd name="connsiteX4" fmla="*/ 98580 w 119490"/>
                <a:gd name="connsiteY4" fmla="*/ 76175 h 253917"/>
                <a:gd name="connsiteX5" fmla="*/ 53771 w 119490"/>
                <a:gd name="connsiteY5" fmla="*/ 37341 h 253917"/>
                <a:gd name="connsiteX6" fmla="*/ 0 w 119490"/>
                <a:gd name="connsiteY6" fmla="*/ 32860 h 253917"/>
                <a:gd name="connsiteX7" fmla="*/ 46303 w 119490"/>
                <a:gd name="connsiteY7" fmla="*/ 0 h 253917"/>
                <a:gd name="connsiteX8" fmla="*/ 126959 w 119490"/>
                <a:gd name="connsiteY8" fmla="*/ 94099 h 253917"/>
                <a:gd name="connsiteX9" fmla="*/ 110529 w 119490"/>
                <a:gd name="connsiteY9" fmla="*/ 255412 h 253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490" h="253917">
                  <a:moveTo>
                    <a:pt x="110529" y="255412"/>
                  </a:moveTo>
                  <a:lnTo>
                    <a:pt x="119491" y="109035"/>
                  </a:lnTo>
                  <a:cubicBezTo>
                    <a:pt x="119491" y="100073"/>
                    <a:pt x="115010" y="91112"/>
                    <a:pt x="109035" y="86631"/>
                  </a:cubicBezTo>
                  <a:cubicBezTo>
                    <a:pt x="109035" y="86631"/>
                    <a:pt x="109035" y="86631"/>
                    <a:pt x="109035" y="86631"/>
                  </a:cubicBezTo>
                  <a:lnTo>
                    <a:pt x="98580" y="76175"/>
                  </a:lnTo>
                  <a:lnTo>
                    <a:pt x="53771" y="37341"/>
                  </a:lnTo>
                  <a:cubicBezTo>
                    <a:pt x="38834" y="25392"/>
                    <a:pt x="23898" y="26885"/>
                    <a:pt x="0" y="32860"/>
                  </a:cubicBezTo>
                  <a:cubicBezTo>
                    <a:pt x="34354" y="17924"/>
                    <a:pt x="41822" y="7468"/>
                    <a:pt x="46303" y="0"/>
                  </a:cubicBezTo>
                  <a:cubicBezTo>
                    <a:pt x="35847" y="29873"/>
                    <a:pt x="113516" y="70201"/>
                    <a:pt x="126959" y="94099"/>
                  </a:cubicBezTo>
                  <a:cubicBezTo>
                    <a:pt x="137414" y="112023"/>
                    <a:pt x="123972" y="188198"/>
                    <a:pt x="110529" y="255412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6" name="任意多边形: 形状 10505"/>
            <p:cNvSpPr/>
            <p:nvPr/>
          </p:nvSpPr>
          <p:spPr>
            <a:xfrm>
              <a:off x="5237007" y="3463424"/>
              <a:ext cx="89618" cy="44809"/>
            </a:xfrm>
            <a:custGeom>
              <a:avLst/>
              <a:gdLst>
                <a:gd name="connsiteX0" fmla="*/ 91859 w 89618"/>
                <a:gd name="connsiteY0" fmla="*/ 3361 h 44809"/>
                <a:gd name="connsiteX1" fmla="*/ 91859 w 89618"/>
                <a:gd name="connsiteY1" fmla="*/ 22778 h 44809"/>
                <a:gd name="connsiteX2" fmla="*/ 39581 w 89618"/>
                <a:gd name="connsiteY2" fmla="*/ 52651 h 44809"/>
                <a:gd name="connsiteX3" fmla="*/ 6721 w 89618"/>
                <a:gd name="connsiteY3" fmla="*/ 52651 h 44809"/>
                <a:gd name="connsiteX4" fmla="*/ 6721 w 89618"/>
                <a:gd name="connsiteY4" fmla="*/ 52651 h 44809"/>
                <a:gd name="connsiteX5" fmla="*/ 6721 w 89618"/>
                <a:gd name="connsiteY5" fmla="*/ 33233 h 44809"/>
                <a:gd name="connsiteX6" fmla="*/ 58999 w 89618"/>
                <a:gd name="connsiteY6" fmla="*/ 3361 h 44809"/>
                <a:gd name="connsiteX7" fmla="*/ 91859 w 89618"/>
                <a:gd name="connsiteY7" fmla="*/ 3361 h 44809"/>
                <a:gd name="connsiteX8" fmla="*/ 91859 w 89618"/>
                <a:gd name="connsiteY8" fmla="*/ 336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91859" y="3361"/>
                  </a:moveTo>
                  <a:cubicBezTo>
                    <a:pt x="100820" y="9335"/>
                    <a:pt x="100820" y="16803"/>
                    <a:pt x="91859" y="22778"/>
                  </a:cubicBezTo>
                  <a:lnTo>
                    <a:pt x="39581" y="52651"/>
                  </a:lnTo>
                  <a:cubicBezTo>
                    <a:pt x="30620" y="58625"/>
                    <a:pt x="15683" y="58625"/>
                    <a:pt x="6721" y="52651"/>
                  </a:cubicBezTo>
                  <a:lnTo>
                    <a:pt x="6721" y="52651"/>
                  </a:lnTo>
                  <a:cubicBezTo>
                    <a:pt x="-2240" y="46676"/>
                    <a:pt x="-2240" y="39208"/>
                    <a:pt x="6721" y="33233"/>
                  </a:cubicBezTo>
                  <a:lnTo>
                    <a:pt x="58999" y="3361"/>
                  </a:lnTo>
                  <a:cubicBezTo>
                    <a:pt x="67960" y="-1120"/>
                    <a:pt x="82897" y="-1120"/>
                    <a:pt x="91859" y="3361"/>
                  </a:cubicBezTo>
                  <a:lnTo>
                    <a:pt x="91859" y="3361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7" name="任意多边形: 形状 10506"/>
            <p:cNvSpPr/>
            <p:nvPr/>
          </p:nvSpPr>
          <p:spPr>
            <a:xfrm>
              <a:off x="5237401" y="3433924"/>
              <a:ext cx="89618" cy="74682"/>
            </a:xfrm>
            <a:custGeom>
              <a:avLst/>
              <a:gdLst>
                <a:gd name="connsiteX0" fmla="*/ 42175 w 89618"/>
                <a:gd name="connsiteY0" fmla="*/ 2987 h 74681"/>
                <a:gd name="connsiteX1" fmla="*/ 81009 w 89618"/>
                <a:gd name="connsiteY1" fmla="*/ 0 h 74681"/>
                <a:gd name="connsiteX2" fmla="*/ 98933 w 89618"/>
                <a:gd name="connsiteY2" fmla="*/ 43315 h 74681"/>
                <a:gd name="connsiteX3" fmla="*/ 353 w 89618"/>
                <a:gd name="connsiteY3" fmla="*/ 76175 h 74681"/>
                <a:gd name="connsiteX4" fmla="*/ 31720 w 89618"/>
                <a:gd name="connsiteY4" fmla="*/ 29873 h 74681"/>
                <a:gd name="connsiteX5" fmla="*/ 42175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42175" y="2987"/>
                  </a:moveTo>
                  <a:lnTo>
                    <a:pt x="81009" y="0"/>
                  </a:lnTo>
                  <a:cubicBezTo>
                    <a:pt x="88478" y="10455"/>
                    <a:pt x="95946" y="23898"/>
                    <a:pt x="98933" y="43315"/>
                  </a:cubicBezTo>
                  <a:lnTo>
                    <a:pt x="353" y="76175"/>
                  </a:lnTo>
                  <a:cubicBezTo>
                    <a:pt x="-2634" y="62733"/>
                    <a:pt x="13796" y="43315"/>
                    <a:pt x="31720" y="29873"/>
                  </a:cubicBezTo>
                  <a:cubicBezTo>
                    <a:pt x="39188" y="22405"/>
                    <a:pt x="34707" y="10455"/>
                    <a:pt x="42175" y="2987"/>
                  </a:cubicBez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8" name="任意多边形: 形状 10507"/>
            <p:cNvSpPr/>
            <p:nvPr/>
          </p:nvSpPr>
          <p:spPr>
            <a:xfrm>
              <a:off x="5259785" y="3418241"/>
              <a:ext cx="74682" cy="44809"/>
            </a:xfrm>
            <a:custGeom>
              <a:avLst/>
              <a:gdLst>
                <a:gd name="connsiteX0" fmla="*/ 12322 w 74681"/>
                <a:gd name="connsiteY0" fmla="*/ 6721 h 44809"/>
                <a:gd name="connsiteX1" fmla="*/ 12322 w 74681"/>
                <a:gd name="connsiteY1" fmla="*/ 39581 h 44809"/>
                <a:gd name="connsiteX2" fmla="*/ 69081 w 74681"/>
                <a:gd name="connsiteY2" fmla="*/ 39581 h 44809"/>
                <a:gd name="connsiteX3" fmla="*/ 69081 w 74681"/>
                <a:gd name="connsiteY3" fmla="*/ 6721 h 44809"/>
                <a:gd name="connsiteX4" fmla="*/ 12322 w 74681"/>
                <a:gd name="connsiteY4" fmla="*/ 672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12322" y="6721"/>
                  </a:moveTo>
                  <a:cubicBezTo>
                    <a:pt x="-4107" y="15683"/>
                    <a:pt x="-4107" y="30620"/>
                    <a:pt x="12322" y="39581"/>
                  </a:cubicBezTo>
                  <a:cubicBezTo>
                    <a:pt x="28752" y="48543"/>
                    <a:pt x="54144" y="48543"/>
                    <a:pt x="69081" y="39581"/>
                  </a:cubicBezTo>
                  <a:cubicBezTo>
                    <a:pt x="85511" y="30620"/>
                    <a:pt x="85511" y="15683"/>
                    <a:pt x="69081" y="6721"/>
                  </a:cubicBezTo>
                  <a:cubicBezTo>
                    <a:pt x="52651" y="-2240"/>
                    <a:pt x="27259" y="-2240"/>
                    <a:pt x="12322" y="6721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9" name="任意多边形: 形状 10508"/>
            <p:cNvSpPr/>
            <p:nvPr/>
          </p:nvSpPr>
          <p:spPr>
            <a:xfrm>
              <a:off x="5029932" y="2878452"/>
              <a:ext cx="59745" cy="14936"/>
            </a:xfrm>
            <a:custGeom>
              <a:avLst/>
              <a:gdLst>
                <a:gd name="connsiteX0" fmla="*/ 65927 w 59745"/>
                <a:gd name="connsiteY0" fmla="*/ 22245 h 14936"/>
                <a:gd name="connsiteX1" fmla="*/ 53978 w 59745"/>
                <a:gd name="connsiteY1" fmla="*/ 2828 h 14936"/>
                <a:gd name="connsiteX2" fmla="*/ 31573 w 59745"/>
                <a:gd name="connsiteY2" fmla="*/ 2828 h 14936"/>
                <a:gd name="connsiteX3" fmla="*/ 19624 w 59745"/>
                <a:gd name="connsiteY3" fmla="*/ 5815 h 14936"/>
                <a:gd name="connsiteX4" fmla="*/ 3194 w 59745"/>
                <a:gd name="connsiteY4" fmla="*/ 4322 h 14936"/>
                <a:gd name="connsiteX5" fmla="*/ 4688 w 59745"/>
                <a:gd name="connsiteY5" fmla="*/ 14777 h 14936"/>
                <a:gd name="connsiteX6" fmla="*/ 21118 w 59745"/>
                <a:gd name="connsiteY6" fmla="*/ 19258 h 14936"/>
                <a:gd name="connsiteX7" fmla="*/ 33067 w 59745"/>
                <a:gd name="connsiteY7" fmla="*/ 26726 h 14936"/>
                <a:gd name="connsiteX8" fmla="*/ 49497 w 59745"/>
                <a:gd name="connsiteY8" fmla="*/ 25233 h 14936"/>
                <a:gd name="connsiteX9" fmla="*/ 65927 w 59745"/>
                <a:gd name="connsiteY9" fmla="*/ 22245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745" h="14936">
                  <a:moveTo>
                    <a:pt x="65927" y="22245"/>
                  </a:moveTo>
                  <a:cubicBezTo>
                    <a:pt x="65927" y="11790"/>
                    <a:pt x="59952" y="7309"/>
                    <a:pt x="53978" y="2828"/>
                  </a:cubicBezTo>
                  <a:cubicBezTo>
                    <a:pt x="46509" y="-1653"/>
                    <a:pt x="39041" y="-159"/>
                    <a:pt x="31573" y="2828"/>
                  </a:cubicBezTo>
                  <a:cubicBezTo>
                    <a:pt x="27092" y="4322"/>
                    <a:pt x="24105" y="5815"/>
                    <a:pt x="19624" y="5815"/>
                  </a:cubicBezTo>
                  <a:cubicBezTo>
                    <a:pt x="13650" y="5815"/>
                    <a:pt x="7675" y="1334"/>
                    <a:pt x="3194" y="4322"/>
                  </a:cubicBezTo>
                  <a:cubicBezTo>
                    <a:pt x="-1287" y="7309"/>
                    <a:pt x="-1287" y="13284"/>
                    <a:pt x="4688" y="14777"/>
                  </a:cubicBezTo>
                  <a:cubicBezTo>
                    <a:pt x="15143" y="19258"/>
                    <a:pt x="18130" y="17764"/>
                    <a:pt x="21118" y="19258"/>
                  </a:cubicBezTo>
                  <a:cubicBezTo>
                    <a:pt x="25599" y="20752"/>
                    <a:pt x="28586" y="25233"/>
                    <a:pt x="33067" y="26726"/>
                  </a:cubicBezTo>
                  <a:cubicBezTo>
                    <a:pt x="37548" y="28220"/>
                    <a:pt x="45016" y="28220"/>
                    <a:pt x="49497" y="25233"/>
                  </a:cubicBezTo>
                  <a:lnTo>
                    <a:pt x="65927" y="22245"/>
                  </a:ln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0" name="任意多边形: 形状 10509"/>
            <p:cNvSpPr/>
            <p:nvPr/>
          </p:nvSpPr>
          <p:spPr>
            <a:xfrm>
              <a:off x="5012497" y="2892642"/>
              <a:ext cx="74682" cy="44809"/>
            </a:xfrm>
            <a:custGeom>
              <a:avLst/>
              <a:gdLst>
                <a:gd name="connsiteX0" fmla="*/ 28097 w 74681"/>
                <a:gd name="connsiteY0" fmla="*/ 45396 h 44809"/>
                <a:gd name="connsiteX1" fmla="*/ 13161 w 74681"/>
                <a:gd name="connsiteY1" fmla="*/ 43902 h 44809"/>
                <a:gd name="connsiteX2" fmla="*/ 2706 w 74681"/>
                <a:gd name="connsiteY2" fmla="*/ 36434 h 44809"/>
                <a:gd name="connsiteX3" fmla="*/ 4199 w 74681"/>
                <a:gd name="connsiteY3" fmla="*/ 22991 h 44809"/>
                <a:gd name="connsiteX4" fmla="*/ 13161 w 74681"/>
                <a:gd name="connsiteY4" fmla="*/ 15523 h 44809"/>
                <a:gd name="connsiteX5" fmla="*/ 26604 w 74681"/>
                <a:gd name="connsiteY5" fmla="*/ 6562 h 44809"/>
                <a:gd name="connsiteX6" fmla="*/ 41540 w 74681"/>
                <a:gd name="connsiteY6" fmla="*/ 2081 h 44809"/>
                <a:gd name="connsiteX7" fmla="*/ 83362 w 74681"/>
                <a:gd name="connsiteY7" fmla="*/ 3574 h 44809"/>
                <a:gd name="connsiteX8" fmla="*/ 78881 w 74681"/>
                <a:gd name="connsiteY8" fmla="*/ 25979 h 44809"/>
                <a:gd name="connsiteX9" fmla="*/ 59464 w 74681"/>
                <a:gd name="connsiteY9" fmla="*/ 36434 h 44809"/>
                <a:gd name="connsiteX10" fmla="*/ 41540 w 74681"/>
                <a:gd name="connsiteY10" fmla="*/ 45396 h 44809"/>
                <a:gd name="connsiteX11" fmla="*/ 28097 w 74681"/>
                <a:gd name="connsiteY11" fmla="*/ 45396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44809">
                  <a:moveTo>
                    <a:pt x="28097" y="45396"/>
                  </a:moveTo>
                  <a:cubicBezTo>
                    <a:pt x="22123" y="49877"/>
                    <a:pt x="14655" y="49877"/>
                    <a:pt x="13161" y="43902"/>
                  </a:cubicBezTo>
                  <a:cubicBezTo>
                    <a:pt x="8680" y="45396"/>
                    <a:pt x="-282" y="42409"/>
                    <a:pt x="2706" y="36434"/>
                  </a:cubicBezTo>
                  <a:cubicBezTo>
                    <a:pt x="-1775" y="36434"/>
                    <a:pt x="-282" y="25979"/>
                    <a:pt x="4199" y="22991"/>
                  </a:cubicBezTo>
                  <a:cubicBezTo>
                    <a:pt x="10174" y="17017"/>
                    <a:pt x="10174" y="17017"/>
                    <a:pt x="13161" y="15523"/>
                  </a:cubicBezTo>
                  <a:cubicBezTo>
                    <a:pt x="17642" y="11042"/>
                    <a:pt x="23616" y="9549"/>
                    <a:pt x="26604" y="6562"/>
                  </a:cubicBezTo>
                  <a:cubicBezTo>
                    <a:pt x="31085" y="3574"/>
                    <a:pt x="37059" y="2081"/>
                    <a:pt x="41540" y="2081"/>
                  </a:cubicBezTo>
                  <a:cubicBezTo>
                    <a:pt x="56476" y="587"/>
                    <a:pt x="69919" y="-2400"/>
                    <a:pt x="83362" y="3574"/>
                  </a:cubicBezTo>
                  <a:cubicBezTo>
                    <a:pt x="84855" y="9549"/>
                    <a:pt x="86349" y="15523"/>
                    <a:pt x="78881" y="25979"/>
                  </a:cubicBezTo>
                  <a:cubicBezTo>
                    <a:pt x="74400" y="33447"/>
                    <a:pt x="66932" y="34941"/>
                    <a:pt x="59464" y="36434"/>
                  </a:cubicBezTo>
                  <a:cubicBezTo>
                    <a:pt x="50502" y="37928"/>
                    <a:pt x="49008" y="39421"/>
                    <a:pt x="41540" y="45396"/>
                  </a:cubicBezTo>
                  <a:cubicBezTo>
                    <a:pt x="32578" y="51371"/>
                    <a:pt x="26604" y="48383"/>
                    <a:pt x="28097" y="45396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1" name="任意多边形: 形状 10510"/>
            <p:cNvSpPr/>
            <p:nvPr/>
          </p:nvSpPr>
          <p:spPr>
            <a:xfrm>
              <a:off x="5069942" y="2822650"/>
              <a:ext cx="149363" cy="89618"/>
            </a:xfrm>
            <a:custGeom>
              <a:avLst/>
              <a:gdLst>
                <a:gd name="connsiteX0" fmla="*/ 19943 w 149363"/>
                <a:gd name="connsiteY0" fmla="*/ 52655 h 89618"/>
                <a:gd name="connsiteX1" fmla="*/ 526 w 149363"/>
                <a:gd name="connsiteY1" fmla="*/ 63110 h 89618"/>
                <a:gd name="connsiteX2" fmla="*/ 13968 w 149363"/>
                <a:gd name="connsiteY2" fmla="*/ 94477 h 89618"/>
                <a:gd name="connsiteX3" fmla="*/ 33386 w 149363"/>
                <a:gd name="connsiteY3" fmla="*/ 88502 h 89618"/>
                <a:gd name="connsiteX4" fmla="*/ 140927 w 149363"/>
                <a:gd name="connsiteY4" fmla="*/ 58630 h 89618"/>
                <a:gd name="connsiteX5" fmla="*/ 158851 w 149363"/>
                <a:gd name="connsiteY5" fmla="*/ 19795 h 89618"/>
                <a:gd name="connsiteX6" fmla="*/ 158851 w 149363"/>
                <a:gd name="connsiteY6" fmla="*/ 19795 h 89618"/>
                <a:gd name="connsiteX7" fmla="*/ 120016 w 149363"/>
                <a:gd name="connsiteY7" fmla="*/ 1871 h 89618"/>
                <a:gd name="connsiteX8" fmla="*/ 19943 w 149363"/>
                <a:gd name="connsiteY8" fmla="*/ 52655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363" h="89618">
                  <a:moveTo>
                    <a:pt x="19943" y="52655"/>
                  </a:moveTo>
                  <a:cubicBezTo>
                    <a:pt x="9487" y="55642"/>
                    <a:pt x="3513" y="60123"/>
                    <a:pt x="526" y="63110"/>
                  </a:cubicBezTo>
                  <a:cubicBezTo>
                    <a:pt x="-2462" y="67591"/>
                    <a:pt x="7994" y="94477"/>
                    <a:pt x="13968" y="94477"/>
                  </a:cubicBezTo>
                  <a:cubicBezTo>
                    <a:pt x="19943" y="94477"/>
                    <a:pt x="25918" y="91490"/>
                    <a:pt x="33386" y="88502"/>
                  </a:cubicBezTo>
                  <a:lnTo>
                    <a:pt x="140927" y="58630"/>
                  </a:lnTo>
                  <a:cubicBezTo>
                    <a:pt x="155864" y="52655"/>
                    <a:pt x="164825" y="34731"/>
                    <a:pt x="158851" y="19795"/>
                  </a:cubicBezTo>
                  <a:lnTo>
                    <a:pt x="158851" y="19795"/>
                  </a:lnTo>
                  <a:cubicBezTo>
                    <a:pt x="152876" y="4859"/>
                    <a:pt x="134953" y="-4103"/>
                    <a:pt x="120016" y="1871"/>
                  </a:cubicBezTo>
                  <a:lnTo>
                    <a:pt x="19943" y="52655"/>
                  </a:ln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2" name="任意多边形: 形状 10511"/>
            <p:cNvSpPr/>
            <p:nvPr/>
          </p:nvSpPr>
          <p:spPr>
            <a:xfrm>
              <a:off x="5157931" y="2721914"/>
              <a:ext cx="74682" cy="164300"/>
            </a:xfrm>
            <a:custGeom>
              <a:avLst/>
              <a:gdLst>
                <a:gd name="connsiteX0" fmla="*/ 3648 w 74681"/>
                <a:gd name="connsiteY0" fmla="*/ 114557 h 164299"/>
                <a:gd name="connsiteX1" fmla="*/ 11116 w 74681"/>
                <a:gd name="connsiteY1" fmla="*/ 174302 h 164299"/>
                <a:gd name="connsiteX2" fmla="*/ 11116 w 74681"/>
                <a:gd name="connsiteY2" fmla="*/ 174302 h 164299"/>
                <a:gd name="connsiteX3" fmla="*/ 48457 w 74681"/>
                <a:gd name="connsiteY3" fmla="*/ 151898 h 164299"/>
                <a:gd name="connsiteX4" fmla="*/ 75342 w 74681"/>
                <a:gd name="connsiteY4" fmla="*/ 38382 h 164299"/>
                <a:gd name="connsiteX5" fmla="*/ 52938 w 74681"/>
                <a:gd name="connsiteY5" fmla="*/ 1041 h 164299"/>
                <a:gd name="connsiteX6" fmla="*/ 52938 w 74681"/>
                <a:gd name="connsiteY6" fmla="*/ 1041 h 164299"/>
                <a:gd name="connsiteX7" fmla="*/ 15597 w 74681"/>
                <a:gd name="connsiteY7" fmla="*/ 23445 h 164299"/>
                <a:gd name="connsiteX8" fmla="*/ 3648 w 74681"/>
                <a:gd name="connsiteY8" fmla="*/ 114557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681" h="164299">
                  <a:moveTo>
                    <a:pt x="3648" y="114557"/>
                  </a:moveTo>
                  <a:cubicBezTo>
                    <a:pt x="-833" y="130987"/>
                    <a:pt x="-3820" y="171315"/>
                    <a:pt x="11116" y="174302"/>
                  </a:cubicBezTo>
                  <a:lnTo>
                    <a:pt x="11116" y="174302"/>
                  </a:lnTo>
                  <a:cubicBezTo>
                    <a:pt x="27546" y="178783"/>
                    <a:pt x="43976" y="168328"/>
                    <a:pt x="48457" y="151898"/>
                  </a:cubicBezTo>
                  <a:lnTo>
                    <a:pt x="75342" y="38382"/>
                  </a:lnTo>
                  <a:cubicBezTo>
                    <a:pt x="79823" y="21952"/>
                    <a:pt x="69368" y="5522"/>
                    <a:pt x="52938" y="1041"/>
                  </a:cubicBezTo>
                  <a:lnTo>
                    <a:pt x="52938" y="1041"/>
                  </a:lnTo>
                  <a:cubicBezTo>
                    <a:pt x="36508" y="-3440"/>
                    <a:pt x="20078" y="7015"/>
                    <a:pt x="15597" y="23445"/>
                  </a:cubicBezTo>
                  <a:lnTo>
                    <a:pt x="3648" y="114557"/>
                  </a:lnTo>
                  <a:close/>
                </a:path>
              </a:pathLst>
            </a:custGeom>
            <a:solidFill>
              <a:srgbClr val="66D1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3" name="任意多边形: 形状 10512"/>
            <p:cNvSpPr/>
            <p:nvPr/>
          </p:nvSpPr>
          <p:spPr>
            <a:xfrm>
              <a:off x="5133463" y="2830990"/>
              <a:ext cx="44809" cy="59745"/>
            </a:xfrm>
            <a:custGeom>
              <a:avLst/>
              <a:gdLst>
                <a:gd name="connsiteX0" fmla="*/ 5712 w 44809"/>
                <a:gd name="connsiteY0" fmla="*/ 9961 h 59745"/>
                <a:gd name="connsiteX1" fmla="*/ 29610 w 44809"/>
                <a:gd name="connsiteY1" fmla="*/ 1000 h 59745"/>
                <a:gd name="connsiteX2" fmla="*/ 37078 w 44809"/>
                <a:gd name="connsiteY2" fmla="*/ 44315 h 59745"/>
                <a:gd name="connsiteX3" fmla="*/ 56495 w 44809"/>
                <a:gd name="connsiteY3" fmla="*/ 56264 h 59745"/>
                <a:gd name="connsiteX4" fmla="*/ 49027 w 44809"/>
                <a:gd name="connsiteY4" fmla="*/ 63732 h 59745"/>
                <a:gd name="connsiteX5" fmla="*/ 20648 w 44809"/>
                <a:gd name="connsiteY5" fmla="*/ 69707 h 59745"/>
                <a:gd name="connsiteX6" fmla="*/ 7206 w 44809"/>
                <a:gd name="connsiteY6" fmla="*/ 53277 h 59745"/>
                <a:gd name="connsiteX7" fmla="*/ 5712 w 44809"/>
                <a:gd name="connsiteY7" fmla="*/ 9961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809" h="59745">
                  <a:moveTo>
                    <a:pt x="5712" y="9961"/>
                  </a:moveTo>
                  <a:cubicBezTo>
                    <a:pt x="8699" y="8468"/>
                    <a:pt x="31104" y="-3481"/>
                    <a:pt x="29610" y="1000"/>
                  </a:cubicBezTo>
                  <a:cubicBezTo>
                    <a:pt x="20648" y="14442"/>
                    <a:pt x="28116" y="33860"/>
                    <a:pt x="37078" y="44315"/>
                  </a:cubicBezTo>
                  <a:cubicBezTo>
                    <a:pt x="41559" y="50290"/>
                    <a:pt x="49027" y="54770"/>
                    <a:pt x="56495" y="56264"/>
                  </a:cubicBezTo>
                  <a:cubicBezTo>
                    <a:pt x="56495" y="60745"/>
                    <a:pt x="52015" y="62239"/>
                    <a:pt x="49027" y="63732"/>
                  </a:cubicBezTo>
                  <a:cubicBezTo>
                    <a:pt x="31104" y="69707"/>
                    <a:pt x="28116" y="74188"/>
                    <a:pt x="20648" y="69707"/>
                  </a:cubicBezTo>
                  <a:cubicBezTo>
                    <a:pt x="14674" y="65226"/>
                    <a:pt x="10193" y="59251"/>
                    <a:pt x="7206" y="53277"/>
                  </a:cubicBezTo>
                  <a:cubicBezTo>
                    <a:pt x="1231" y="42821"/>
                    <a:pt x="-4744" y="14442"/>
                    <a:pt x="5712" y="9961"/>
                  </a:cubicBezTo>
                  <a:close/>
                </a:path>
              </a:pathLst>
            </a:custGeom>
            <a:solidFill>
              <a:srgbClr val="54ABD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4" name="任意多边形: 形状 10513"/>
            <p:cNvSpPr/>
            <p:nvPr/>
          </p:nvSpPr>
          <p:spPr>
            <a:xfrm>
              <a:off x="5124985" y="3399197"/>
              <a:ext cx="89618" cy="44809"/>
            </a:xfrm>
            <a:custGeom>
              <a:avLst/>
              <a:gdLst>
                <a:gd name="connsiteX0" fmla="*/ 91859 w 89618"/>
                <a:gd name="connsiteY0" fmla="*/ 3361 h 44809"/>
                <a:gd name="connsiteX1" fmla="*/ 91859 w 89618"/>
                <a:gd name="connsiteY1" fmla="*/ 22778 h 44809"/>
                <a:gd name="connsiteX2" fmla="*/ 39581 w 89618"/>
                <a:gd name="connsiteY2" fmla="*/ 52651 h 44809"/>
                <a:gd name="connsiteX3" fmla="*/ 6721 w 89618"/>
                <a:gd name="connsiteY3" fmla="*/ 52651 h 44809"/>
                <a:gd name="connsiteX4" fmla="*/ 6721 w 89618"/>
                <a:gd name="connsiteY4" fmla="*/ 52651 h 44809"/>
                <a:gd name="connsiteX5" fmla="*/ 6721 w 89618"/>
                <a:gd name="connsiteY5" fmla="*/ 33233 h 44809"/>
                <a:gd name="connsiteX6" fmla="*/ 58999 w 89618"/>
                <a:gd name="connsiteY6" fmla="*/ 3361 h 44809"/>
                <a:gd name="connsiteX7" fmla="*/ 91859 w 89618"/>
                <a:gd name="connsiteY7" fmla="*/ 3361 h 44809"/>
                <a:gd name="connsiteX8" fmla="*/ 91859 w 89618"/>
                <a:gd name="connsiteY8" fmla="*/ 336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91859" y="3361"/>
                  </a:moveTo>
                  <a:cubicBezTo>
                    <a:pt x="100820" y="9335"/>
                    <a:pt x="100820" y="16803"/>
                    <a:pt x="91859" y="22778"/>
                  </a:cubicBezTo>
                  <a:lnTo>
                    <a:pt x="39581" y="52651"/>
                  </a:lnTo>
                  <a:cubicBezTo>
                    <a:pt x="30620" y="58625"/>
                    <a:pt x="15683" y="58625"/>
                    <a:pt x="6721" y="52651"/>
                  </a:cubicBezTo>
                  <a:lnTo>
                    <a:pt x="6721" y="52651"/>
                  </a:lnTo>
                  <a:cubicBezTo>
                    <a:pt x="-2240" y="46676"/>
                    <a:pt x="-2240" y="39208"/>
                    <a:pt x="6721" y="33233"/>
                  </a:cubicBezTo>
                  <a:lnTo>
                    <a:pt x="58999" y="3361"/>
                  </a:lnTo>
                  <a:cubicBezTo>
                    <a:pt x="67960" y="-1120"/>
                    <a:pt x="82897" y="-1120"/>
                    <a:pt x="91859" y="3361"/>
                  </a:cubicBezTo>
                  <a:lnTo>
                    <a:pt x="91859" y="3361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5" name="任意多边形: 形状 10514"/>
            <p:cNvSpPr/>
            <p:nvPr/>
          </p:nvSpPr>
          <p:spPr>
            <a:xfrm>
              <a:off x="5125378" y="3369698"/>
              <a:ext cx="89618" cy="74682"/>
            </a:xfrm>
            <a:custGeom>
              <a:avLst/>
              <a:gdLst>
                <a:gd name="connsiteX0" fmla="*/ 42175 w 89618"/>
                <a:gd name="connsiteY0" fmla="*/ 2987 h 74681"/>
                <a:gd name="connsiteX1" fmla="*/ 81009 w 89618"/>
                <a:gd name="connsiteY1" fmla="*/ 0 h 74681"/>
                <a:gd name="connsiteX2" fmla="*/ 98933 w 89618"/>
                <a:gd name="connsiteY2" fmla="*/ 43315 h 74681"/>
                <a:gd name="connsiteX3" fmla="*/ 353 w 89618"/>
                <a:gd name="connsiteY3" fmla="*/ 76175 h 74681"/>
                <a:gd name="connsiteX4" fmla="*/ 31720 w 89618"/>
                <a:gd name="connsiteY4" fmla="*/ 29873 h 74681"/>
                <a:gd name="connsiteX5" fmla="*/ 42175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42175" y="2987"/>
                  </a:moveTo>
                  <a:lnTo>
                    <a:pt x="81009" y="0"/>
                  </a:lnTo>
                  <a:cubicBezTo>
                    <a:pt x="88478" y="10455"/>
                    <a:pt x="95946" y="23898"/>
                    <a:pt x="98933" y="43315"/>
                  </a:cubicBezTo>
                  <a:lnTo>
                    <a:pt x="353" y="76175"/>
                  </a:lnTo>
                  <a:cubicBezTo>
                    <a:pt x="-2634" y="62733"/>
                    <a:pt x="13796" y="43315"/>
                    <a:pt x="31720" y="29873"/>
                  </a:cubicBezTo>
                  <a:cubicBezTo>
                    <a:pt x="39188" y="22405"/>
                    <a:pt x="34707" y="10455"/>
                    <a:pt x="42175" y="2987"/>
                  </a:cubicBez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6" name="任意多边形: 形状 10515"/>
            <p:cNvSpPr/>
            <p:nvPr/>
          </p:nvSpPr>
          <p:spPr>
            <a:xfrm>
              <a:off x="5143655" y="2972391"/>
              <a:ext cx="104554" cy="224045"/>
            </a:xfrm>
            <a:custGeom>
              <a:avLst/>
              <a:gdLst>
                <a:gd name="connsiteX0" fmla="*/ 110529 w 104554"/>
                <a:gd name="connsiteY0" fmla="*/ 10455 h 224045"/>
                <a:gd name="connsiteX1" fmla="*/ 104554 w 104554"/>
                <a:gd name="connsiteY1" fmla="*/ 49290 h 224045"/>
                <a:gd name="connsiteX2" fmla="*/ 101567 w 104554"/>
                <a:gd name="connsiteY2" fmla="*/ 76175 h 224045"/>
                <a:gd name="connsiteX3" fmla="*/ 97086 w 104554"/>
                <a:gd name="connsiteY3" fmla="*/ 106048 h 224045"/>
                <a:gd name="connsiteX4" fmla="*/ 83644 w 104554"/>
                <a:gd name="connsiteY4" fmla="*/ 206122 h 224045"/>
                <a:gd name="connsiteX5" fmla="*/ 80656 w 104554"/>
                <a:gd name="connsiteY5" fmla="*/ 224045 h 224045"/>
                <a:gd name="connsiteX6" fmla="*/ 0 w 104554"/>
                <a:gd name="connsiteY6" fmla="*/ 213590 h 224045"/>
                <a:gd name="connsiteX7" fmla="*/ 26885 w 104554"/>
                <a:gd name="connsiteY7" fmla="*/ 22405 h 224045"/>
                <a:gd name="connsiteX8" fmla="*/ 29873 w 104554"/>
                <a:gd name="connsiteY8" fmla="*/ 0 h 224045"/>
                <a:gd name="connsiteX9" fmla="*/ 32860 w 104554"/>
                <a:gd name="connsiteY9" fmla="*/ 0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554" h="224045">
                  <a:moveTo>
                    <a:pt x="110529" y="10455"/>
                  </a:moveTo>
                  <a:lnTo>
                    <a:pt x="104554" y="49290"/>
                  </a:lnTo>
                  <a:lnTo>
                    <a:pt x="101567" y="76175"/>
                  </a:lnTo>
                  <a:lnTo>
                    <a:pt x="97086" y="106048"/>
                  </a:lnTo>
                  <a:lnTo>
                    <a:pt x="83644" y="206122"/>
                  </a:lnTo>
                  <a:lnTo>
                    <a:pt x="80656" y="224045"/>
                  </a:lnTo>
                  <a:lnTo>
                    <a:pt x="0" y="213590"/>
                  </a:lnTo>
                  <a:lnTo>
                    <a:pt x="26885" y="22405"/>
                  </a:lnTo>
                  <a:lnTo>
                    <a:pt x="29873" y="0"/>
                  </a:lnTo>
                  <a:lnTo>
                    <a:pt x="32860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7" name="任意多边形: 形状 10516"/>
            <p:cNvSpPr/>
            <p:nvPr/>
          </p:nvSpPr>
          <p:spPr>
            <a:xfrm>
              <a:off x="5212363" y="3063503"/>
              <a:ext cx="14936" cy="104554"/>
            </a:xfrm>
            <a:custGeom>
              <a:avLst/>
              <a:gdLst>
                <a:gd name="connsiteX0" fmla="*/ 0 w 14936"/>
                <a:gd name="connsiteY0" fmla="*/ 0 h 104554"/>
                <a:gd name="connsiteX1" fmla="*/ 10456 w 14936"/>
                <a:gd name="connsiteY1" fmla="*/ 59745 h 104554"/>
                <a:gd name="connsiteX2" fmla="*/ 14936 w 14936"/>
                <a:gd name="connsiteY2" fmla="*/ 116504 h 104554"/>
                <a:gd name="connsiteX3" fmla="*/ 28379 w 14936"/>
                <a:gd name="connsiteY3" fmla="*/ 16430 h 104554"/>
                <a:gd name="connsiteX4" fmla="*/ 25392 w 14936"/>
                <a:gd name="connsiteY4" fmla="*/ 13443 h 104554"/>
                <a:gd name="connsiteX5" fmla="*/ 0 w 14936"/>
                <a:gd name="connsiteY5" fmla="*/ 0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 h="104554">
                  <a:moveTo>
                    <a:pt x="0" y="0"/>
                  </a:moveTo>
                  <a:cubicBezTo>
                    <a:pt x="7468" y="19417"/>
                    <a:pt x="8962" y="38834"/>
                    <a:pt x="10456" y="59745"/>
                  </a:cubicBezTo>
                  <a:cubicBezTo>
                    <a:pt x="11949" y="79163"/>
                    <a:pt x="13443" y="97086"/>
                    <a:pt x="14936" y="116504"/>
                  </a:cubicBezTo>
                  <a:lnTo>
                    <a:pt x="28379" y="16430"/>
                  </a:lnTo>
                  <a:cubicBezTo>
                    <a:pt x="26885" y="14936"/>
                    <a:pt x="25392" y="14936"/>
                    <a:pt x="25392" y="13443"/>
                  </a:cubicBezTo>
                  <a:cubicBezTo>
                    <a:pt x="16430" y="8962"/>
                    <a:pt x="8962" y="4481"/>
                    <a:pt x="0" y="0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8" name="任意多边形: 形状 10517"/>
            <p:cNvSpPr/>
            <p:nvPr/>
          </p:nvSpPr>
          <p:spPr>
            <a:xfrm>
              <a:off x="5149256" y="3354388"/>
              <a:ext cx="74682" cy="44809"/>
            </a:xfrm>
            <a:custGeom>
              <a:avLst/>
              <a:gdLst>
                <a:gd name="connsiteX0" fmla="*/ 12322 w 74681"/>
                <a:gd name="connsiteY0" fmla="*/ 7842 h 44809"/>
                <a:gd name="connsiteX1" fmla="*/ 12322 w 74681"/>
                <a:gd name="connsiteY1" fmla="*/ 40701 h 44809"/>
                <a:gd name="connsiteX2" fmla="*/ 69081 w 74681"/>
                <a:gd name="connsiteY2" fmla="*/ 40701 h 44809"/>
                <a:gd name="connsiteX3" fmla="*/ 69081 w 74681"/>
                <a:gd name="connsiteY3" fmla="*/ 7842 h 44809"/>
                <a:gd name="connsiteX4" fmla="*/ 12322 w 74681"/>
                <a:gd name="connsiteY4" fmla="*/ 7842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12322" y="7842"/>
                  </a:moveTo>
                  <a:cubicBezTo>
                    <a:pt x="-4107" y="16803"/>
                    <a:pt x="-4107" y="31740"/>
                    <a:pt x="12322" y="40701"/>
                  </a:cubicBezTo>
                  <a:cubicBezTo>
                    <a:pt x="28753" y="49663"/>
                    <a:pt x="54144" y="49663"/>
                    <a:pt x="69081" y="40701"/>
                  </a:cubicBezTo>
                  <a:cubicBezTo>
                    <a:pt x="85511" y="31740"/>
                    <a:pt x="85511" y="16803"/>
                    <a:pt x="69081" y="7842"/>
                  </a:cubicBezTo>
                  <a:cubicBezTo>
                    <a:pt x="54144" y="-2614"/>
                    <a:pt x="28753" y="-2614"/>
                    <a:pt x="12322" y="7842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9" name="任意多边形: 形状 10518"/>
            <p:cNvSpPr/>
            <p:nvPr/>
          </p:nvSpPr>
          <p:spPr>
            <a:xfrm>
              <a:off x="5142957" y="3143929"/>
              <a:ext cx="74682" cy="224045"/>
            </a:xfrm>
            <a:custGeom>
              <a:avLst/>
              <a:gdLst>
                <a:gd name="connsiteX0" fmla="*/ 87329 w 74681"/>
                <a:gd name="connsiteY0" fmla="*/ 233237 h 224045"/>
                <a:gd name="connsiteX1" fmla="*/ 81355 w 74681"/>
                <a:gd name="connsiteY1" fmla="*/ 51014 h 224045"/>
                <a:gd name="connsiteX2" fmla="*/ 64925 w 74681"/>
                <a:gd name="connsiteY2" fmla="*/ 12179 h 224045"/>
                <a:gd name="connsiteX3" fmla="*/ 32065 w 74681"/>
                <a:gd name="connsiteY3" fmla="*/ 230 h 224045"/>
                <a:gd name="connsiteX4" fmla="*/ 699 w 74681"/>
                <a:gd name="connsiteY4" fmla="*/ 40558 h 224045"/>
                <a:gd name="connsiteX5" fmla="*/ 6673 w 74681"/>
                <a:gd name="connsiteY5" fmla="*/ 233237 h 224045"/>
                <a:gd name="connsiteX6" fmla="*/ 29078 w 74681"/>
                <a:gd name="connsiteY6" fmla="*/ 233237 h 224045"/>
                <a:gd name="connsiteX7" fmla="*/ 87329 w 74681"/>
                <a:gd name="connsiteY7" fmla="*/ 233237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224045">
                  <a:moveTo>
                    <a:pt x="87329" y="233237"/>
                  </a:moveTo>
                  <a:cubicBezTo>
                    <a:pt x="90317" y="173492"/>
                    <a:pt x="84342" y="58482"/>
                    <a:pt x="81355" y="51014"/>
                  </a:cubicBezTo>
                  <a:cubicBezTo>
                    <a:pt x="76874" y="43546"/>
                    <a:pt x="72393" y="16660"/>
                    <a:pt x="64925" y="12179"/>
                  </a:cubicBezTo>
                  <a:cubicBezTo>
                    <a:pt x="54469" y="4711"/>
                    <a:pt x="44014" y="-1263"/>
                    <a:pt x="32065" y="230"/>
                  </a:cubicBezTo>
                  <a:cubicBezTo>
                    <a:pt x="17129" y="1724"/>
                    <a:pt x="3686" y="25622"/>
                    <a:pt x="699" y="40558"/>
                  </a:cubicBezTo>
                  <a:cubicBezTo>
                    <a:pt x="-2289" y="55495"/>
                    <a:pt x="5180" y="224276"/>
                    <a:pt x="6673" y="233237"/>
                  </a:cubicBezTo>
                  <a:cubicBezTo>
                    <a:pt x="8167" y="242199"/>
                    <a:pt x="21609" y="230250"/>
                    <a:pt x="29078" y="233237"/>
                  </a:cubicBezTo>
                  <a:lnTo>
                    <a:pt x="87329" y="233237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0" name="任意多边形: 形状 10519"/>
            <p:cNvSpPr/>
            <p:nvPr/>
          </p:nvSpPr>
          <p:spPr>
            <a:xfrm>
              <a:off x="5236261" y="3026162"/>
              <a:ext cx="74682" cy="209109"/>
            </a:xfrm>
            <a:custGeom>
              <a:avLst/>
              <a:gdLst>
                <a:gd name="connsiteX0" fmla="*/ 0 w 74681"/>
                <a:gd name="connsiteY0" fmla="*/ 0 h 209108"/>
                <a:gd name="connsiteX1" fmla="*/ 82150 w 74681"/>
                <a:gd name="connsiteY1" fmla="*/ 0 h 209108"/>
                <a:gd name="connsiteX2" fmla="*/ 82150 w 74681"/>
                <a:gd name="connsiteY2" fmla="*/ 215083 h 209108"/>
                <a:gd name="connsiteX3" fmla="*/ 0 w 74681"/>
                <a:gd name="connsiteY3" fmla="*/ 215083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209108">
                  <a:moveTo>
                    <a:pt x="0" y="0"/>
                  </a:moveTo>
                  <a:lnTo>
                    <a:pt x="82150" y="0"/>
                  </a:lnTo>
                  <a:lnTo>
                    <a:pt x="82150" y="215083"/>
                  </a:lnTo>
                  <a:lnTo>
                    <a:pt x="0" y="215083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1" name="任意多边形: 形状 10520"/>
            <p:cNvSpPr/>
            <p:nvPr/>
          </p:nvSpPr>
          <p:spPr>
            <a:xfrm>
              <a:off x="5237678" y="3210578"/>
              <a:ext cx="89618" cy="238981"/>
            </a:xfrm>
            <a:custGeom>
              <a:avLst/>
              <a:gdLst>
                <a:gd name="connsiteX0" fmla="*/ 101643 w 89618"/>
                <a:gd name="connsiteY0" fmla="*/ 230814 h 238981"/>
                <a:gd name="connsiteX1" fmla="*/ 80732 w 89618"/>
                <a:gd name="connsiteY1" fmla="*/ 30667 h 238981"/>
                <a:gd name="connsiteX2" fmla="*/ 61315 w 89618"/>
                <a:gd name="connsiteY2" fmla="*/ 9756 h 238981"/>
                <a:gd name="connsiteX3" fmla="*/ 26962 w 89618"/>
                <a:gd name="connsiteY3" fmla="*/ 795 h 238981"/>
                <a:gd name="connsiteX4" fmla="*/ 76 w 89618"/>
                <a:gd name="connsiteY4" fmla="*/ 30667 h 238981"/>
                <a:gd name="connsiteX5" fmla="*/ 22481 w 89618"/>
                <a:gd name="connsiteY5" fmla="*/ 230814 h 238981"/>
                <a:gd name="connsiteX6" fmla="*/ 34430 w 89618"/>
                <a:gd name="connsiteY6" fmla="*/ 241270 h 238981"/>
                <a:gd name="connsiteX7" fmla="*/ 101643 w 89618"/>
                <a:gd name="connsiteY7" fmla="*/ 230814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618" h="238981">
                  <a:moveTo>
                    <a:pt x="101643" y="230814"/>
                  </a:moveTo>
                  <a:cubicBezTo>
                    <a:pt x="100150" y="171069"/>
                    <a:pt x="83720" y="36642"/>
                    <a:pt x="80732" y="30667"/>
                  </a:cubicBezTo>
                  <a:cubicBezTo>
                    <a:pt x="76252" y="23199"/>
                    <a:pt x="68783" y="14237"/>
                    <a:pt x="61315" y="9756"/>
                  </a:cubicBezTo>
                  <a:cubicBezTo>
                    <a:pt x="50860" y="3782"/>
                    <a:pt x="38911" y="-2193"/>
                    <a:pt x="26962" y="795"/>
                  </a:cubicBezTo>
                  <a:cubicBezTo>
                    <a:pt x="12025" y="3782"/>
                    <a:pt x="1570" y="15731"/>
                    <a:pt x="76" y="30667"/>
                  </a:cubicBezTo>
                  <a:cubicBezTo>
                    <a:pt x="-1417" y="45604"/>
                    <a:pt x="19493" y="223346"/>
                    <a:pt x="22481" y="230814"/>
                  </a:cubicBezTo>
                  <a:cubicBezTo>
                    <a:pt x="25468" y="239776"/>
                    <a:pt x="25468" y="238283"/>
                    <a:pt x="34430" y="241270"/>
                  </a:cubicBezTo>
                  <a:lnTo>
                    <a:pt x="101643" y="230814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2" name="任意多边形: 形状 10521"/>
            <p:cNvSpPr/>
            <p:nvPr/>
          </p:nvSpPr>
          <p:spPr>
            <a:xfrm>
              <a:off x="5169047" y="2972391"/>
              <a:ext cx="134427" cy="89618"/>
            </a:xfrm>
            <a:custGeom>
              <a:avLst/>
              <a:gdLst>
                <a:gd name="connsiteX0" fmla="*/ 147870 w 134427"/>
                <a:gd name="connsiteY0" fmla="*/ 85137 h 89618"/>
                <a:gd name="connsiteX1" fmla="*/ 110529 w 134427"/>
                <a:gd name="connsiteY1" fmla="*/ 89618 h 89618"/>
                <a:gd name="connsiteX2" fmla="*/ 74682 w 134427"/>
                <a:gd name="connsiteY2" fmla="*/ 76175 h 89618"/>
                <a:gd name="connsiteX3" fmla="*/ 20911 w 134427"/>
                <a:gd name="connsiteY3" fmla="*/ 43316 h 89618"/>
                <a:gd name="connsiteX4" fmla="*/ 0 w 134427"/>
                <a:gd name="connsiteY4" fmla="*/ 22405 h 89618"/>
                <a:gd name="connsiteX5" fmla="*/ 0 w 134427"/>
                <a:gd name="connsiteY5" fmla="*/ 22405 h 89618"/>
                <a:gd name="connsiteX6" fmla="*/ 2987 w 134427"/>
                <a:gd name="connsiteY6" fmla="*/ 0 h 89618"/>
                <a:gd name="connsiteX7" fmla="*/ 5975 w 134427"/>
                <a:gd name="connsiteY7" fmla="*/ 0 h 89618"/>
                <a:gd name="connsiteX8" fmla="*/ 64226 w 134427"/>
                <a:gd name="connsiteY8" fmla="*/ 41822 h 89618"/>
                <a:gd name="connsiteX9" fmla="*/ 77669 w 134427"/>
                <a:gd name="connsiteY9" fmla="*/ 47796 h 89618"/>
                <a:gd name="connsiteX10" fmla="*/ 141895 w 134427"/>
                <a:gd name="connsiteY10" fmla="*/ 56758 h 89618"/>
                <a:gd name="connsiteX11" fmla="*/ 147870 w 134427"/>
                <a:gd name="connsiteY11" fmla="*/ 85137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4427" h="89618">
                  <a:moveTo>
                    <a:pt x="147870" y="85137"/>
                  </a:moveTo>
                  <a:cubicBezTo>
                    <a:pt x="137414" y="91112"/>
                    <a:pt x="123972" y="92605"/>
                    <a:pt x="110529" y="89618"/>
                  </a:cubicBezTo>
                  <a:cubicBezTo>
                    <a:pt x="98580" y="86631"/>
                    <a:pt x="86631" y="82150"/>
                    <a:pt x="74682" y="76175"/>
                  </a:cubicBezTo>
                  <a:cubicBezTo>
                    <a:pt x="55265" y="67214"/>
                    <a:pt x="37341" y="55264"/>
                    <a:pt x="20911" y="43316"/>
                  </a:cubicBezTo>
                  <a:cubicBezTo>
                    <a:pt x="13443" y="37341"/>
                    <a:pt x="4481" y="31366"/>
                    <a:pt x="0" y="22405"/>
                  </a:cubicBezTo>
                  <a:cubicBezTo>
                    <a:pt x="0" y="22405"/>
                    <a:pt x="0" y="22405"/>
                    <a:pt x="0" y="22405"/>
                  </a:cubicBezTo>
                  <a:lnTo>
                    <a:pt x="2987" y="0"/>
                  </a:lnTo>
                  <a:lnTo>
                    <a:pt x="5975" y="0"/>
                  </a:lnTo>
                  <a:cubicBezTo>
                    <a:pt x="23898" y="16430"/>
                    <a:pt x="43315" y="31366"/>
                    <a:pt x="64226" y="41822"/>
                  </a:cubicBezTo>
                  <a:cubicBezTo>
                    <a:pt x="68707" y="44809"/>
                    <a:pt x="73188" y="46303"/>
                    <a:pt x="77669" y="47796"/>
                  </a:cubicBezTo>
                  <a:cubicBezTo>
                    <a:pt x="98580" y="56758"/>
                    <a:pt x="119491" y="61239"/>
                    <a:pt x="141895" y="56758"/>
                  </a:cubicBezTo>
                  <a:cubicBezTo>
                    <a:pt x="144883" y="67214"/>
                    <a:pt x="146376" y="76175"/>
                    <a:pt x="147870" y="85137"/>
                  </a:cubicBez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3" name="任意多边形: 形状 10522"/>
            <p:cNvSpPr/>
            <p:nvPr/>
          </p:nvSpPr>
          <p:spPr>
            <a:xfrm>
              <a:off x="5169047" y="2719541"/>
              <a:ext cx="164300" cy="313663"/>
            </a:xfrm>
            <a:custGeom>
              <a:avLst/>
              <a:gdLst>
                <a:gd name="connsiteX0" fmla="*/ 177743 w 164299"/>
                <a:gd name="connsiteY0" fmla="*/ 70627 h 313663"/>
                <a:gd name="connsiteX1" fmla="*/ 173262 w 164299"/>
                <a:gd name="connsiteY1" fmla="*/ 267787 h 313663"/>
                <a:gd name="connsiteX2" fmla="*/ 125465 w 164299"/>
                <a:gd name="connsiteY2" fmla="*/ 326038 h 313663"/>
                <a:gd name="connsiteX3" fmla="*/ 83644 w 164299"/>
                <a:gd name="connsiteY3" fmla="*/ 320064 h 313663"/>
                <a:gd name="connsiteX4" fmla="*/ 52277 w 164299"/>
                <a:gd name="connsiteY4" fmla="*/ 302140 h 313663"/>
                <a:gd name="connsiteX5" fmla="*/ 49290 w 164299"/>
                <a:gd name="connsiteY5" fmla="*/ 300646 h 313663"/>
                <a:gd name="connsiteX6" fmla="*/ 34354 w 164299"/>
                <a:gd name="connsiteY6" fmla="*/ 291685 h 313663"/>
                <a:gd name="connsiteX7" fmla="*/ 29873 w 164299"/>
                <a:gd name="connsiteY7" fmla="*/ 288698 h 313663"/>
                <a:gd name="connsiteX8" fmla="*/ 0 w 164299"/>
                <a:gd name="connsiteY8" fmla="*/ 237914 h 313663"/>
                <a:gd name="connsiteX9" fmla="*/ 1494 w 164299"/>
                <a:gd name="connsiteY9" fmla="*/ 222978 h 313663"/>
                <a:gd name="connsiteX10" fmla="*/ 2987 w 164299"/>
                <a:gd name="connsiteY10" fmla="*/ 193105 h 313663"/>
                <a:gd name="connsiteX11" fmla="*/ 8962 w 164299"/>
                <a:gd name="connsiteY11" fmla="*/ 107968 h 313663"/>
                <a:gd name="connsiteX12" fmla="*/ 8962 w 164299"/>
                <a:gd name="connsiteY12" fmla="*/ 101993 h 313663"/>
                <a:gd name="connsiteX13" fmla="*/ 10456 w 164299"/>
                <a:gd name="connsiteY13" fmla="*/ 76601 h 313663"/>
                <a:gd name="connsiteX14" fmla="*/ 11949 w 164299"/>
                <a:gd name="connsiteY14" fmla="*/ 57184 h 313663"/>
                <a:gd name="connsiteX15" fmla="*/ 11949 w 164299"/>
                <a:gd name="connsiteY15" fmla="*/ 57184 h 313663"/>
                <a:gd name="connsiteX16" fmla="*/ 56758 w 164299"/>
                <a:gd name="connsiteY16" fmla="*/ 3413 h 313663"/>
                <a:gd name="connsiteX17" fmla="*/ 115010 w 164299"/>
                <a:gd name="connsiteY17" fmla="*/ 10882 h 313663"/>
                <a:gd name="connsiteX18" fmla="*/ 177743 w 164299"/>
                <a:gd name="connsiteY18" fmla="*/ 70627 h 313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4299" h="313663">
                  <a:moveTo>
                    <a:pt x="177743" y="70627"/>
                  </a:moveTo>
                  <a:lnTo>
                    <a:pt x="173262" y="267787"/>
                  </a:lnTo>
                  <a:cubicBezTo>
                    <a:pt x="173262" y="297659"/>
                    <a:pt x="152351" y="320064"/>
                    <a:pt x="125465" y="326038"/>
                  </a:cubicBezTo>
                  <a:cubicBezTo>
                    <a:pt x="112023" y="329026"/>
                    <a:pt x="97086" y="327532"/>
                    <a:pt x="83644" y="320064"/>
                  </a:cubicBezTo>
                  <a:lnTo>
                    <a:pt x="52277" y="302140"/>
                  </a:lnTo>
                  <a:lnTo>
                    <a:pt x="49290" y="300646"/>
                  </a:lnTo>
                  <a:lnTo>
                    <a:pt x="34354" y="291685"/>
                  </a:lnTo>
                  <a:lnTo>
                    <a:pt x="29873" y="288698"/>
                  </a:lnTo>
                  <a:cubicBezTo>
                    <a:pt x="11949" y="278242"/>
                    <a:pt x="0" y="258825"/>
                    <a:pt x="0" y="237914"/>
                  </a:cubicBezTo>
                  <a:lnTo>
                    <a:pt x="1494" y="222978"/>
                  </a:lnTo>
                  <a:lnTo>
                    <a:pt x="2987" y="193105"/>
                  </a:lnTo>
                  <a:lnTo>
                    <a:pt x="8962" y="107968"/>
                  </a:lnTo>
                  <a:lnTo>
                    <a:pt x="8962" y="101993"/>
                  </a:lnTo>
                  <a:lnTo>
                    <a:pt x="10456" y="76601"/>
                  </a:lnTo>
                  <a:cubicBezTo>
                    <a:pt x="10456" y="69133"/>
                    <a:pt x="11949" y="63159"/>
                    <a:pt x="11949" y="57184"/>
                  </a:cubicBezTo>
                  <a:lnTo>
                    <a:pt x="11949" y="57184"/>
                  </a:lnTo>
                  <a:cubicBezTo>
                    <a:pt x="17924" y="30299"/>
                    <a:pt x="35847" y="10882"/>
                    <a:pt x="56758" y="3413"/>
                  </a:cubicBezTo>
                  <a:cubicBezTo>
                    <a:pt x="74682" y="-2561"/>
                    <a:pt x="95593" y="-1068"/>
                    <a:pt x="115010" y="10882"/>
                  </a:cubicBezTo>
                  <a:cubicBezTo>
                    <a:pt x="143389" y="25818"/>
                    <a:pt x="164300" y="46729"/>
                    <a:pt x="177743" y="70627"/>
                  </a:cubicBezTo>
                  <a:close/>
                </a:path>
              </a:pathLst>
            </a:custGeom>
            <a:solidFill>
              <a:srgbClr val="66D1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4" name="任意多边形: 形状 10523"/>
            <p:cNvSpPr/>
            <p:nvPr/>
          </p:nvSpPr>
          <p:spPr>
            <a:xfrm>
              <a:off x="5221324" y="2812572"/>
              <a:ext cx="89618" cy="224045"/>
            </a:xfrm>
            <a:custGeom>
              <a:avLst/>
              <a:gdLst>
                <a:gd name="connsiteX0" fmla="*/ 0 w 89618"/>
                <a:gd name="connsiteY0" fmla="*/ 207615 h 224045"/>
                <a:gd name="connsiteX1" fmla="*/ 31366 w 89618"/>
                <a:gd name="connsiteY1" fmla="*/ 225539 h 224045"/>
                <a:gd name="connsiteX2" fmla="*/ 73188 w 89618"/>
                <a:gd name="connsiteY2" fmla="*/ 231513 h 224045"/>
                <a:gd name="connsiteX3" fmla="*/ 76175 w 89618"/>
                <a:gd name="connsiteY3" fmla="*/ 213590 h 224045"/>
                <a:gd name="connsiteX4" fmla="*/ 91112 w 89618"/>
                <a:gd name="connsiteY4" fmla="*/ 137414 h 224045"/>
                <a:gd name="connsiteX5" fmla="*/ 95593 w 89618"/>
                <a:gd name="connsiteY5" fmla="*/ 104554 h 224045"/>
                <a:gd name="connsiteX6" fmla="*/ 91112 w 89618"/>
                <a:gd name="connsiteY6" fmla="*/ 64226 h 224045"/>
                <a:gd name="connsiteX7" fmla="*/ 82150 w 89618"/>
                <a:gd name="connsiteY7" fmla="*/ 19417 h 224045"/>
                <a:gd name="connsiteX8" fmla="*/ 76175 w 89618"/>
                <a:gd name="connsiteY8" fmla="*/ 0 h 224045"/>
                <a:gd name="connsiteX9" fmla="*/ 71694 w 89618"/>
                <a:gd name="connsiteY9" fmla="*/ 91112 h 224045"/>
                <a:gd name="connsiteX10" fmla="*/ 70201 w 89618"/>
                <a:gd name="connsiteY10" fmla="*/ 110529 h 224045"/>
                <a:gd name="connsiteX11" fmla="*/ 65720 w 89618"/>
                <a:gd name="connsiteY11" fmla="*/ 132933 h 224045"/>
                <a:gd name="connsiteX12" fmla="*/ 0 w 89618"/>
                <a:gd name="connsiteY12" fmla="*/ 207615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618" h="224045">
                  <a:moveTo>
                    <a:pt x="0" y="207615"/>
                  </a:moveTo>
                  <a:lnTo>
                    <a:pt x="31366" y="225539"/>
                  </a:lnTo>
                  <a:cubicBezTo>
                    <a:pt x="44809" y="233007"/>
                    <a:pt x="59745" y="234501"/>
                    <a:pt x="73188" y="231513"/>
                  </a:cubicBezTo>
                  <a:cubicBezTo>
                    <a:pt x="74682" y="225539"/>
                    <a:pt x="76175" y="219564"/>
                    <a:pt x="76175" y="213590"/>
                  </a:cubicBezTo>
                  <a:cubicBezTo>
                    <a:pt x="80656" y="188198"/>
                    <a:pt x="86631" y="162806"/>
                    <a:pt x="91112" y="137414"/>
                  </a:cubicBezTo>
                  <a:cubicBezTo>
                    <a:pt x="92605" y="126959"/>
                    <a:pt x="95593" y="115010"/>
                    <a:pt x="95593" y="104554"/>
                  </a:cubicBezTo>
                  <a:cubicBezTo>
                    <a:pt x="95593" y="91112"/>
                    <a:pt x="92605" y="77669"/>
                    <a:pt x="91112" y="64226"/>
                  </a:cubicBezTo>
                  <a:cubicBezTo>
                    <a:pt x="88124" y="49290"/>
                    <a:pt x="85137" y="34354"/>
                    <a:pt x="82150" y="19417"/>
                  </a:cubicBezTo>
                  <a:cubicBezTo>
                    <a:pt x="80656" y="13443"/>
                    <a:pt x="79163" y="5974"/>
                    <a:pt x="76175" y="0"/>
                  </a:cubicBezTo>
                  <a:cubicBezTo>
                    <a:pt x="74682" y="29873"/>
                    <a:pt x="73188" y="61239"/>
                    <a:pt x="71694" y="91112"/>
                  </a:cubicBezTo>
                  <a:cubicBezTo>
                    <a:pt x="71694" y="97086"/>
                    <a:pt x="71694" y="103061"/>
                    <a:pt x="70201" y="110529"/>
                  </a:cubicBezTo>
                  <a:cubicBezTo>
                    <a:pt x="68707" y="117997"/>
                    <a:pt x="67214" y="125465"/>
                    <a:pt x="65720" y="132933"/>
                  </a:cubicBezTo>
                  <a:cubicBezTo>
                    <a:pt x="58252" y="159819"/>
                    <a:pt x="49290" y="209109"/>
                    <a:pt x="0" y="207615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5" name="任意多边形: 形状 10524"/>
            <p:cNvSpPr/>
            <p:nvPr/>
          </p:nvSpPr>
          <p:spPr>
            <a:xfrm>
              <a:off x="5203011" y="2755814"/>
              <a:ext cx="29873" cy="253918"/>
            </a:xfrm>
            <a:custGeom>
              <a:avLst/>
              <a:gdLst>
                <a:gd name="connsiteX0" fmla="*/ 15326 w 29872"/>
                <a:gd name="connsiteY0" fmla="*/ 262880 h 253917"/>
                <a:gd name="connsiteX1" fmla="*/ 390 w 29872"/>
                <a:gd name="connsiteY1" fmla="*/ 253918 h 253917"/>
                <a:gd name="connsiteX2" fmla="*/ 19807 w 29872"/>
                <a:gd name="connsiteY2" fmla="*/ 0 h 253917"/>
                <a:gd name="connsiteX3" fmla="*/ 37730 w 29872"/>
                <a:gd name="connsiteY3" fmla="*/ 5975 h 253917"/>
                <a:gd name="connsiteX4" fmla="*/ 15326 w 29872"/>
                <a:gd name="connsiteY4" fmla="*/ 262880 h 253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72" h="253917">
                  <a:moveTo>
                    <a:pt x="15326" y="262880"/>
                  </a:moveTo>
                  <a:lnTo>
                    <a:pt x="390" y="253918"/>
                  </a:lnTo>
                  <a:cubicBezTo>
                    <a:pt x="-2598" y="204628"/>
                    <a:pt x="12339" y="98580"/>
                    <a:pt x="19807" y="0"/>
                  </a:cubicBezTo>
                  <a:lnTo>
                    <a:pt x="37730" y="5975"/>
                  </a:lnTo>
                  <a:cubicBezTo>
                    <a:pt x="28769" y="106048"/>
                    <a:pt x="13832" y="212096"/>
                    <a:pt x="15326" y="262880"/>
                  </a:cubicBezTo>
                  <a:close/>
                </a:path>
              </a:pathLst>
            </a:custGeom>
            <a:solidFill>
              <a:srgbClr val="66D1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6" name="任意多边形: 形状 10525"/>
            <p:cNvSpPr/>
            <p:nvPr/>
          </p:nvSpPr>
          <p:spPr>
            <a:xfrm>
              <a:off x="5222818" y="2794649"/>
              <a:ext cx="14936" cy="14936"/>
            </a:xfrm>
            <a:custGeom>
              <a:avLst/>
              <a:gdLst>
                <a:gd name="connsiteX0" fmla="*/ 0 w 0"/>
                <a:gd name="connsiteY0" fmla="*/ 2987 h 0"/>
                <a:gd name="connsiteX1" fmla="*/ 4481 w 0"/>
                <a:gd name="connsiteY1" fmla="*/ 10455 h 0"/>
                <a:gd name="connsiteX2" fmla="*/ 8962 w 0"/>
                <a:gd name="connsiteY2" fmla="*/ 7468 h 0"/>
                <a:gd name="connsiteX3" fmla="*/ 4481 w 0"/>
                <a:gd name="connsiteY3" fmla="*/ 0 h 0"/>
                <a:gd name="connsiteX4" fmla="*/ 0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2987"/>
                  </a:moveTo>
                  <a:cubicBezTo>
                    <a:pt x="0" y="5974"/>
                    <a:pt x="1494" y="8962"/>
                    <a:pt x="4481" y="10455"/>
                  </a:cubicBezTo>
                  <a:cubicBezTo>
                    <a:pt x="7468" y="11949"/>
                    <a:pt x="8962" y="10455"/>
                    <a:pt x="8962" y="7468"/>
                  </a:cubicBezTo>
                  <a:cubicBezTo>
                    <a:pt x="8962" y="4481"/>
                    <a:pt x="7468" y="1493"/>
                    <a:pt x="4481" y="0"/>
                  </a:cubicBezTo>
                  <a:cubicBezTo>
                    <a:pt x="1494" y="0"/>
                    <a:pt x="0" y="0"/>
                    <a:pt x="0" y="2987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7" name="任意多边形: 形状 10526"/>
            <p:cNvSpPr/>
            <p:nvPr/>
          </p:nvSpPr>
          <p:spPr>
            <a:xfrm>
              <a:off x="5215350" y="2858289"/>
              <a:ext cx="14936" cy="14936"/>
            </a:xfrm>
            <a:custGeom>
              <a:avLst/>
              <a:gdLst>
                <a:gd name="connsiteX0" fmla="*/ 0 w 0"/>
                <a:gd name="connsiteY0" fmla="*/ 3573 h 0"/>
                <a:gd name="connsiteX1" fmla="*/ 4481 w 0"/>
                <a:gd name="connsiteY1" fmla="*/ 11041 h 0"/>
                <a:gd name="connsiteX2" fmla="*/ 8962 w 0"/>
                <a:gd name="connsiteY2" fmla="*/ 8054 h 0"/>
                <a:gd name="connsiteX3" fmla="*/ 4481 w 0"/>
                <a:gd name="connsiteY3" fmla="*/ 586 h 0"/>
                <a:gd name="connsiteX4" fmla="*/ 0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573"/>
                  </a:moveTo>
                  <a:cubicBezTo>
                    <a:pt x="0" y="6560"/>
                    <a:pt x="1494" y="9548"/>
                    <a:pt x="4481" y="11041"/>
                  </a:cubicBezTo>
                  <a:cubicBezTo>
                    <a:pt x="7468" y="12535"/>
                    <a:pt x="8962" y="11041"/>
                    <a:pt x="8962" y="8054"/>
                  </a:cubicBezTo>
                  <a:cubicBezTo>
                    <a:pt x="8962" y="5067"/>
                    <a:pt x="7468" y="2079"/>
                    <a:pt x="4481" y="586"/>
                  </a:cubicBezTo>
                  <a:cubicBezTo>
                    <a:pt x="2987" y="-908"/>
                    <a:pt x="0" y="586"/>
                    <a:pt x="0" y="3573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8" name="任意多边形: 形状 10527"/>
            <p:cNvSpPr/>
            <p:nvPr/>
          </p:nvSpPr>
          <p:spPr>
            <a:xfrm>
              <a:off x="5210869" y="2918035"/>
              <a:ext cx="14936" cy="14936"/>
            </a:xfrm>
            <a:custGeom>
              <a:avLst/>
              <a:gdLst>
                <a:gd name="connsiteX0" fmla="*/ 0 w 0"/>
                <a:gd name="connsiteY0" fmla="*/ 3573 h 0"/>
                <a:gd name="connsiteX1" fmla="*/ 4481 w 0"/>
                <a:gd name="connsiteY1" fmla="*/ 11041 h 0"/>
                <a:gd name="connsiteX2" fmla="*/ 8962 w 0"/>
                <a:gd name="connsiteY2" fmla="*/ 8054 h 0"/>
                <a:gd name="connsiteX3" fmla="*/ 4481 w 0"/>
                <a:gd name="connsiteY3" fmla="*/ 586 h 0"/>
                <a:gd name="connsiteX4" fmla="*/ 0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573"/>
                  </a:moveTo>
                  <a:cubicBezTo>
                    <a:pt x="0" y="6560"/>
                    <a:pt x="1494" y="9548"/>
                    <a:pt x="4481" y="11041"/>
                  </a:cubicBezTo>
                  <a:cubicBezTo>
                    <a:pt x="7468" y="12535"/>
                    <a:pt x="8962" y="11041"/>
                    <a:pt x="8962" y="8054"/>
                  </a:cubicBezTo>
                  <a:cubicBezTo>
                    <a:pt x="8962" y="5067"/>
                    <a:pt x="7468" y="2079"/>
                    <a:pt x="4481" y="586"/>
                  </a:cubicBezTo>
                  <a:cubicBezTo>
                    <a:pt x="1494" y="-908"/>
                    <a:pt x="0" y="586"/>
                    <a:pt x="0" y="3573"/>
                  </a:cubicBez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9" name="任意多边形: 形状 10528"/>
            <p:cNvSpPr/>
            <p:nvPr/>
          </p:nvSpPr>
          <p:spPr>
            <a:xfrm>
              <a:off x="5206388" y="2970898"/>
              <a:ext cx="14936" cy="14936"/>
            </a:xfrm>
            <a:custGeom>
              <a:avLst/>
              <a:gdLst>
                <a:gd name="connsiteX0" fmla="*/ 0 w 0"/>
                <a:gd name="connsiteY0" fmla="*/ 2987 h 0"/>
                <a:gd name="connsiteX1" fmla="*/ 4481 w 0"/>
                <a:gd name="connsiteY1" fmla="*/ 10455 h 0"/>
                <a:gd name="connsiteX2" fmla="*/ 8962 w 0"/>
                <a:gd name="connsiteY2" fmla="*/ 7468 h 0"/>
                <a:gd name="connsiteX3" fmla="*/ 4481 w 0"/>
                <a:gd name="connsiteY3" fmla="*/ 0 h 0"/>
                <a:gd name="connsiteX4" fmla="*/ 0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2987"/>
                  </a:moveTo>
                  <a:cubicBezTo>
                    <a:pt x="0" y="5974"/>
                    <a:pt x="1494" y="8962"/>
                    <a:pt x="4481" y="10455"/>
                  </a:cubicBezTo>
                  <a:cubicBezTo>
                    <a:pt x="7468" y="11949"/>
                    <a:pt x="8962" y="10455"/>
                    <a:pt x="8962" y="7468"/>
                  </a:cubicBezTo>
                  <a:cubicBezTo>
                    <a:pt x="8962" y="4481"/>
                    <a:pt x="7468" y="1493"/>
                    <a:pt x="4481" y="0"/>
                  </a:cubicBezTo>
                  <a:cubicBezTo>
                    <a:pt x="1494" y="0"/>
                    <a:pt x="0" y="0"/>
                    <a:pt x="0" y="2987"/>
                  </a:cubicBez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0" name="任意多边形: 形状 10529"/>
            <p:cNvSpPr/>
            <p:nvPr/>
          </p:nvSpPr>
          <p:spPr>
            <a:xfrm>
              <a:off x="5273975" y="3038111"/>
              <a:ext cx="44809" cy="89618"/>
            </a:xfrm>
            <a:custGeom>
              <a:avLst/>
              <a:gdLst>
                <a:gd name="connsiteX0" fmla="*/ 56385 w 44809"/>
                <a:gd name="connsiteY0" fmla="*/ 47796 h 89618"/>
                <a:gd name="connsiteX1" fmla="*/ 53397 w 44809"/>
                <a:gd name="connsiteY1" fmla="*/ 59745 h 89618"/>
                <a:gd name="connsiteX2" fmla="*/ 47423 w 44809"/>
                <a:gd name="connsiteY2" fmla="*/ 65720 h 89618"/>
                <a:gd name="connsiteX3" fmla="*/ 30993 w 44809"/>
                <a:gd name="connsiteY3" fmla="*/ 82150 h 89618"/>
                <a:gd name="connsiteX4" fmla="*/ 26512 w 44809"/>
                <a:gd name="connsiteY4" fmla="*/ 86631 h 89618"/>
                <a:gd name="connsiteX5" fmla="*/ 11576 w 44809"/>
                <a:gd name="connsiteY5" fmla="*/ 91112 h 89618"/>
                <a:gd name="connsiteX6" fmla="*/ 7095 w 44809"/>
                <a:gd name="connsiteY6" fmla="*/ 89618 h 89618"/>
                <a:gd name="connsiteX7" fmla="*/ 5601 w 44809"/>
                <a:gd name="connsiteY7" fmla="*/ 88124 h 89618"/>
                <a:gd name="connsiteX8" fmla="*/ 10082 w 44809"/>
                <a:gd name="connsiteY8" fmla="*/ 77669 h 89618"/>
                <a:gd name="connsiteX9" fmla="*/ 16057 w 44809"/>
                <a:gd name="connsiteY9" fmla="*/ 56758 h 89618"/>
                <a:gd name="connsiteX10" fmla="*/ 17550 w 44809"/>
                <a:gd name="connsiteY10" fmla="*/ 35847 h 89618"/>
                <a:gd name="connsiteX11" fmla="*/ 14563 w 44809"/>
                <a:gd name="connsiteY11" fmla="*/ 50783 h 89618"/>
                <a:gd name="connsiteX12" fmla="*/ 2614 w 44809"/>
                <a:gd name="connsiteY12" fmla="*/ 58252 h 89618"/>
                <a:gd name="connsiteX13" fmla="*/ 1120 w 44809"/>
                <a:gd name="connsiteY13" fmla="*/ 58252 h 89618"/>
                <a:gd name="connsiteX14" fmla="*/ 1120 w 44809"/>
                <a:gd name="connsiteY14" fmla="*/ 56758 h 89618"/>
                <a:gd name="connsiteX15" fmla="*/ 1120 w 44809"/>
                <a:gd name="connsiteY15" fmla="*/ 47796 h 89618"/>
                <a:gd name="connsiteX16" fmla="*/ 4108 w 44809"/>
                <a:gd name="connsiteY16" fmla="*/ 41822 h 89618"/>
                <a:gd name="connsiteX17" fmla="*/ 5601 w 44809"/>
                <a:gd name="connsiteY17" fmla="*/ 34353 h 89618"/>
                <a:gd name="connsiteX18" fmla="*/ 22031 w 44809"/>
                <a:gd name="connsiteY18" fmla="*/ 4481 h 89618"/>
                <a:gd name="connsiteX19" fmla="*/ 28006 w 44809"/>
                <a:gd name="connsiteY19" fmla="*/ 1493 h 89618"/>
                <a:gd name="connsiteX20" fmla="*/ 42942 w 44809"/>
                <a:gd name="connsiteY20" fmla="*/ 0 h 89618"/>
                <a:gd name="connsiteX21" fmla="*/ 45929 w 44809"/>
                <a:gd name="connsiteY21" fmla="*/ 1493 h 89618"/>
                <a:gd name="connsiteX22" fmla="*/ 47423 w 44809"/>
                <a:gd name="connsiteY22" fmla="*/ 2987 h 89618"/>
                <a:gd name="connsiteX23" fmla="*/ 56385 w 44809"/>
                <a:gd name="connsiteY23" fmla="*/ 23898 h 89618"/>
                <a:gd name="connsiteX24" fmla="*/ 56385 w 44809"/>
                <a:gd name="connsiteY24" fmla="*/ 47796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4809" h="89618">
                  <a:moveTo>
                    <a:pt x="56385" y="47796"/>
                  </a:moveTo>
                  <a:cubicBezTo>
                    <a:pt x="56385" y="52277"/>
                    <a:pt x="54891" y="55264"/>
                    <a:pt x="53397" y="59745"/>
                  </a:cubicBezTo>
                  <a:cubicBezTo>
                    <a:pt x="51904" y="62733"/>
                    <a:pt x="50410" y="64226"/>
                    <a:pt x="47423" y="65720"/>
                  </a:cubicBezTo>
                  <a:cubicBezTo>
                    <a:pt x="41448" y="71694"/>
                    <a:pt x="36967" y="76175"/>
                    <a:pt x="30993" y="82150"/>
                  </a:cubicBezTo>
                  <a:cubicBezTo>
                    <a:pt x="29499" y="83643"/>
                    <a:pt x="28006" y="85137"/>
                    <a:pt x="26512" y="86631"/>
                  </a:cubicBezTo>
                  <a:cubicBezTo>
                    <a:pt x="22031" y="89618"/>
                    <a:pt x="17550" y="91112"/>
                    <a:pt x="11576" y="91112"/>
                  </a:cubicBezTo>
                  <a:cubicBezTo>
                    <a:pt x="10082" y="91112"/>
                    <a:pt x="8588" y="91112"/>
                    <a:pt x="7095" y="89618"/>
                  </a:cubicBezTo>
                  <a:cubicBezTo>
                    <a:pt x="7095" y="89618"/>
                    <a:pt x="5601" y="88124"/>
                    <a:pt x="5601" y="88124"/>
                  </a:cubicBezTo>
                  <a:cubicBezTo>
                    <a:pt x="5601" y="83643"/>
                    <a:pt x="7095" y="80656"/>
                    <a:pt x="10082" y="77669"/>
                  </a:cubicBezTo>
                  <a:cubicBezTo>
                    <a:pt x="13069" y="71694"/>
                    <a:pt x="14563" y="64226"/>
                    <a:pt x="16057" y="56758"/>
                  </a:cubicBezTo>
                  <a:cubicBezTo>
                    <a:pt x="17550" y="49290"/>
                    <a:pt x="17550" y="41822"/>
                    <a:pt x="17550" y="35847"/>
                  </a:cubicBezTo>
                  <a:cubicBezTo>
                    <a:pt x="17550" y="40328"/>
                    <a:pt x="16057" y="46303"/>
                    <a:pt x="14563" y="50783"/>
                  </a:cubicBezTo>
                  <a:cubicBezTo>
                    <a:pt x="11576" y="55264"/>
                    <a:pt x="7095" y="58252"/>
                    <a:pt x="2614" y="58252"/>
                  </a:cubicBezTo>
                  <a:cubicBezTo>
                    <a:pt x="2614" y="58252"/>
                    <a:pt x="1120" y="58252"/>
                    <a:pt x="1120" y="58252"/>
                  </a:cubicBezTo>
                  <a:cubicBezTo>
                    <a:pt x="1120" y="58252"/>
                    <a:pt x="1120" y="58252"/>
                    <a:pt x="1120" y="56758"/>
                  </a:cubicBezTo>
                  <a:cubicBezTo>
                    <a:pt x="-373" y="53771"/>
                    <a:pt x="-373" y="50783"/>
                    <a:pt x="1120" y="47796"/>
                  </a:cubicBezTo>
                  <a:cubicBezTo>
                    <a:pt x="2614" y="46303"/>
                    <a:pt x="4108" y="44809"/>
                    <a:pt x="4108" y="41822"/>
                  </a:cubicBezTo>
                  <a:cubicBezTo>
                    <a:pt x="5601" y="38834"/>
                    <a:pt x="5601" y="35847"/>
                    <a:pt x="5601" y="34353"/>
                  </a:cubicBezTo>
                  <a:cubicBezTo>
                    <a:pt x="7095" y="22405"/>
                    <a:pt x="13069" y="11949"/>
                    <a:pt x="22031" y="4481"/>
                  </a:cubicBezTo>
                  <a:cubicBezTo>
                    <a:pt x="23525" y="2987"/>
                    <a:pt x="25018" y="1493"/>
                    <a:pt x="28006" y="1493"/>
                  </a:cubicBezTo>
                  <a:cubicBezTo>
                    <a:pt x="32487" y="0"/>
                    <a:pt x="38461" y="0"/>
                    <a:pt x="42942" y="0"/>
                  </a:cubicBezTo>
                  <a:cubicBezTo>
                    <a:pt x="44436" y="0"/>
                    <a:pt x="45929" y="0"/>
                    <a:pt x="45929" y="1493"/>
                  </a:cubicBezTo>
                  <a:cubicBezTo>
                    <a:pt x="47423" y="1493"/>
                    <a:pt x="47423" y="2987"/>
                    <a:pt x="47423" y="2987"/>
                  </a:cubicBezTo>
                  <a:cubicBezTo>
                    <a:pt x="51904" y="8962"/>
                    <a:pt x="54891" y="16430"/>
                    <a:pt x="56385" y="23898"/>
                  </a:cubicBezTo>
                  <a:cubicBezTo>
                    <a:pt x="57878" y="32860"/>
                    <a:pt x="57878" y="40328"/>
                    <a:pt x="56385" y="47796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1" name="任意多边形: 形状 10530"/>
            <p:cNvSpPr/>
            <p:nvPr/>
          </p:nvSpPr>
          <p:spPr>
            <a:xfrm>
              <a:off x="5293531" y="2898695"/>
              <a:ext cx="59745" cy="164300"/>
            </a:xfrm>
            <a:custGeom>
              <a:avLst/>
              <a:gdLst>
                <a:gd name="connsiteX0" fmla="*/ 2475 w 59745"/>
                <a:gd name="connsiteY0" fmla="*/ 134936 h 164299"/>
                <a:gd name="connsiteX1" fmla="*/ 981 w 59745"/>
                <a:gd name="connsiteY1" fmla="*/ 157340 h 164299"/>
                <a:gd name="connsiteX2" fmla="*/ 35335 w 59745"/>
                <a:gd name="connsiteY2" fmla="*/ 161821 h 164299"/>
                <a:gd name="connsiteX3" fmla="*/ 41309 w 59745"/>
                <a:gd name="connsiteY3" fmla="*/ 142404 h 164299"/>
                <a:gd name="connsiteX4" fmla="*/ 72676 w 59745"/>
                <a:gd name="connsiteY4" fmla="*/ 36356 h 164299"/>
                <a:gd name="connsiteX5" fmla="*/ 48777 w 59745"/>
                <a:gd name="connsiteY5" fmla="*/ 509 h 164299"/>
                <a:gd name="connsiteX6" fmla="*/ 48777 w 59745"/>
                <a:gd name="connsiteY6" fmla="*/ 509 h 164299"/>
                <a:gd name="connsiteX7" fmla="*/ 12930 w 59745"/>
                <a:gd name="connsiteY7" fmla="*/ 24407 h 164299"/>
                <a:gd name="connsiteX8" fmla="*/ 2475 w 59745"/>
                <a:gd name="connsiteY8" fmla="*/ 134936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64299">
                  <a:moveTo>
                    <a:pt x="2475" y="134936"/>
                  </a:moveTo>
                  <a:cubicBezTo>
                    <a:pt x="-513" y="145391"/>
                    <a:pt x="-513" y="152859"/>
                    <a:pt x="981" y="157340"/>
                  </a:cubicBezTo>
                  <a:cubicBezTo>
                    <a:pt x="2475" y="163315"/>
                    <a:pt x="32347" y="167796"/>
                    <a:pt x="35335" y="161821"/>
                  </a:cubicBezTo>
                  <a:cubicBezTo>
                    <a:pt x="38322" y="157340"/>
                    <a:pt x="39816" y="149872"/>
                    <a:pt x="41309" y="142404"/>
                  </a:cubicBezTo>
                  <a:lnTo>
                    <a:pt x="72676" y="36356"/>
                  </a:lnTo>
                  <a:cubicBezTo>
                    <a:pt x="75663" y="19926"/>
                    <a:pt x="65207" y="3496"/>
                    <a:pt x="48777" y="509"/>
                  </a:cubicBezTo>
                  <a:lnTo>
                    <a:pt x="48777" y="509"/>
                  </a:lnTo>
                  <a:cubicBezTo>
                    <a:pt x="32347" y="-2479"/>
                    <a:pt x="15917" y="7977"/>
                    <a:pt x="12930" y="24407"/>
                  </a:cubicBezTo>
                  <a:lnTo>
                    <a:pt x="2475" y="134936"/>
                  </a:ln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2" name="任意多边形: 形状 10531"/>
            <p:cNvSpPr/>
            <p:nvPr/>
          </p:nvSpPr>
          <p:spPr>
            <a:xfrm>
              <a:off x="5221324" y="2755814"/>
              <a:ext cx="14936" cy="14936"/>
            </a:xfrm>
            <a:custGeom>
              <a:avLst/>
              <a:gdLst>
                <a:gd name="connsiteX0" fmla="*/ 0 w 14936"/>
                <a:gd name="connsiteY0" fmla="*/ 23898 h 14936"/>
                <a:gd name="connsiteX1" fmla="*/ 10456 w 14936"/>
                <a:gd name="connsiteY1" fmla="*/ 28379 h 14936"/>
                <a:gd name="connsiteX2" fmla="*/ 17924 w 14936"/>
                <a:gd name="connsiteY2" fmla="*/ 5975 h 14936"/>
                <a:gd name="connsiteX3" fmla="*/ 0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23898"/>
                  </a:moveTo>
                  <a:lnTo>
                    <a:pt x="10456" y="28379"/>
                  </a:lnTo>
                  <a:lnTo>
                    <a:pt x="17924" y="59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42423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3" name="任意多边形: 形状 10532"/>
            <p:cNvSpPr/>
            <p:nvPr/>
          </p:nvSpPr>
          <p:spPr>
            <a:xfrm>
              <a:off x="5206388" y="2779713"/>
              <a:ext cx="14936" cy="119491"/>
            </a:xfrm>
            <a:custGeom>
              <a:avLst/>
              <a:gdLst>
                <a:gd name="connsiteX0" fmla="*/ 23898 w 14936"/>
                <a:gd name="connsiteY0" fmla="*/ 122478 h 119490"/>
                <a:gd name="connsiteX1" fmla="*/ 25392 w 14936"/>
                <a:gd name="connsiteY1" fmla="*/ 4481 h 119490"/>
                <a:gd name="connsiteX2" fmla="*/ 14936 w 14936"/>
                <a:gd name="connsiteY2" fmla="*/ 0 h 119490"/>
                <a:gd name="connsiteX3" fmla="*/ 0 w 14936"/>
                <a:gd name="connsiteY3" fmla="*/ 110529 h 119490"/>
                <a:gd name="connsiteX4" fmla="*/ 8962 w 14936"/>
                <a:gd name="connsiteY4" fmla="*/ 132933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19490">
                  <a:moveTo>
                    <a:pt x="23898" y="122478"/>
                  </a:moveTo>
                  <a:lnTo>
                    <a:pt x="25392" y="4481"/>
                  </a:lnTo>
                  <a:lnTo>
                    <a:pt x="14936" y="0"/>
                  </a:lnTo>
                  <a:lnTo>
                    <a:pt x="0" y="110529"/>
                  </a:lnTo>
                  <a:lnTo>
                    <a:pt x="8962" y="132933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4" name="任意多边形: 形状 10533"/>
            <p:cNvSpPr/>
            <p:nvPr/>
          </p:nvSpPr>
          <p:spPr>
            <a:xfrm>
              <a:off x="5208255" y="2716980"/>
              <a:ext cx="74682" cy="74682"/>
            </a:xfrm>
            <a:custGeom>
              <a:avLst/>
              <a:gdLst>
                <a:gd name="connsiteX0" fmla="*/ 72815 w 74681"/>
                <a:gd name="connsiteY0" fmla="*/ 4481 h 74681"/>
                <a:gd name="connsiteX1" fmla="*/ 86257 w 74681"/>
                <a:gd name="connsiteY1" fmla="*/ 22405 h 74681"/>
                <a:gd name="connsiteX2" fmla="*/ 86257 w 74681"/>
                <a:gd name="connsiteY2" fmla="*/ 31366 h 74681"/>
                <a:gd name="connsiteX3" fmla="*/ 71321 w 74681"/>
                <a:gd name="connsiteY3" fmla="*/ 52277 h 74681"/>
                <a:gd name="connsiteX4" fmla="*/ 36967 w 74681"/>
                <a:gd name="connsiteY4" fmla="*/ 77669 h 74681"/>
                <a:gd name="connsiteX5" fmla="*/ 20537 w 74681"/>
                <a:gd name="connsiteY5" fmla="*/ 43315 h 74681"/>
                <a:gd name="connsiteX6" fmla="*/ 1120 w 74681"/>
                <a:gd name="connsiteY6" fmla="*/ 61239 h 74681"/>
                <a:gd name="connsiteX7" fmla="*/ 1120 w 74681"/>
                <a:gd name="connsiteY7" fmla="*/ 31366 h 74681"/>
                <a:gd name="connsiteX8" fmla="*/ 16057 w 74681"/>
                <a:gd name="connsiteY8" fmla="*/ 5974 h 74681"/>
                <a:gd name="connsiteX9" fmla="*/ 41448 w 74681"/>
                <a:gd name="connsiteY9" fmla="*/ 0 h 74681"/>
                <a:gd name="connsiteX10" fmla="*/ 72815 w 74681"/>
                <a:gd name="connsiteY10" fmla="*/ 448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681" h="74681">
                  <a:moveTo>
                    <a:pt x="72815" y="4481"/>
                  </a:moveTo>
                  <a:cubicBezTo>
                    <a:pt x="75802" y="10455"/>
                    <a:pt x="83270" y="17924"/>
                    <a:pt x="86257" y="22405"/>
                  </a:cubicBezTo>
                  <a:cubicBezTo>
                    <a:pt x="87751" y="25392"/>
                    <a:pt x="87751" y="28379"/>
                    <a:pt x="86257" y="31366"/>
                  </a:cubicBezTo>
                  <a:cubicBezTo>
                    <a:pt x="83270" y="40328"/>
                    <a:pt x="78789" y="46303"/>
                    <a:pt x="71321" y="52277"/>
                  </a:cubicBezTo>
                  <a:cubicBezTo>
                    <a:pt x="60866" y="61239"/>
                    <a:pt x="48916" y="70201"/>
                    <a:pt x="36967" y="77669"/>
                  </a:cubicBezTo>
                  <a:cubicBezTo>
                    <a:pt x="30993" y="67214"/>
                    <a:pt x="25018" y="55264"/>
                    <a:pt x="20537" y="43315"/>
                  </a:cubicBezTo>
                  <a:cubicBezTo>
                    <a:pt x="14563" y="49290"/>
                    <a:pt x="8588" y="55264"/>
                    <a:pt x="1120" y="61239"/>
                  </a:cubicBezTo>
                  <a:cubicBezTo>
                    <a:pt x="-373" y="50783"/>
                    <a:pt x="-373" y="41822"/>
                    <a:pt x="1120" y="31366"/>
                  </a:cubicBezTo>
                  <a:cubicBezTo>
                    <a:pt x="2614" y="20911"/>
                    <a:pt x="8588" y="11949"/>
                    <a:pt x="16057" y="5974"/>
                  </a:cubicBezTo>
                  <a:cubicBezTo>
                    <a:pt x="23525" y="1493"/>
                    <a:pt x="32487" y="0"/>
                    <a:pt x="41448" y="0"/>
                  </a:cubicBezTo>
                  <a:cubicBezTo>
                    <a:pt x="53397" y="1493"/>
                    <a:pt x="72815" y="2987"/>
                    <a:pt x="72815" y="4481"/>
                  </a:cubicBezTo>
                  <a:close/>
                </a:path>
              </a:pathLst>
            </a:custGeom>
            <a:solidFill>
              <a:srgbClr val="54ABD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5" name="任意多边形: 形状 10534"/>
            <p:cNvSpPr/>
            <p:nvPr/>
          </p:nvSpPr>
          <p:spPr>
            <a:xfrm>
              <a:off x="5295880" y="2781080"/>
              <a:ext cx="59745" cy="164300"/>
            </a:xfrm>
            <a:custGeom>
              <a:avLst/>
              <a:gdLst>
                <a:gd name="connsiteX0" fmla="*/ 10582 w 59745"/>
                <a:gd name="connsiteY0" fmla="*/ 149489 h 164299"/>
                <a:gd name="connsiteX1" fmla="*/ 43441 w 59745"/>
                <a:gd name="connsiteY1" fmla="*/ 176375 h 164299"/>
                <a:gd name="connsiteX2" fmla="*/ 43441 w 59745"/>
                <a:gd name="connsiteY2" fmla="*/ 176375 h 164299"/>
                <a:gd name="connsiteX3" fmla="*/ 70327 w 59745"/>
                <a:gd name="connsiteY3" fmla="*/ 143515 h 164299"/>
                <a:gd name="connsiteX4" fmla="*/ 59871 w 59745"/>
                <a:gd name="connsiteY4" fmla="*/ 27011 h 164299"/>
                <a:gd name="connsiteX5" fmla="*/ 27012 w 59745"/>
                <a:gd name="connsiteY5" fmla="*/ 126 h 164299"/>
                <a:gd name="connsiteX6" fmla="*/ 27012 w 59745"/>
                <a:gd name="connsiteY6" fmla="*/ 126 h 164299"/>
                <a:gd name="connsiteX7" fmla="*/ 126 w 59745"/>
                <a:gd name="connsiteY7" fmla="*/ 32986 h 164299"/>
                <a:gd name="connsiteX8" fmla="*/ 10582 w 59745"/>
                <a:gd name="connsiteY8" fmla="*/ 149489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64299">
                  <a:moveTo>
                    <a:pt x="10582" y="149489"/>
                  </a:moveTo>
                  <a:cubicBezTo>
                    <a:pt x="12075" y="165920"/>
                    <a:pt x="27012" y="177869"/>
                    <a:pt x="43441" y="176375"/>
                  </a:cubicBezTo>
                  <a:lnTo>
                    <a:pt x="43441" y="176375"/>
                  </a:lnTo>
                  <a:cubicBezTo>
                    <a:pt x="59871" y="174881"/>
                    <a:pt x="71821" y="159945"/>
                    <a:pt x="70327" y="143515"/>
                  </a:cubicBezTo>
                  <a:lnTo>
                    <a:pt x="59871" y="27011"/>
                  </a:lnTo>
                  <a:cubicBezTo>
                    <a:pt x="58378" y="10582"/>
                    <a:pt x="43441" y="-1367"/>
                    <a:pt x="27012" y="126"/>
                  </a:cubicBezTo>
                  <a:lnTo>
                    <a:pt x="27012" y="126"/>
                  </a:lnTo>
                  <a:cubicBezTo>
                    <a:pt x="10582" y="1620"/>
                    <a:pt x="-1368" y="16556"/>
                    <a:pt x="126" y="32986"/>
                  </a:cubicBezTo>
                  <a:lnTo>
                    <a:pt x="10582" y="149489"/>
                  </a:lnTo>
                  <a:close/>
                </a:path>
              </a:pathLst>
            </a:custGeom>
            <a:solidFill>
              <a:srgbClr val="66D1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6" name="任意多边形: 形状 10535"/>
            <p:cNvSpPr/>
            <p:nvPr/>
          </p:nvSpPr>
          <p:spPr>
            <a:xfrm>
              <a:off x="5301742" y="2918363"/>
              <a:ext cx="59745" cy="29873"/>
            </a:xfrm>
            <a:custGeom>
              <a:avLst/>
              <a:gdLst>
                <a:gd name="connsiteX0" fmla="*/ 239 w 59745"/>
                <a:gd name="connsiteY0" fmla="*/ 25649 h 29872"/>
                <a:gd name="connsiteX1" fmla="*/ 3226 w 59745"/>
                <a:gd name="connsiteY1" fmla="*/ 258 h 29872"/>
                <a:gd name="connsiteX2" fmla="*/ 45048 w 59745"/>
                <a:gd name="connsiteY2" fmla="*/ 12206 h 29872"/>
                <a:gd name="connsiteX3" fmla="*/ 64465 w 59745"/>
                <a:gd name="connsiteY3" fmla="*/ 258 h 29872"/>
                <a:gd name="connsiteX4" fmla="*/ 67453 w 59745"/>
                <a:gd name="connsiteY4" fmla="*/ 10713 h 29872"/>
                <a:gd name="connsiteX5" fmla="*/ 59984 w 59745"/>
                <a:gd name="connsiteY5" fmla="*/ 37598 h 29872"/>
                <a:gd name="connsiteX6" fmla="*/ 39073 w 59745"/>
                <a:gd name="connsiteY6" fmla="*/ 42079 h 29872"/>
                <a:gd name="connsiteX7" fmla="*/ 239 w 59745"/>
                <a:gd name="connsiteY7" fmla="*/ 25649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45" h="29872">
                  <a:moveTo>
                    <a:pt x="239" y="25649"/>
                  </a:moveTo>
                  <a:cubicBezTo>
                    <a:pt x="239" y="21168"/>
                    <a:pt x="-1255" y="-2730"/>
                    <a:pt x="3226" y="258"/>
                  </a:cubicBezTo>
                  <a:cubicBezTo>
                    <a:pt x="12188" y="13700"/>
                    <a:pt x="31605" y="15194"/>
                    <a:pt x="45048" y="12206"/>
                  </a:cubicBezTo>
                  <a:cubicBezTo>
                    <a:pt x="52516" y="10713"/>
                    <a:pt x="59984" y="6232"/>
                    <a:pt x="64465" y="258"/>
                  </a:cubicBezTo>
                  <a:cubicBezTo>
                    <a:pt x="68946" y="1751"/>
                    <a:pt x="67453" y="7726"/>
                    <a:pt x="67453" y="10713"/>
                  </a:cubicBezTo>
                  <a:cubicBezTo>
                    <a:pt x="64465" y="30130"/>
                    <a:pt x="67453" y="33117"/>
                    <a:pt x="59984" y="37598"/>
                  </a:cubicBezTo>
                  <a:cubicBezTo>
                    <a:pt x="54010" y="42079"/>
                    <a:pt x="46542" y="42079"/>
                    <a:pt x="39073" y="42079"/>
                  </a:cubicBezTo>
                  <a:cubicBezTo>
                    <a:pt x="27124" y="43573"/>
                    <a:pt x="239" y="37598"/>
                    <a:pt x="239" y="25649"/>
                  </a:cubicBezTo>
                  <a:close/>
                </a:path>
              </a:pathLst>
            </a:custGeom>
            <a:solidFill>
              <a:srgbClr val="54ABD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7" name="任意多边形: 形状 10536"/>
            <p:cNvSpPr/>
            <p:nvPr/>
          </p:nvSpPr>
          <p:spPr>
            <a:xfrm>
              <a:off x="5224312" y="2717913"/>
              <a:ext cx="59745" cy="29873"/>
            </a:xfrm>
            <a:custGeom>
              <a:avLst/>
              <a:gdLst>
                <a:gd name="connsiteX0" fmla="*/ 1494 w 59745"/>
                <a:gd name="connsiteY0" fmla="*/ 22965 h 29872"/>
                <a:gd name="connsiteX1" fmla="*/ 8962 w 59745"/>
                <a:gd name="connsiteY1" fmla="*/ 30433 h 29872"/>
                <a:gd name="connsiteX2" fmla="*/ 53771 w 59745"/>
                <a:gd name="connsiteY2" fmla="*/ 30433 h 29872"/>
                <a:gd name="connsiteX3" fmla="*/ 53771 w 59745"/>
                <a:gd name="connsiteY3" fmla="*/ 5041 h 29872"/>
                <a:gd name="connsiteX4" fmla="*/ 44809 w 59745"/>
                <a:gd name="connsiteY4" fmla="*/ 2054 h 29872"/>
                <a:gd name="connsiteX5" fmla="*/ 38834 w 59745"/>
                <a:gd name="connsiteY5" fmla="*/ 560 h 29872"/>
                <a:gd name="connsiteX6" fmla="*/ 8962 w 59745"/>
                <a:gd name="connsiteY6" fmla="*/ 5041 h 29872"/>
                <a:gd name="connsiteX7" fmla="*/ 0 w 59745"/>
                <a:gd name="connsiteY7" fmla="*/ 14003 h 29872"/>
                <a:gd name="connsiteX8" fmla="*/ 1494 w 59745"/>
                <a:gd name="connsiteY8" fmla="*/ 22965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9872">
                  <a:moveTo>
                    <a:pt x="1494" y="22965"/>
                  </a:moveTo>
                  <a:cubicBezTo>
                    <a:pt x="2987" y="25952"/>
                    <a:pt x="5975" y="28939"/>
                    <a:pt x="8962" y="30433"/>
                  </a:cubicBezTo>
                  <a:cubicBezTo>
                    <a:pt x="20911" y="37901"/>
                    <a:pt x="41822" y="37901"/>
                    <a:pt x="53771" y="30433"/>
                  </a:cubicBezTo>
                  <a:cubicBezTo>
                    <a:pt x="65720" y="22965"/>
                    <a:pt x="65720" y="12509"/>
                    <a:pt x="53771" y="5041"/>
                  </a:cubicBezTo>
                  <a:cubicBezTo>
                    <a:pt x="50784" y="3547"/>
                    <a:pt x="47796" y="2054"/>
                    <a:pt x="44809" y="2054"/>
                  </a:cubicBezTo>
                  <a:cubicBezTo>
                    <a:pt x="43315" y="2054"/>
                    <a:pt x="41822" y="560"/>
                    <a:pt x="38834" y="560"/>
                  </a:cubicBezTo>
                  <a:cubicBezTo>
                    <a:pt x="28379" y="-933"/>
                    <a:pt x="17924" y="560"/>
                    <a:pt x="8962" y="5041"/>
                  </a:cubicBezTo>
                  <a:cubicBezTo>
                    <a:pt x="4481" y="8028"/>
                    <a:pt x="1494" y="11015"/>
                    <a:pt x="0" y="14003"/>
                  </a:cubicBezTo>
                  <a:cubicBezTo>
                    <a:pt x="0" y="15496"/>
                    <a:pt x="0" y="18484"/>
                    <a:pt x="1494" y="22965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8" name="任意多边形: 形状 10537"/>
            <p:cNvSpPr/>
            <p:nvPr/>
          </p:nvSpPr>
          <p:spPr>
            <a:xfrm>
              <a:off x="5224312" y="2654247"/>
              <a:ext cx="59745" cy="74682"/>
            </a:xfrm>
            <a:custGeom>
              <a:avLst/>
              <a:gdLst>
                <a:gd name="connsiteX0" fmla="*/ 0 w 59745"/>
                <a:gd name="connsiteY0" fmla="*/ 0 h 74681"/>
                <a:gd name="connsiteX1" fmla="*/ 62733 w 59745"/>
                <a:gd name="connsiteY1" fmla="*/ 0 h 74681"/>
                <a:gd name="connsiteX2" fmla="*/ 62733 w 59745"/>
                <a:gd name="connsiteY2" fmla="*/ 80656 h 74681"/>
                <a:gd name="connsiteX3" fmla="*/ 0 w 59745"/>
                <a:gd name="connsiteY3" fmla="*/ 80656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74681">
                  <a:moveTo>
                    <a:pt x="0" y="0"/>
                  </a:moveTo>
                  <a:lnTo>
                    <a:pt x="62733" y="0"/>
                  </a:lnTo>
                  <a:lnTo>
                    <a:pt x="62733" y="80656"/>
                  </a:lnTo>
                  <a:lnTo>
                    <a:pt x="0" y="80656"/>
                  </a:ln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9" name="任意多边形: 形状 10538"/>
            <p:cNvSpPr/>
            <p:nvPr/>
          </p:nvSpPr>
          <p:spPr>
            <a:xfrm>
              <a:off x="5201127" y="2597109"/>
              <a:ext cx="74682" cy="119491"/>
            </a:xfrm>
            <a:custGeom>
              <a:avLst/>
              <a:gdLst>
                <a:gd name="connsiteX0" fmla="*/ 75462 w 74681"/>
                <a:gd name="connsiteY0" fmla="*/ 61620 h 119490"/>
                <a:gd name="connsiteX1" fmla="*/ 72475 w 74681"/>
                <a:gd name="connsiteY1" fmla="*/ 88505 h 119490"/>
                <a:gd name="connsiteX2" fmla="*/ 60526 w 74681"/>
                <a:gd name="connsiteY2" fmla="*/ 112403 h 119490"/>
                <a:gd name="connsiteX3" fmla="*/ 24679 w 74681"/>
                <a:gd name="connsiteY3" fmla="*/ 124352 h 119490"/>
                <a:gd name="connsiteX4" fmla="*/ 15717 w 74681"/>
                <a:gd name="connsiteY4" fmla="*/ 121365 h 119490"/>
                <a:gd name="connsiteX5" fmla="*/ 6755 w 74681"/>
                <a:gd name="connsiteY5" fmla="*/ 106429 h 119490"/>
                <a:gd name="connsiteX6" fmla="*/ 780 w 74681"/>
                <a:gd name="connsiteY6" fmla="*/ 30253 h 119490"/>
                <a:gd name="connsiteX7" fmla="*/ 2274 w 74681"/>
                <a:gd name="connsiteY7" fmla="*/ 19798 h 119490"/>
                <a:gd name="connsiteX8" fmla="*/ 27666 w 74681"/>
                <a:gd name="connsiteY8" fmla="*/ 381 h 119490"/>
                <a:gd name="connsiteX9" fmla="*/ 60526 w 74681"/>
                <a:gd name="connsiteY9" fmla="*/ 7849 h 119490"/>
                <a:gd name="connsiteX10" fmla="*/ 67994 w 74681"/>
                <a:gd name="connsiteY10" fmla="*/ 12330 h 119490"/>
                <a:gd name="connsiteX11" fmla="*/ 73969 w 74681"/>
                <a:gd name="connsiteY11" fmla="*/ 19798 h 119490"/>
                <a:gd name="connsiteX12" fmla="*/ 75462 w 74681"/>
                <a:gd name="connsiteY12" fmla="*/ 61620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75462" y="61620"/>
                  </a:moveTo>
                  <a:cubicBezTo>
                    <a:pt x="75462" y="70581"/>
                    <a:pt x="73969" y="79543"/>
                    <a:pt x="72475" y="88505"/>
                  </a:cubicBezTo>
                  <a:cubicBezTo>
                    <a:pt x="70981" y="97467"/>
                    <a:pt x="66500" y="106429"/>
                    <a:pt x="60526" y="112403"/>
                  </a:cubicBezTo>
                  <a:cubicBezTo>
                    <a:pt x="51564" y="122859"/>
                    <a:pt x="36628" y="127340"/>
                    <a:pt x="24679" y="124352"/>
                  </a:cubicBezTo>
                  <a:cubicBezTo>
                    <a:pt x="21691" y="124352"/>
                    <a:pt x="18704" y="122859"/>
                    <a:pt x="15717" y="121365"/>
                  </a:cubicBezTo>
                  <a:cubicBezTo>
                    <a:pt x="11236" y="118378"/>
                    <a:pt x="8249" y="112403"/>
                    <a:pt x="6755" y="106429"/>
                  </a:cubicBezTo>
                  <a:cubicBezTo>
                    <a:pt x="-713" y="82531"/>
                    <a:pt x="-713" y="55645"/>
                    <a:pt x="780" y="30253"/>
                  </a:cubicBezTo>
                  <a:cubicBezTo>
                    <a:pt x="780" y="25772"/>
                    <a:pt x="780" y="22785"/>
                    <a:pt x="2274" y="19798"/>
                  </a:cubicBezTo>
                  <a:cubicBezTo>
                    <a:pt x="5261" y="9342"/>
                    <a:pt x="17210" y="1874"/>
                    <a:pt x="27666" y="381"/>
                  </a:cubicBezTo>
                  <a:cubicBezTo>
                    <a:pt x="38121" y="-1113"/>
                    <a:pt x="50070" y="1874"/>
                    <a:pt x="60526" y="7849"/>
                  </a:cubicBezTo>
                  <a:cubicBezTo>
                    <a:pt x="63513" y="9342"/>
                    <a:pt x="66500" y="10836"/>
                    <a:pt x="67994" y="12330"/>
                  </a:cubicBezTo>
                  <a:cubicBezTo>
                    <a:pt x="69488" y="13823"/>
                    <a:pt x="70981" y="16811"/>
                    <a:pt x="73969" y="19798"/>
                  </a:cubicBezTo>
                  <a:cubicBezTo>
                    <a:pt x="75462" y="19798"/>
                    <a:pt x="75462" y="48177"/>
                    <a:pt x="75462" y="6162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0" name="任意多边形: 形状 10539"/>
            <p:cNvSpPr/>
            <p:nvPr/>
          </p:nvSpPr>
          <p:spPr>
            <a:xfrm>
              <a:off x="5201127" y="2606070"/>
              <a:ext cx="74682" cy="119491"/>
            </a:xfrm>
            <a:custGeom>
              <a:avLst/>
              <a:gdLst>
                <a:gd name="connsiteX0" fmla="*/ 75462 w 74681"/>
                <a:gd name="connsiteY0" fmla="*/ 61620 h 119490"/>
                <a:gd name="connsiteX1" fmla="*/ 72475 w 74681"/>
                <a:gd name="connsiteY1" fmla="*/ 88505 h 119490"/>
                <a:gd name="connsiteX2" fmla="*/ 60526 w 74681"/>
                <a:gd name="connsiteY2" fmla="*/ 112403 h 119490"/>
                <a:gd name="connsiteX3" fmla="*/ 24679 w 74681"/>
                <a:gd name="connsiteY3" fmla="*/ 124352 h 119490"/>
                <a:gd name="connsiteX4" fmla="*/ 15717 w 74681"/>
                <a:gd name="connsiteY4" fmla="*/ 121365 h 119490"/>
                <a:gd name="connsiteX5" fmla="*/ 6755 w 74681"/>
                <a:gd name="connsiteY5" fmla="*/ 106429 h 119490"/>
                <a:gd name="connsiteX6" fmla="*/ 780 w 74681"/>
                <a:gd name="connsiteY6" fmla="*/ 30253 h 119490"/>
                <a:gd name="connsiteX7" fmla="*/ 2274 w 74681"/>
                <a:gd name="connsiteY7" fmla="*/ 19798 h 119490"/>
                <a:gd name="connsiteX8" fmla="*/ 27666 w 74681"/>
                <a:gd name="connsiteY8" fmla="*/ 381 h 119490"/>
                <a:gd name="connsiteX9" fmla="*/ 60526 w 74681"/>
                <a:gd name="connsiteY9" fmla="*/ 7849 h 119490"/>
                <a:gd name="connsiteX10" fmla="*/ 67994 w 74681"/>
                <a:gd name="connsiteY10" fmla="*/ 12330 h 119490"/>
                <a:gd name="connsiteX11" fmla="*/ 73969 w 74681"/>
                <a:gd name="connsiteY11" fmla="*/ 19798 h 119490"/>
                <a:gd name="connsiteX12" fmla="*/ 75462 w 74681"/>
                <a:gd name="connsiteY12" fmla="*/ 61620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75462" y="61620"/>
                  </a:moveTo>
                  <a:cubicBezTo>
                    <a:pt x="75462" y="70581"/>
                    <a:pt x="73969" y="79543"/>
                    <a:pt x="72475" y="88505"/>
                  </a:cubicBezTo>
                  <a:cubicBezTo>
                    <a:pt x="70981" y="97467"/>
                    <a:pt x="66500" y="106429"/>
                    <a:pt x="60526" y="112403"/>
                  </a:cubicBezTo>
                  <a:cubicBezTo>
                    <a:pt x="51564" y="122859"/>
                    <a:pt x="36628" y="127339"/>
                    <a:pt x="24679" y="124352"/>
                  </a:cubicBezTo>
                  <a:cubicBezTo>
                    <a:pt x="21691" y="124352"/>
                    <a:pt x="18704" y="122859"/>
                    <a:pt x="15717" y="121365"/>
                  </a:cubicBezTo>
                  <a:cubicBezTo>
                    <a:pt x="11236" y="118378"/>
                    <a:pt x="8249" y="112403"/>
                    <a:pt x="6755" y="106429"/>
                  </a:cubicBezTo>
                  <a:cubicBezTo>
                    <a:pt x="-713" y="82530"/>
                    <a:pt x="-713" y="55645"/>
                    <a:pt x="780" y="30253"/>
                  </a:cubicBezTo>
                  <a:cubicBezTo>
                    <a:pt x="780" y="25772"/>
                    <a:pt x="780" y="22785"/>
                    <a:pt x="2274" y="19798"/>
                  </a:cubicBezTo>
                  <a:cubicBezTo>
                    <a:pt x="5261" y="9342"/>
                    <a:pt x="17210" y="1874"/>
                    <a:pt x="27666" y="381"/>
                  </a:cubicBezTo>
                  <a:cubicBezTo>
                    <a:pt x="38121" y="-1113"/>
                    <a:pt x="50070" y="1874"/>
                    <a:pt x="60526" y="7849"/>
                  </a:cubicBezTo>
                  <a:cubicBezTo>
                    <a:pt x="63513" y="9342"/>
                    <a:pt x="66500" y="10836"/>
                    <a:pt x="67994" y="12330"/>
                  </a:cubicBezTo>
                  <a:cubicBezTo>
                    <a:pt x="69488" y="13823"/>
                    <a:pt x="70981" y="16811"/>
                    <a:pt x="73969" y="19798"/>
                  </a:cubicBezTo>
                  <a:cubicBezTo>
                    <a:pt x="75462" y="21292"/>
                    <a:pt x="75462" y="48177"/>
                    <a:pt x="75462" y="61620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1" name="任意多边形: 形状 10540"/>
            <p:cNvSpPr/>
            <p:nvPr/>
          </p:nvSpPr>
          <p:spPr>
            <a:xfrm>
              <a:off x="5224685" y="2661715"/>
              <a:ext cx="44809" cy="74682"/>
            </a:xfrm>
            <a:custGeom>
              <a:avLst/>
              <a:gdLst>
                <a:gd name="connsiteX0" fmla="*/ 1120 w 44809"/>
                <a:gd name="connsiteY0" fmla="*/ 79163 h 74681"/>
                <a:gd name="connsiteX1" fmla="*/ 36967 w 44809"/>
                <a:gd name="connsiteY1" fmla="*/ 67214 h 74681"/>
                <a:gd name="connsiteX2" fmla="*/ 44436 w 44809"/>
                <a:gd name="connsiteY2" fmla="*/ 56758 h 74681"/>
                <a:gd name="connsiteX3" fmla="*/ 48916 w 44809"/>
                <a:gd name="connsiteY3" fmla="*/ 43316 h 74681"/>
                <a:gd name="connsiteX4" fmla="*/ 51904 w 44809"/>
                <a:gd name="connsiteY4" fmla="*/ 16430 h 74681"/>
                <a:gd name="connsiteX5" fmla="*/ 51904 w 44809"/>
                <a:gd name="connsiteY5" fmla="*/ 0 h 74681"/>
                <a:gd name="connsiteX6" fmla="*/ 51904 w 44809"/>
                <a:gd name="connsiteY6" fmla="*/ 5975 h 74681"/>
                <a:gd name="connsiteX7" fmla="*/ 48916 w 44809"/>
                <a:gd name="connsiteY7" fmla="*/ 32860 h 74681"/>
                <a:gd name="connsiteX8" fmla="*/ 38461 w 44809"/>
                <a:gd name="connsiteY8" fmla="*/ 55265 h 74681"/>
                <a:gd name="connsiteX9" fmla="*/ 36967 w 44809"/>
                <a:gd name="connsiteY9" fmla="*/ 56758 h 74681"/>
                <a:gd name="connsiteX10" fmla="*/ 1120 w 44809"/>
                <a:gd name="connsiteY10" fmla="*/ 68707 h 74681"/>
                <a:gd name="connsiteX11" fmla="*/ 1120 w 44809"/>
                <a:gd name="connsiteY11" fmla="*/ 68707 h 74681"/>
                <a:gd name="connsiteX12" fmla="*/ 1120 w 44809"/>
                <a:gd name="connsiteY12" fmla="*/ 79163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09" h="74681">
                  <a:moveTo>
                    <a:pt x="1120" y="79163"/>
                  </a:moveTo>
                  <a:cubicBezTo>
                    <a:pt x="14563" y="82150"/>
                    <a:pt x="28006" y="77669"/>
                    <a:pt x="36967" y="67214"/>
                  </a:cubicBezTo>
                  <a:cubicBezTo>
                    <a:pt x="39955" y="64226"/>
                    <a:pt x="41448" y="61239"/>
                    <a:pt x="44436" y="56758"/>
                  </a:cubicBezTo>
                  <a:cubicBezTo>
                    <a:pt x="45929" y="52277"/>
                    <a:pt x="48916" y="47796"/>
                    <a:pt x="48916" y="43316"/>
                  </a:cubicBezTo>
                  <a:cubicBezTo>
                    <a:pt x="50410" y="34354"/>
                    <a:pt x="51904" y="25392"/>
                    <a:pt x="51904" y="16430"/>
                  </a:cubicBezTo>
                  <a:cubicBezTo>
                    <a:pt x="51904" y="11949"/>
                    <a:pt x="51904" y="5975"/>
                    <a:pt x="51904" y="0"/>
                  </a:cubicBezTo>
                  <a:cubicBezTo>
                    <a:pt x="51904" y="2987"/>
                    <a:pt x="51904" y="4481"/>
                    <a:pt x="51904" y="5975"/>
                  </a:cubicBezTo>
                  <a:cubicBezTo>
                    <a:pt x="51904" y="14936"/>
                    <a:pt x="50410" y="23898"/>
                    <a:pt x="48916" y="32860"/>
                  </a:cubicBezTo>
                  <a:cubicBezTo>
                    <a:pt x="47423" y="40328"/>
                    <a:pt x="44436" y="49290"/>
                    <a:pt x="38461" y="55265"/>
                  </a:cubicBezTo>
                  <a:cubicBezTo>
                    <a:pt x="38461" y="55265"/>
                    <a:pt x="36967" y="56758"/>
                    <a:pt x="36967" y="56758"/>
                  </a:cubicBezTo>
                  <a:cubicBezTo>
                    <a:pt x="28006" y="67214"/>
                    <a:pt x="13069" y="71694"/>
                    <a:pt x="1120" y="68707"/>
                  </a:cubicBezTo>
                  <a:cubicBezTo>
                    <a:pt x="1120" y="68707"/>
                    <a:pt x="1120" y="68707"/>
                    <a:pt x="1120" y="68707"/>
                  </a:cubicBezTo>
                  <a:cubicBezTo>
                    <a:pt x="-373" y="71694"/>
                    <a:pt x="-373" y="74682"/>
                    <a:pt x="1120" y="79163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2" name="任意多边形: 形状 10541"/>
            <p:cNvSpPr/>
            <p:nvPr/>
          </p:nvSpPr>
          <p:spPr>
            <a:xfrm>
              <a:off x="5202614" y="2587034"/>
              <a:ext cx="89618" cy="104554"/>
            </a:xfrm>
            <a:custGeom>
              <a:avLst/>
              <a:gdLst>
                <a:gd name="connsiteX0" fmla="*/ 69494 w 89618"/>
                <a:gd name="connsiteY0" fmla="*/ 77669 h 104554"/>
                <a:gd name="connsiteX1" fmla="*/ 78456 w 89618"/>
                <a:gd name="connsiteY1" fmla="*/ 73188 h 104554"/>
                <a:gd name="connsiteX2" fmla="*/ 99367 w 89618"/>
                <a:gd name="connsiteY2" fmla="*/ 100074 h 104554"/>
                <a:gd name="connsiteX3" fmla="*/ 102354 w 89618"/>
                <a:gd name="connsiteY3" fmla="*/ 77669 h 104554"/>
                <a:gd name="connsiteX4" fmla="*/ 100860 w 89618"/>
                <a:gd name="connsiteY4" fmla="*/ 32860 h 104554"/>
                <a:gd name="connsiteX5" fmla="*/ 78456 w 89618"/>
                <a:gd name="connsiteY5" fmla="*/ 7468 h 104554"/>
                <a:gd name="connsiteX6" fmla="*/ 44102 w 89618"/>
                <a:gd name="connsiteY6" fmla="*/ 0 h 104554"/>
                <a:gd name="connsiteX7" fmla="*/ 15723 w 89618"/>
                <a:gd name="connsiteY7" fmla="*/ 5975 h 104554"/>
                <a:gd name="connsiteX8" fmla="*/ 48583 w 89618"/>
                <a:gd name="connsiteY8" fmla="*/ 40328 h 104554"/>
                <a:gd name="connsiteX9" fmla="*/ 68000 w 89618"/>
                <a:gd name="connsiteY9" fmla="*/ 37341 h 104554"/>
                <a:gd name="connsiteX10" fmla="*/ 69494 w 89618"/>
                <a:gd name="connsiteY10" fmla="*/ 7766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618" h="104554">
                  <a:moveTo>
                    <a:pt x="69494" y="77669"/>
                  </a:moveTo>
                  <a:cubicBezTo>
                    <a:pt x="69494" y="77669"/>
                    <a:pt x="75468" y="74682"/>
                    <a:pt x="78456" y="73188"/>
                  </a:cubicBezTo>
                  <a:cubicBezTo>
                    <a:pt x="57545" y="147870"/>
                    <a:pt x="97873" y="106048"/>
                    <a:pt x="99367" y="100074"/>
                  </a:cubicBezTo>
                  <a:cubicBezTo>
                    <a:pt x="100860" y="92606"/>
                    <a:pt x="102354" y="85137"/>
                    <a:pt x="102354" y="77669"/>
                  </a:cubicBezTo>
                  <a:cubicBezTo>
                    <a:pt x="103847" y="62733"/>
                    <a:pt x="106835" y="46303"/>
                    <a:pt x="100860" y="32860"/>
                  </a:cubicBezTo>
                  <a:cubicBezTo>
                    <a:pt x="96379" y="22405"/>
                    <a:pt x="88911" y="13443"/>
                    <a:pt x="78456" y="7468"/>
                  </a:cubicBezTo>
                  <a:cubicBezTo>
                    <a:pt x="68000" y="1494"/>
                    <a:pt x="54558" y="0"/>
                    <a:pt x="44102" y="0"/>
                  </a:cubicBezTo>
                  <a:cubicBezTo>
                    <a:pt x="33647" y="0"/>
                    <a:pt x="24685" y="1494"/>
                    <a:pt x="15723" y="5975"/>
                  </a:cubicBezTo>
                  <a:cubicBezTo>
                    <a:pt x="-15643" y="25392"/>
                    <a:pt x="2280" y="58252"/>
                    <a:pt x="48583" y="40328"/>
                  </a:cubicBezTo>
                  <a:cubicBezTo>
                    <a:pt x="51570" y="38835"/>
                    <a:pt x="59038" y="29873"/>
                    <a:pt x="68000" y="37341"/>
                  </a:cubicBezTo>
                  <a:cubicBezTo>
                    <a:pt x="75468" y="44809"/>
                    <a:pt x="69494" y="77669"/>
                    <a:pt x="69494" y="77669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3" name="任意多边形: 形状 10542"/>
            <p:cNvSpPr/>
            <p:nvPr/>
          </p:nvSpPr>
          <p:spPr>
            <a:xfrm>
              <a:off x="5269950" y="2652754"/>
              <a:ext cx="14936" cy="29873"/>
            </a:xfrm>
            <a:custGeom>
              <a:avLst/>
              <a:gdLst>
                <a:gd name="connsiteX0" fmla="*/ 11119 w 14936"/>
                <a:gd name="connsiteY0" fmla="*/ 0 h 29872"/>
                <a:gd name="connsiteX1" fmla="*/ 3651 w 14936"/>
                <a:gd name="connsiteY1" fmla="*/ 4481 h 29872"/>
                <a:gd name="connsiteX2" fmla="*/ 664 w 14936"/>
                <a:gd name="connsiteY2" fmla="*/ 16430 h 29872"/>
                <a:gd name="connsiteX3" fmla="*/ 664 w 14936"/>
                <a:gd name="connsiteY3" fmla="*/ 31366 h 29872"/>
                <a:gd name="connsiteX4" fmla="*/ 3651 w 14936"/>
                <a:gd name="connsiteY4" fmla="*/ 34354 h 29872"/>
                <a:gd name="connsiteX5" fmla="*/ 9626 w 14936"/>
                <a:gd name="connsiteY5" fmla="*/ 32860 h 29872"/>
                <a:gd name="connsiteX6" fmla="*/ 12613 w 14936"/>
                <a:gd name="connsiteY6" fmla="*/ 26885 h 29872"/>
                <a:gd name="connsiteX7" fmla="*/ 17094 w 14936"/>
                <a:gd name="connsiteY7" fmla="*/ 10455 h 29872"/>
                <a:gd name="connsiteX8" fmla="*/ 17094 w 14936"/>
                <a:gd name="connsiteY8" fmla="*/ 2987 h 29872"/>
                <a:gd name="connsiteX9" fmla="*/ 11119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11119" y="0"/>
                  </a:moveTo>
                  <a:cubicBezTo>
                    <a:pt x="8132" y="0"/>
                    <a:pt x="5145" y="2987"/>
                    <a:pt x="3651" y="4481"/>
                  </a:cubicBezTo>
                  <a:cubicBezTo>
                    <a:pt x="2157" y="7468"/>
                    <a:pt x="664" y="11949"/>
                    <a:pt x="664" y="16430"/>
                  </a:cubicBezTo>
                  <a:cubicBezTo>
                    <a:pt x="664" y="20911"/>
                    <a:pt x="-830" y="26885"/>
                    <a:pt x="664" y="31366"/>
                  </a:cubicBezTo>
                  <a:cubicBezTo>
                    <a:pt x="664" y="32860"/>
                    <a:pt x="2157" y="34354"/>
                    <a:pt x="3651" y="34354"/>
                  </a:cubicBezTo>
                  <a:cubicBezTo>
                    <a:pt x="5145" y="35847"/>
                    <a:pt x="8132" y="34354"/>
                    <a:pt x="9626" y="32860"/>
                  </a:cubicBezTo>
                  <a:cubicBezTo>
                    <a:pt x="11119" y="31366"/>
                    <a:pt x="12613" y="29873"/>
                    <a:pt x="12613" y="26885"/>
                  </a:cubicBezTo>
                  <a:cubicBezTo>
                    <a:pt x="14107" y="20911"/>
                    <a:pt x="15600" y="14936"/>
                    <a:pt x="17094" y="10455"/>
                  </a:cubicBezTo>
                  <a:cubicBezTo>
                    <a:pt x="17094" y="7468"/>
                    <a:pt x="17094" y="5974"/>
                    <a:pt x="17094" y="2987"/>
                  </a:cubicBezTo>
                  <a:cubicBezTo>
                    <a:pt x="15600" y="2987"/>
                    <a:pt x="12613" y="1493"/>
                    <a:pt x="11119" y="0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4" name="任意多边形: 形状 10543"/>
            <p:cNvSpPr/>
            <p:nvPr/>
          </p:nvSpPr>
          <p:spPr>
            <a:xfrm>
              <a:off x="6565595" y="811484"/>
              <a:ext cx="29873" cy="44809"/>
            </a:xfrm>
            <a:custGeom>
              <a:avLst/>
              <a:gdLst>
                <a:gd name="connsiteX0" fmla="*/ 0 w 29872"/>
                <a:gd name="connsiteY0" fmla="*/ 57870 h 44809"/>
                <a:gd name="connsiteX1" fmla="*/ 22405 w 29872"/>
                <a:gd name="connsiteY1" fmla="*/ 53389 h 44809"/>
                <a:gd name="connsiteX2" fmla="*/ 31366 w 29872"/>
                <a:gd name="connsiteY2" fmla="*/ 32478 h 44809"/>
                <a:gd name="connsiteX3" fmla="*/ 32860 w 29872"/>
                <a:gd name="connsiteY3" fmla="*/ 20529 h 44809"/>
                <a:gd name="connsiteX4" fmla="*/ 40328 w 29872"/>
                <a:gd name="connsiteY4" fmla="*/ 5593 h 44809"/>
                <a:gd name="connsiteX5" fmla="*/ 29873 w 29872"/>
                <a:gd name="connsiteY5" fmla="*/ 2605 h 44809"/>
                <a:gd name="connsiteX6" fmla="*/ 19417 w 29872"/>
                <a:gd name="connsiteY6" fmla="*/ 16048 h 44809"/>
                <a:gd name="connsiteX7" fmla="*/ 8962 w 29872"/>
                <a:gd name="connsiteY7" fmla="*/ 25010 h 44809"/>
                <a:gd name="connsiteX8" fmla="*/ 2987 w 29872"/>
                <a:gd name="connsiteY8" fmla="*/ 41440 h 44809"/>
                <a:gd name="connsiteX9" fmla="*/ 0 w 29872"/>
                <a:gd name="connsiteY9" fmla="*/ 57870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872" h="44809">
                  <a:moveTo>
                    <a:pt x="0" y="57870"/>
                  </a:moveTo>
                  <a:cubicBezTo>
                    <a:pt x="8962" y="60857"/>
                    <a:pt x="16430" y="59363"/>
                    <a:pt x="22405" y="53389"/>
                  </a:cubicBezTo>
                  <a:cubicBezTo>
                    <a:pt x="28379" y="48908"/>
                    <a:pt x="29873" y="39946"/>
                    <a:pt x="31366" y="32478"/>
                  </a:cubicBezTo>
                  <a:cubicBezTo>
                    <a:pt x="31366" y="27997"/>
                    <a:pt x="31366" y="23516"/>
                    <a:pt x="32860" y="20529"/>
                  </a:cubicBezTo>
                  <a:cubicBezTo>
                    <a:pt x="35847" y="16048"/>
                    <a:pt x="41822" y="11567"/>
                    <a:pt x="40328" y="5593"/>
                  </a:cubicBezTo>
                  <a:cubicBezTo>
                    <a:pt x="40328" y="-382"/>
                    <a:pt x="34354" y="-1875"/>
                    <a:pt x="29873" y="2605"/>
                  </a:cubicBezTo>
                  <a:cubicBezTo>
                    <a:pt x="22405" y="10074"/>
                    <a:pt x="20911" y="14554"/>
                    <a:pt x="19417" y="16048"/>
                  </a:cubicBezTo>
                  <a:cubicBezTo>
                    <a:pt x="16430" y="19035"/>
                    <a:pt x="11949" y="20529"/>
                    <a:pt x="8962" y="25010"/>
                  </a:cubicBezTo>
                  <a:cubicBezTo>
                    <a:pt x="5975" y="29491"/>
                    <a:pt x="2987" y="35465"/>
                    <a:pt x="2987" y="41440"/>
                  </a:cubicBezTo>
                  <a:lnTo>
                    <a:pt x="0" y="57870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5" name="任意多边形: 形状 10544"/>
            <p:cNvSpPr/>
            <p:nvPr/>
          </p:nvSpPr>
          <p:spPr>
            <a:xfrm>
              <a:off x="6547434" y="782630"/>
              <a:ext cx="29873" cy="74682"/>
            </a:xfrm>
            <a:custGeom>
              <a:avLst/>
              <a:gdLst>
                <a:gd name="connsiteX0" fmla="*/ 6212 w 29872"/>
                <a:gd name="connsiteY0" fmla="*/ 21004 h 74681"/>
                <a:gd name="connsiteX1" fmla="*/ 12187 w 29872"/>
                <a:gd name="connsiteY1" fmla="*/ 7561 h 74681"/>
                <a:gd name="connsiteX2" fmla="*/ 24136 w 29872"/>
                <a:gd name="connsiteY2" fmla="*/ 1587 h 74681"/>
                <a:gd name="connsiteX3" fmla="*/ 36085 w 29872"/>
                <a:gd name="connsiteY3" fmla="*/ 7561 h 74681"/>
                <a:gd name="connsiteX4" fmla="*/ 40566 w 29872"/>
                <a:gd name="connsiteY4" fmla="*/ 18017 h 74681"/>
                <a:gd name="connsiteX5" fmla="*/ 43553 w 29872"/>
                <a:gd name="connsiteY5" fmla="*/ 34447 h 74681"/>
                <a:gd name="connsiteX6" fmla="*/ 42060 w 29872"/>
                <a:gd name="connsiteY6" fmla="*/ 50877 h 74681"/>
                <a:gd name="connsiteX7" fmla="*/ 24136 w 29872"/>
                <a:gd name="connsiteY7" fmla="*/ 88218 h 74681"/>
                <a:gd name="connsiteX8" fmla="*/ 4719 w 29872"/>
                <a:gd name="connsiteY8" fmla="*/ 76269 h 74681"/>
                <a:gd name="connsiteX9" fmla="*/ 1731 w 29872"/>
                <a:gd name="connsiteY9" fmla="*/ 53864 h 74681"/>
                <a:gd name="connsiteX10" fmla="*/ 238 w 29872"/>
                <a:gd name="connsiteY10" fmla="*/ 34447 h 74681"/>
                <a:gd name="connsiteX11" fmla="*/ 6212 w 29872"/>
                <a:gd name="connsiteY11" fmla="*/ 21004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872" h="74681">
                  <a:moveTo>
                    <a:pt x="6212" y="21004"/>
                  </a:moveTo>
                  <a:cubicBezTo>
                    <a:pt x="4719" y="13536"/>
                    <a:pt x="7706" y="6068"/>
                    <a:pt x="12187" y="7561"/>
                  </a:cubicBezTo>
                  <a:cubicBezTo>
                    <a:pt x="12187" y="3081"/>
                    <a:pt x="18161" y="-2894"/>
                    <a:pt x="24136" y="1587"/>
                  </a:cubicBezTo>
                  <a:cubicBezTo>
                    <a:pt x="27123" y="-2894"/>
                    <a:pt x="34591" y="3081"/>
                    <a:pt x="36085" y="7561"/>
                  </a:cubicBezTo>
                  <a:cubicBezTo>
                    <a:pt x="39072" y="15030"/>
                    <a:pt x="39072" y="16523"/>
                    <a:pt x="40566" y="18017"/>
                  </a:cubicBezTo>
                  <a:cubicBezTo>
                    <a:pt x="42060" y="23991"/>
                    <a:pt x="43553" y="29966"/>
                    <a:pt x="43553" y="34447"/>
                  </a:cubicBezTo>
                  <a:cubicBezTo>
                    <a:pt x="43553" y="40421"/>
                    <a:pt x="43553" y="44902"/>
                    <a:pt x="42060" y="50877"/>
                  </a:cubicBezTo>
                  <a:cubicBezTo>
                    <a:pt x="37579" y="64320"/>
                    <a:pt x="36085" y="79256"/>
                    <a:pt x="24136" y="88218"/>
                  </a:cubicBezTo>
                  <a:cubicBezTo>
                    <a:pt x="18161" y="86724"/>
                    <a:pt x="12187" y="85230"/>
                    <a:pt x="4719" y="76269"/>
                  </a:cubicBezTo>
                  <a:cubicBezTo>
                    <a:pt x="238" y="68801"/>
                    <a:pt x="238" y="62826"/>
                    <a:pt x="1731" y="53864"/>
                  </a:cubicBezTo>
                  <a:cubicBezTo>
                    <a:pt x="3225" y="44902"/>
                    <a:pt x="3225" y="41915"/>
                    <a:pt x="238" y="34447"/>
                  </a:cubicBezTo>
                  <a:cubicBezTo>
                    <a:pt x="-1256" y="22498"/>
                    <a:pt x="4719" y="19511"/>
                    <a:pt x="6212" y="21004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6" name="任意多边形: 形状 10545"/>
            <p:cNvSpPr/>
            <p:nvPr/>
          </p:nvSpPr>
          <p:spPr>
            <a:xfrm>
              <a:off x="6540203" y="848237"/>
              <a:ext cx="59745" cy="164300"/>
            </a:xfrm>
            <a:custGeom>
              <a:avLst/>
              <a:gdLst>
                <a:gd name="connsiteX0" fmla="*/ 52277 w 59745"/>
                <a:gd name="connsiteY0" fmla="*/ 25599 h 164299"/>
                <a:gd name="connsiteX1" fmla="*/ 49290 w 59745"/>
                <a:gd name="connsiteY1" fmla="*/ 3194 h 164299"/>
                <a:gd name="connsiteX2" fmla="*/ 14936 w 59745"/>
                <a:gd name="connsiteY2" fmla="*/ 4688 h 164299"/>
                <a:gd name="connsiteX3" fmla="*/ 13443 w 59745"/>
                <a:gd name="connsiteY3" fmla="*/ 24105 h 164299"/>
                <a:gd name="connsiteX4" fmla="*/ 0 w 59745"/>
                <a:gd name="connsiteY4" fmla="*/ 134634 h 164299"/>
                <a:gd name="connsiteX5" fmla="*/ 29873 w 59745"/>
                <a:gd name="connsiteY5" fmla="*/ 166000 h 164299"/>
                <a:gd name="connsiteX6" fmla="*/ 29873 w 59745"/>
                <a:gd name="connsiteY6" fmla="*/ 166000 h 164299"/>
                <a:gd name="connsiteX7" fmla="*/ 61239 w 59745"/>
                <a:gd name="connsiteY7" fmla="*/ 136127 h 164299"/>
                <a:gd name="connsiteX8" fmla="*/ 52277 w 59745"/>
                <a:gd name="connsiteY8" fmla="*/ 25599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64299">
                  <a:moveTo>
                    <a:pt x="52277" y="25599"/>
                  </a:moveTo>
                  <a:cubicBezTo>
                    <a:pt x="53771" y="13649"/>
                    <a:pt x="52277" y="7675"/>
                    <a:pt x="49290" y="3194"/>
                  </a:cubicBezTo>
                  <a:cubicBezTo>
                    <a:pt x="46303" y="-1287"/>
                    <a:pt x="16430" y="-1287"/>
                    <a:pt x="14936" y="4688"/>
                  </a:cubicBezTo>
                  <a:cubicBezTo>
                    <a:pt x="13443" y="9169"/>
                    <a:pt x="13443" y="16637"/>
                    <a:pt x="13443" y="24105"/>
                  </a:cubicBezTo>
                  <a:lnTo>
                    <a:pt x="0" y="134634"/>
                  </a:lnTo>
                  <a:cubicBezTo>
                    <a:pt x="0" y="151064"/>
                    <a:pt x="13443" y="166000"/>
                    <a:pt x="29873" y="166000"/>
                  </a:cubicBezTo>
                  <a:lnTo>
                    <a:pt x="29873" y="166000"/>
                  </a:lnTo>
                  <a:cubicBezTo>
                    <a:pt x="46303" y="166000"/>
                    <a:pt x="61239" y="152557"/>
                    <a:pt x="61239" y="136127"/>
                  </a:cubicBezTo>
                  <a:lnTo>
                    <a:pt x="52277" y="25599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7" name="任意多边形: 形状 10546"/>
            <p:cNvSpPr/>
            <p:nvPr/>
          </p:nvSpPr>
          <p:spPr>
            <a:xfrm>
              <a:off x="6539695" y="953983"/>
              <a:ext cx="74682" cy="253918"/>
            </a:xfrm>
            <a:custGeom>
              <a:avLst/>
              <a:gdLst>
                <a:gd name="connsiteX0" fmla="*/ 60254 w 74681"/>
                <a:gd name="connsiteY0" fmla="*/ 24407 h 253917"/>
                <a:gd name="connsiteX1" fmla="*/ 24407 w 74681"/>
                <a:gd name="connsiteY1" fmla="*/ 509 h 253917"/>
                <a:gd name="connsiteX2" fmla="*/ 24407 w 74681"/>
                <a:gd name="connsiteY2" fmla="*/ 509 h 253917"/>
                <a:gd name="connsiteX3" fmla="*/ 509 w 74681"/>
                <a:gd name="connsiteY3" fmla="*/ 36356 h 253917"/>
                <a:gd name="connsiteX4" fmla="*/ 27394 w 74681"/>
                <a:gd name="connsiteY4" fmla="*/ 146885 h 253917"/>
                <a:gd name="connsiteX5" fmla="*/ 54280 w 74681"/>
                <a:gd name="connsiteY5" fmla="*/ 257414 h 253917"/>
                <a:gd name="connsiteX6" fmla="*/ 60254 w 74681"/>
                <a:gd name="connsiteY6" fmla="*/ 173770 h 253917"/>
                <a:gd name="connsiteX7" fmla="*/ 84152 w 74681"/>
                <a:gd name="connsiteY7" fmla="*/ 137923 h 253917"/>
                <a:gd name="connsiteX8" fmla="*/ 60254 w 74681"/>
                <a:gd name="connsiteY8" fmla="*/ 24407 h 253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681" h="253917">
                  <a:moveTo>
                    <a:pt x="60254" y="24407"/>
                  </a:moveTo>
                  <a:cubicBezTo>
                    <a:pt x="57267" y="7977"/>
                    <a:pt x="40837" y="-2479"/>
                    <a:pt x="24407" y="509"/>
                  </a:cubicBezTo>
                  <a:lnTo>
                    <a:pt x="24407" y="509"/>
                  </a:lnTo>
                  <a:cubicBezTo>
                    <a:pt x="7977" y="3496"/>
                    <a:pt x="-2479" y="19926"/>
                    <a:pt x="509" y="36356"/>
                  </a:cubicBezTo>
                  <a:lnTo>
                    <a:pt x="27394" y="146885"/>
                  </a:lnTo>
                  <a:cubicBezTo>
                    <a:pt x="40837" y="184226"/>
                    <a:pt x="37849" y="260401"/>
                    <a:pt x="54280" y="257414"/>
                  </a:cubicBezTo>
                  <a:lnTo>
                    <a:pt x="60254" y="173770"/>
                  </a:lnTo>
                  <a:cubicBezTo>
                    <a:pt x="76684" y="170783"/>
                    <a:pt x="87139" y="154353"/>
                    <a:pt x="84152" y="137923"/>
                  </a:cubicBezTo>
                  <a:lnTo>
                    <a:pt x="60254" y="24407"/>
                  </a:lnTo>
                  <a:close/>
                </a:path>
              </a:pathLst>
            </a:custGeom>
            <a:solidFill>
              <a:srgbClr val="66D1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8" name="任意多边形: 形状 10547"/>
            <p:cNvSpPr/>
            <p:nvPr/>
          </p:nvSpPr>
          <p:spPr>
            <a:xfrm>
              <a:off x="6533642" y="947193"/>
              <a:ext cx="59745" cy="44809"/>
            </a:xfrm>
            <a:custGeom>
              <a:avLst/>
              <a:gdLst>
                <a:gd name="connsiteX0" fmla="*/ 64813 w 59745"/>
                <a:gd name="connsiteY0" fmla="*/ 11780 h 44809"/>
                <a:gd name="connsiteX1" fmla="*/ 66307 w 59745"/>
                <a:gd name="connsiteY1" fmla="*/ 37171 h 44809"/>
                <a:gd name="connsiteX2" fmla="*/ 22992 w 59745"/>
                <a:gd name="connsiteY2" fmla="*/ 32691 h 44809"/>
                <a:gd name="connsiteX3" fmla="*/ 6561 w 59745"/>
                <a:gd name="connsiteY3" fmla="*/ 47627 h 44809"/>
                <a:gd name="connsiteX4" fmla="*/ 2081 w 59745"/>
                <a:gd name="connsiteY4" fmla="*/ 38665 h 44809"/>
                <a:gd name="connsiteX5" fmla="*/ 3574 w 59745"/>
                <a:gd name="connsiteY5" fmla="*/ 10286 h 44809"/>
                <a:gd name="connsiteX6" fmla="*/ 22992 w 59745"/>
                <a:gd name="connsiteY6" fmla="*/ 1324 h 44809"/>
                <a:gd name="connsiteX7" fmla="*/ 64813 w 59745"/>
                <a:gd name="connsiteY7" fmla="*/ 11780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45" h="44809">
                  <a:moveTo>
                    <a:pt x="64813" y="11780"/>
                  </a:moveTo>
                  <a:cubicBezTo>
                    <a:pt x="64813" y="16261"/>
                    <a:pt x="72281" y="40159"/>
                    <a:pt x="66307" y="37171"/>
                  </a:cubicBezTo>
                  <a:cubicBezTo>
                    <a:pt x="55851" y="25222"/>
                    <a:pt x="34940" y="28210"/>
                    <a:pt x="22992" y="32691"/>
                  </a:cubicBezTo>
                  <a:cubicBezTo>
                    <a:pt x="17017" y="35678"/>
                    <a:pt x="9549" y="41652"/>
                    <a:pt x="6561" y="47627"/>
                  </a:cubicBezTo>
                  <a:cubicBezTo>
                    <a:pt x="2081" y="46133"/>
                    <a:pt x="2081" y="41652"/>
                    <a:pt x="2081" y="38665"/>
                  </a:cubicBezTo>
                  <a:cubicBezTo>
                    <a:pt x="587" y="19248"/>
                    <a:pt x="-2400" y="16261"/>
                    <a:pt x="3574" y="10286"/>
                  </a:cubicBezTo>
                  <a:cubicBezTo>
                    <a:pt x="9549" y="5805"/>
                    <a:pt x="15523" y="2818"/>
                    <a:pt x="22992" y="1324"/>
                  </a:cubicBezTo>
                  <a:cubicBezTo>
                    <a:pt x="34940" y="-1663"/>
                    <a:pt x="63320" y="-169"/>
                    <a:pt x="64813" y="11780"/>
                  </a:cubicBezTo>
                  <a:close/>
                </a:path>
              </a:pathLst>
            </a:custGeom>
            <a:solidFill>
              <a:srgbClr val="54ABD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9" name="任意多边形: 形状 10548"/>
            <p:cNvSpPr/>
            <p:nvPr/>
          </p:nvSpPr>
          <p:spPr>
            <a:xfrm>
              <a:off x="6639530" y="1790553"/>
              <a:ext cx="89618" cy="44809"/>
            </a:xfrm>
            <a:custGeom>
              <a:avLst/>
              <a:gdLst>
                <a:gd name="connsiteX0" fmla="*/ 91859 w 89618"/>
                <a:gd name="connsiteY0" fmla="*/ 3361 h 44809"/>
                <a:gd name="connsiteX1" fmla="*/ 91859 w 89618"/>
                <a:gd name="connsiteY1" fmla="*/ 22778 h 44809"/>
                <a:gd name="connsiteX2" fmla="*/ 39581 w 89618"/>
                <a:gd name="connsiteY2" fmla="*/ 52651 h 44809"/>
                <a:gd name="connsiteX3" fmla="*/ 6721 w 89618"/>
                <a:gd name="connsiteY3" fmla="*/ 52651 h 44809"/>
                <a:gd name="connsiteX4" fmla="*/ 6721 w 89618"/>
                <a:gd name="connsiteY4" fmla="*/ 52651 h 44809"/>
                <a:gd name="connsiteX5" fmla="*/ 6721 w 89618"/>
                <a:gd name="connsiteY5" fmla="*/ 33233 h 44809"/>
                <a:gd name="connsiteX6" fmla="*/ 58999 w 89618"/>
                <a:gd name="connsiteY6" fmla="*/ 3361 h 44809"/>
                <a:gd name="connsiteX7" fmla="*/ 91859 w 89618"/>
                <a:gd name="connsiteY7" fmla="*/ 3361 h 44809"/>
                <a:gd name="connsiteX8" fmla="*/ 91859 w 89618"/>
                <a:gd name="connsiteY8" fmla="*/ 336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91859" y="3361"/>
                  </a:moveTo>
                  <a:cubicBezTo>
                    <a:pt x="100820" y="9335"/>
                    <a:pt x="100820" y="16803"/>
                    <a:pt x="91859" y="22778"/>
                  </a:cubicBezTo>
                  <a:lnTo>
                    <a:pt x="39581" y="52651"/>
                  </a:lnTo>
                  <a:cubicBezTo>
                    <a:pt x="30619" y="58625"/>
                    <a:pt x="15683" y="58625"/>
                    <a:pt x="6721" y="52651"/>
                  </a:cubicBezTo>
                  <a:lnTo>
                    <a:pt x="6721" y="52651"/>
                  </a:lnTo>
                  <a:cubicBezTo>
                    <a:pt x="-2240" y="46676"/>
                    <a:pt x="-2240" y="39208"/>
                    <a:pt x="6721" y="33233"/>
                  </a:cubicBezTo>
                  <a:lnTo>
                    <a:pt x="58999" y="3361"/>
                  </a:lnTo>
                  <a:cubicBezTo>
                    <a:pt x="67960" y="-1120"/>
                    <a:pt x="82897" y="-1120"/>
                    <a:pt x="91859" y="3361"/>
                  </a:cubicBezTo>
                  <a:lnTo>
                    <a:pt x="91859" y="3361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0" name="任意多边形: 形状 10549"/>
            <p:cNvSpPr/>
            <p:nvPr/>
          </p:nvSpPr>
          <p:spPr>
            <a:xfrm>
              <a:off x="6639924" y="1761054"/>
              <a:ext cx="89618" cy="74682"/>
            </a:xfrm>
            <a:custGeom>
              <a:avLst/>
              <a:gdLst>
                <a:gd name="connsiteX0" fmla="*/ 42175 w 89618"/>
                <a:gd name="connsiteY0" fmla="*/ 2987 h 74681"/>
                <a:gd name="connsiteX1" fmla="*/ 81010 w 89618"/>
                <a:gd name="connsiteY1" fmla="*/ 0 h 74681"/>
                <a:gd name="connsiteX2" fmla="*/ 98933 w 89618"/>
                <a:gd name="connsiteY2" fmla="*/ 43315 h 74681"/>
                <a:gd name="connsiteX3" fmla="*/ 353 w 89618"/>
                <a:gd name="connsiteY3" fmla="*/ 76175 h 74681"/>
                <a:gd name="connsiteX4" fmla="*/ 31720 w 89618"/>
                <a:gd name="connsiteY4" fmla="*/ 29873 h 74681"/>
                <a:gd name="connsiteX5" fmla="*/ 42175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42175" y="2987"/>
                  </a:moveTo>
                  <a:lnTo>
                    <a:pt x="81010" y="0"/>
                  </a:lnTo>
                  <a:cubicBezTo>
                    <a:pt x="88478" y="10456"/>
                    <a:pt x="95946" y="23898"/>
                    <a:pt x="98933" y="43315"/>
                  </a:cubicBezTo>
                  <a:lnTo>
                    <a:pt x="353" y="76175"/>
                  </a:lnTo>
                  <a:cubicBezTo>
                    <a:pt x="-2634" y="62733"/>
                    <a:pt x="13796" y="43315"/>
                    <a:pt x="31720" y="29873"/>
                  </a:cubicBezTo>
                  <a:cubicBezTo>
                    <a:pt x="39188" y="22405"/>
                    <a:pt x="34707" y="10456"/>
                    <a:pt x="42175" y="2987"/>
                  </a:cubicBez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1" name="任意多边形: 形状 10550"/>
            <p:cNvSpPr/>
            <p:nvPr/>
          </p:nvSpPr>
          <p:spPr>
            <a:xfrm>
              <a:off x="6527508" y="1726327"/>
              <a:ext cx="89618" cy="44809"/>
            </a:xfrm>
            <a:custGeom>
              <a:avLst/>
              <a:gdLst>
                <a:gd name="connsiteX0" fmla="*/ 91859 w 89618"/>
                <a:gd name="connsiteY0" fmla="*/ 3361 h 44809"/>
                <a:gd name="connsiteX1" fmla="*/ 91859 w 89618"/>
                <a:gd name="connsiteY1" fmla="*/ 22778 h 44809"/>
                <a:gd name="connsiteX2" fmla="*/ 39581 w 89618"/>
                <a:gd name="connsiteY2" fmla="*/ 52651 h 44809"/>
                <a:gd name="connsiteX3" fmla="*/ 6721 w 89618"/>
                <a:gd name="connsiteY3" fmla="*/ 52651 h 44809"/>
                <a:gd name="connsiteX4" fmla="*/ 6721 w 89618"/>
                <a:gd name="connsiteY4" fmla="*/ 52651 h 44809"/>
                <a:gd name="connsiteX5" fmla="*/ 6721 w 89618"/>
                <a:gd name="connsiteY5" fmla="*/ 33233 h 44809"/>
                <a:gd name="connsiteX6" fmla="*/ 58999 w 89618"/>
                <a:gd name="connsiteY6" fmla="*/ 3361 h 44809"/>
                <a:gd name="connsiteX7" fmla="*/ 91859 w 89618"/>
                <a:gd name="connsiteY7" fmla="*/ 3361 h 44809"/>
                <a:gd name="connsiteX8" fmla="*/ 91859 w 89618"/>
                <a:gd name="connsiteY8" fmla="*/ 336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91859" y="3361"/>
                  </a:moveTo>
                  <a:cubicBezTo>
                    <a:pt x="100820" y="9335"/>
                    <a:pt x="100820" y="16803"/>
                    <a:pt x="91859" y="22778"/>
                  </a:cubicBezTo>
                  <a:lnTo>
                    <a:pt x="39581" y="52651"/>
                  </a:lnTo>
                  <a:cubicBezTo>
                    <a:pt x="30619" y="58625"/>
                    <a:pt x="15683" y="58625"/>
                    <a:pt x="6721" y="52651"/>
                  </a:cubicBezTo>
                  <a:lnTo>
                    <a:pt x="6721" y="52651"/>
                  </a:lnTo>
                  <a:cubicBezTo>
                    <a:pt x="-2240" y="46676"/>
                    <a:pt x="-2240" y="39208"/>
                    <a:pt x="6721" y="33233"/>
                  </a:cubicBezTo>
                  <a:lnTo>
                    <a:pt x="58999" y="3361"/>
                  </a:lnTo>
                  <a:cubicBezTo>
                    <a:pt x="67960" y="-1120"/>
                    <a:pt x="82897" y="-1120"/>
                    <a:pt x="91859" y="3361"/>
                  </a:cubicBezTo>
                  <a:lnTo>
                    <a:pt x="91859" y="3361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2" name="任意多边形: 形状 10551"/>
            <p:cNvSpPr/>
            <p:nvPr/>
          </p:nvSpPr>
          <p:spPr>
            <a:xfrm>
              <a:off x="6527901" y="1696828"/>
              <a:ext cx="89618" cy="74682"/>
            </a:xfrm>
            <a:custGeom>
              <a:avLst/>
              <a:gdLst>
                <a:gd name="connsiteX0" fmla="*/ 42175 w 89618"/>
                <a:gd name="connsiteY0" fmla="*/ 2987 h 74681"/>
                <a:gd name="connsiteX1" fmla="*/ 81010 w 89618"/>
                <a:gd name="connsiteY1" fmla="*/ 0 h 74681"/>
                <a:gd name="connsiteX2" fmla="*/ 98933 w 89618"/>
                <a:gd name="connsiteY2" fmla="*/ 43315 h 74681"/>
                <a:gd name="connsiteX3" fmla="*/ 353 w 89618"/>
                <a:gd name="connsiteY3" fmla="*/ 76175 h 74681"/>
                <a:gd name="connsiteX4" fmla="*/ 31720 w 89618"/>
                <a:gd name="connsiteY4" fmla="*/ 29873 h 74681"/>
                <a:gd name="connsiteX5" fmla="*/ 42175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42175" y="2987"/>
                  </a:moveTo>
                  <a:lnTo>
                    <a:pt x="81010" y="0"/>
                  </a:lnTo>
                  <a:cubicBezTo>
                    <a:pt x="88478" y="10455"/>
                    <a:pt x="95946" y="23898"/>
                    <a:pt x="98933" y="43315"/>
                  </a:cubicBezTo>
                  <a:lnTo>
                    <a:pt x="353" y="76175"/>
                  </a:lnTo>
                  <a:cubicBezTo>
                    <a:pt x="-2634" y="62733"/>
                    <a:pt x="13796" y="43315"/>
                    <a:pt x="31720" y="29873"/>
                  </a:cubicBezTo>
                  <a:cubicBezTo>
                    <a:pt x="39188" y="22405"/>
                    <a:pt x="34707" y="10455"/>
                    <a:pt x="42175" y="2987"/>
                  </a:cubicBez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3" name="任意多边形: 形状 10552"/>
            <p:cNvSpPr/>
            <p:nvPr/>
          </p:nvSpPr>
          <p:spPr>
            <a:xfrm>
              <a:off x="6546178" y="1299521"/>
              <a:ext cx="104554" cy="224045"/>
            </a:xfrm>
            <a:custGeom>
              <a:avLst/>
              <a:gdLst>
                <a:gd name="connsiteX0" fmla="*/ 109035 w 104554"/>
                <a:gd name="connsiteY0" fmla="*/ 10456 h 224045"/>
                <a:gd name="connsiteX1" fmla="*/ 104554 w 104554"/>
                <a:gd name="connsiteY1" fmla="*/ 49290 h 224045"/>
                <a:gd name="connsiteX2" fmla="*/ 100074 w 104554"/>
                <a:gd name="connsiteY2" fmla="*/ 76175 h 224045"/>
                <a:gd name="connsiteX3" fmla="*/ 97086 w 104554"/>
                <a:gd name="connsiteY3" fmla="*/ 106048 h 224045"/>
                <a:gd name="connsiteX4" fmla="*/ 83644 w 104554"/>
                <a:gd name="connsiteY4" fmla="*/ 206122 h 224045"/>
                <a:gd name="connsiteX5" fmla="*/ 80656 w 104554"/>
                <a:gd name="connsiteY5" fmla="*/ 224045 h 224045"/>
                <a:gd name="connsiteX6" fmla="*/ 0 w 104554"/>
                <a:gd name="connsiteY6" fmla="*/ 212096 h 224045"/>
                <a:gd name="connsiteX7" fmla="*/ 25392 w 104554"/>
                <a:gd name="connsiteY7" fmla="*/ 22405 h 224045"/>
                <a:gd name="connsiteX8" fmla="*/ 28379 w 104554"/>
                <a:gd name="connsiteY8" fmla="*/ 0 h 224045"/>
                <a:gd name="connsiteX9" fmla="*/ 32860 w 104554"/>
                <a:gd name="connsiteY9" fmla="*/ 0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554" h="224045">
                  <a:moveTo>
                    <a:pt x="109035" y="10456"/>
                  </a:moveTo>
                  <a:lnTo>
                    <a:pt x="104554" y="49290"/>
                  </a:lnTo>
                  <a:lnTo>
                    <a:pt x="100074" y="76175"/>
                  </a:lnTo>
                  <a:lnTo>
                    <a:pt x="97086" y="106048"/>
                  </a:lnTo>
                  <a:lnTo>
                    <a:pt x="83644" y="206122"/>
                  </a:lnTo>
                  <a:lnTo>
                    <a:pt x="80656" y="224045"/>
                  </a:lnTo>
                  <a:lnTo>
                    <a:pt x="0" y="212096"/>
                  </a:lnTo>
                  <a:lnTo>
                    <a:pt x="25392" y="22405"/>
                  </a:lnTo>
                  <a:lnTo>
                    <a:pt x="28379" y="0"/>
                  </a:lnTo>
                  <a:lnTo>
                    <a:pt x="32860" y="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4" name="任意多边形: 形状 10553"/>
            <p:cNvSpPr/>
            <p:nvPr/>
          </p:nvSpPr>
          <p:spPr>
            <a:xfrm>
              <a:off x="6614885" y="1389139"/>
              <a:ext cx="14936" cy="104554"/>
            </a:xfrm>
            <a:custGeom>
              <a:avLst/>
              <a:gdLst>
                <a:gd name="connsiteX0" fmla="*/ 0 w 14936"/>
                <a:gd name="connsiteY0" fmla="*/ 0 h 104554"/>
                <a:gd name="connsiteX1" fmla="*/ 10455 w 14936"/>
                <a:gd name="connsiteY1" fmla="*/ 59745 h 104554"/>
                <a:gd name="connsiteX2" fmla="*/ 14936 w 14936"/>
                <a:gd name="connsiteY2" fmla="*/ 116504 h 104554"/>
                <a:gd name="connsiteX3" fmla="*/ 28379 w 14936"/>
                <a:gd name="connsiteY3" fmla="*/ 16430 h 104554"/>
                <a:gd name="connsiteX4" fmla="*/ 25392 w 14936"/>
                <a:gd name="connsiteY4" fmla="*/ 13443 h 104554"/>
                <a:gd name="connsiteX5" fmla="*/ 0 w 14936"/>
                <a:gd name="connsiteY5" fmla="*/ 0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 h="104554">
                  <a:moveTo>
                    <a:pt x="0" y="0"/>
                  </a:moveTo>
                  <a:cubicBezTo>
                    <a:pt x="7468" y="19417"/>
                    <a:pt x="8962" y="38835"/>
                    <a:pt x="10455" y="59745"/>
                  </a:cubicBezTo>
                  <a:cubicBezTo>
                    <a:pt x="11949" y="79163"/>
                    <a:pt x="13443" y="97086"/>
                    <a:pt x="14936" y="116504"/>
                  </a:cubicBezTo>
                  <a:lnTo>
                    <a:pt x="28379" y="16430"/>
                  </a:lnTo>
                  <a:cubicBezTo>
                    <a:pt x="26885" y="14936"/>
                    <a:pt x="25392" y="14936"/>
                    <a:pt x="25392" y="13443"/>
                  </a:cubicBezTo>
                  <a:cubicBezTo>
                    <a:pt x="16430" y="10456"/>
                    <a:pt x="7468" y="5975"/>
                    <a:pt x="0" y="0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5" name="任意多边形: 形状 10554"/>
            <p:cNvSpPr/>
            <p:nvPr/>
          </p:nvSpPr>
          <p:spPr>
            <a:xfrm>
              <a:off x="6551779" y="1681145"/>
              <a:ext cx="74682" cy="44809"/>
            </a:xfrm>
            <a:custGeom>
              <a:avLst/>
              <a:gdLst>
                <a:gd name="connsiteX0" fmla="*/ 12323 w 74681"/>
                <a:gd name="connsiteY0" fmla="*/ 6721 h 44809"/>
                <a:gd name="connsiteX1" fmla="*/ 12323 w 74681"/>
                <a:gd name="connsiteY1" fmla="*/ 39581 h 44809"/>
                <a:gd name="connsiteX2" fmla="*/ 69080 w 74681"/>
                <a:gd name="connsiteY2" fmla="*/ 39581 h 44809"/>
                <a:gd name="connsiteX3" fmla="*/ 69080 w 74681"/>
                <a:gd name="connsiteY3" fmla="*/ 6721 h 44809"/>
                <a:gd name="connsiteX4" fmla="*/ 12323 w 74681"/>
                <a:gd name="connsiteY4" fmla="*/ 672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12323" y="6721"/>
                  </a:moveTo>
                  <a:cubicBezTo>
                    <a:pt x="-4108" y="15683"/>
                    <a:pt x="-4108" y="30620"/>
                    <a:pt x="12323" y="39581"/>
                  </a:cubicBezTo>
                  <a:cubicBezTo>
                    <a:pt x="28752" y="48543"/>
                    <a:pt x="54144" y="48543"/>
                    <a:pt x="69080" y="39581"/>
                  </a:cubicBezTo>
                  <a:cubicBezTo>
                    <a:pt x="85511" y="30620"/>
                    <a:pt x="85511" y="15683"/>
                    <a:pt x="69080" y="6721"/>
                  </a:cubicBezTo>
                  <a:cubicBezTo>
                    <a:pt x="52651" y="-2240"/>
                    <a:pt x="27259" y="-2240"/>
                    <a:pt x="12323" y="672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6" name="任意多边形: 形状 10555"/>
            <p:cNvSpPr/>
            <p:nvPr/>
          </p:nvSpPr>
          <p:spPr>
            <a:xfrm>
              <a:off x="6545479" y="1471058"/>
              <a:ext cx="74682" cy="224045"/>
            </a:xfrm>
            <a:custGeom>
              <a:avLst/>
              <a:gdLst>
                <a:gd name="connsiteX0" fmla="*/ 87329 w 74681"/>
                <a:gd name="connsiteY0" fmla="*/ 233237 h 224045"/>
                <a:gd name="connsiteX1" fmla="*/ 81355 w 74681"/>
                <a:gd name="connsiteY1" fmla="*/ 51014 h 224045"/>
                <a:gd name="connsiteX2" fmla="*/ 64925 w 74681"/>
                <a:gd name="connsiteY2" fmla="*/ 12180 h 224045"/>
                <a:gd name="connsiteX3" fmla="*/ 32065 w 74681"/>
                <a:gd name="connsiteY3" fmla="*/ 230 h 224045"/>
                <a:gd name="connsiteX4" fmla="*/ 699 w 74681"/>
                <a:gd name="connsiteY4" fmla="*/ 40559 h 224045"/>
                <a:gd name="connsiteX5" fmla="*/ 6673 w 74681"/>
                <a:gd name="connsiteY5" fmla="*/ 233237 h 224045"/>
                <a:gd name="connsiteX6" fmla="*/ 29078 w 74681"/>
                <a:gd name="connsiteY6" fmla="*/ 233237 h 224045"/>
                <a:gd name="connsiteX7" fmla="*/ 87329 w 74681"/>
                <a:gd name="connsiteY7" fmla="*/ 233237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224045">
                  <a:moveTo>
                    <a:pt x="87329" y="233237"/>
                  </a:moveTo>
                  <a:cubicBezTo>
                    <a:pt x="90317" y="173492"/>
                    <a:pt x="84342" y="58482"/>
                    <a:pt x="81355" y="51014"/>
                  </a:cubicBezTo>
                  <a:cubicBezTo>
                    <a:pt x="76874" y="43546"/>
                    <a:pt x="72393" y="16660"/>
                    <a:pt x="64925" y="12180"/>
                  </a:cubicBezTo>
                  <a:cubicBezTo>
                    <a:pt x="54469" y="4711"/>
                    <a:pt x="44014" y="-1263"/>
                    <a:pt x="32065" y="230"/>
                  </a:cubicBezTo>
                  <a:cubicBezTo>
                    <a:pt x="17129" y="1724"/>
                    <a:pt x="3686" y="25622"/>
                    <a:pt x="699" y="40559"/>
                  </a:cubicBezTo>
                  <a:cubicBezTo>
                    <a:pt x="-2289" y="55495"/>
                    <a:pt x="5180" y="224276"/>
                    <a:pt x="6673" y="233237"/>
                  </a:cubicBezTo>
                  <a:cubicBezTo>
                    <a:pt x="8167" y="242199"/>
                    <a:pt x="21610" y="230250"/>
                    <a:pt x="29078" y="233237"/>
                  </a:cubicBezTo>
                  <a:lnTo>
                    <a:pt x="87329" y="233237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7" name="任意多边形: 形状 10556"/>
            <p:cNvSpPr/>
            <p:nvPr/>
          </p:nvSpPr>
          <p:spPr>
            <a:xfrm>
              <a:off x="6638783" y="1351798"/>
              <a:ext cx="74682" cy="209109"/>
            </a:xfrm>
            <a:custGeom>
              <a:avLst/>
              <a:gdLst>
                <a:gd name="connsiteX0" fmla="*/ 0 w 74681"/>
                <a:gd name="connsiteY0" fmla="*/ 0 h 209108"/>
                <a:gd name="connsiteX1" fmla="*/ 82150 w 74681"/>
                <a:gd name="connsiteY1" fmla="*/ 0 h 209108"/>
                <a:gd name="connsiteX2" fmla="*/ 82150 w 74681"/>
                <a:gd name="connsiteY2" fmla="*/ 215083 h 209108"/>
                <a:gd name="connsiteX3" fmla="*/ 0 w 74681"/>
                <a:gd name="connsiteY3" fmla="*/ 215083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209108">
                  <a:moveTo>
                    <a:pt x="0" y="0"/>
                  </a:moveTo>
                  <a:lnTo>
                    <a:pt x="82150" y="0"/>
                  </a:lnTo>
                  <a:lnTo>
                    <a:pt x="82150" y="215083"/>
                  </a:lnTo>
                  <a:lnTo>
                    <a:pt x="0" y="215083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8" name="任意多边形: 形状 10557"/>
            <p:cNvSpPr/>
            <p:nvPr/>
          </p:nvSpPr>
          <p:spPr>
            <a:xfrm>
              <a:off x="6660814" y="1745371"/>
              <a:ext cx="74682" cy="44809"/>
            </a:xfrm>
            <a:custGeom>
              <a:avLst/>
              <a:gdLst>
                <a:gd name="connsiteX0" fmla="*/ 12322 w 74681"/>
                <a:gd name="connsiteY0" fmla="*/ 6721 h 44809"/>
                <a:gd name="connsiteX1" fmla="*/ 12322 w 74681"/>
                <a:gd name="connsiteY1" fmla="*/ 39581 h 44809"/>
                <a:gd name="connsiteX2" fmla="*/ 69081 w 74681"/>
                <a:gd name="connsiteY2" fmla="*/ 39581 h 44809"/>
                <a:gd name="connsiteX3" fmla="*/ 69081 w 74681"/>
                <a:gd name="connsiteY3" fmla="*/ 6721 h 44809"/>
                <a:gd name="connsiteX4" fmla="*/ 12322 w 74681"/>
                <a:gd name="connsiteY4" fmla="*/ 672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12322" y="6721"/>
                  </a:moveTo>
                  <a:cubicBezTo>
                    <a:pt x="-4107" y="15683"/>
                    <a:pt x="-4107" y="30619"/>
                    <a:pt x="12322" y="39581"/>
                  </a:cubicBezTo>
                  <a:cubicBezTo>
                    <a:pt x="28752" y="48543"/>
                    <a:pt x="54144" y="48543"/>
                    <a:pt x="69081" y="39581"/>
                  </a:cubicBezTo>
                  <a:cubicBezTo>
                    <a:pt x="85511" y="30619"/>
                    <a:pt x="85511" y="15683"/>
                    <a:pt x="69081" y="6721"/>
                  </a:cubicBezTo>
                  <a:cubicBezTo>
                    <a:pt x="54144" y="-2240"/>
                    <a:pt x="28752" y="-2240"/>
                    <a:pt x="12322" y="672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9" name="任意多边形: 形状 10558"/>
            <p:cNvSpPr/>
            <p:nvPr/>
          </p:nvSpPr>
          <p:spPr>
            <a:xfrm>
              <a:off x="6640201" y="1537708"/>
              <a:ext cx="89618" cy="238981"/>
            </a:xfrm>
            <a:custGeom>
              <a:avLst/>
              <a:gdLst>
                <a:gd name="connsiteX0" fmla="*/ 101643 w 89618"/>
                <a:gd name="connsiteY0" fmla="*/ 230814 h 238981"/>
                <a:gd name="connsiteX1" fmla="*/ 80733 w 89618"/>
                <a:gd name="connsiteY1" fmla="*/ 30667 h 238981"/>
                <a:gd name="connsiteX2" fmla="*/ 61315 w 89618"/>
                <a:gd name="connsiteY2" fmla="*/ 9756 h 238981"/>
                <a:gd name="connsiteX3" fmla="*/ 26962 w 89618"/>
                <a:gd name="connsiteY3" fmla="*/ 795 h 238981"/>
                <a:gd name="connsiteX4" fmla="*/ 76 w 89618"/>
                <a:gd name="connsiteY4" fmla="*/ 30667 h 238981"/>
                <a:gd name="connsiteX5" fmla="*/ 22481 w 89618"/>
                <a:gd name="connsiteY5" fmla="*/ 230814 h 238981"/>
                <a:gd name="connsiteX6" fmla="*/ 34430 w 89618"/>
                <a:gd name="connsiteY6" fmla="*/ 241270 h 238981"/>
                <a:gd name="connsiteX7" fmla="*/ 101643 w 89618"/>
                <a:gd name="connsiteY7" fmla="*/ 230814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618" h="238981">
                  <a:moveTo>
                    <a:pt x="101643" y="230814"/>
                  </a:moveTo>
                  <a:cubicBezTo>
                    <a:pt x="100150" y="171069"/>
                    <a:pt x="83720" y="36642"/>
                    <a:pt x="80733" y="30667"/>
                  </a:cubicBezTo>
                  <a:cubicBezTo>
                    <a:pt x="76252" y="23199"/>
                    <a:pt x="68784" y="14237"/>
                    <a:pt x="61315" y="9756"/>
                  </a:cubicBezTo>
                  <a:cubicBezTo>
                    <a:pt x="50860" y="3782"/>
                    <a:pt x="38911" y="-2193"/>
                    <a:pt x="26962" y="795"/>
                  </a:cubicBezTo>
                  <a:cubicBezTo>
                    <a:pt x="12025" y="3782"/>
                    <a:pt x="1570" y="15731"/>
                    <a:pt x="76" y="30667"/>
                  </a:cubicBezTo>
                  <a:cubicBezTo>
                    <a:pt x="-1417" y="45604"/>
                    <a:pt x="19494" y="223346"/>
                    <a:pt x="22481" y="230814"/>
                  </a:cubicBezTo>
                  <a:cubicBezTo>
                    <a:pt x="25468" y="239776"/>
                    <a:pt x="25468" y="238282"/>
                    <a:pt x="34430" y="241270"/>
                  </a:cubicBezTo>
                  <a:lnTo>
                    <a:pt x="101643" y="230814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0" name="任意多边形: 形状 10559"/>
            <p:cNvSpPr/>
            <p:nvPr/>
          </p:nvSpPr>
          <p:spPr>
            <a:xfrm>
              <a:off x="6571570" y="1299521"/>
              <a:ext cx="134427" cy="89618"/>
            </a:xfrm>
            <a:custGeom>
              <a:avLst/>
              <a:gdLst>
                <a:gd name="connsiteX0" fmla="*/ 147870 w 134427"/>
                <a:gd name="connsiteY0" fmla="*/ 85137 h 89618"/>
                <a:gd name="connsiteX1" fmla="*/ 110529 w 134427"/>
                <a:gd name="connsiteY1" fmla="*/ 89618 h 89618"/>
                <a:gd name="connsiteX2" fmla="*/ 74682 w 134427"/>
                <a:gd name="connsiteY2" fmla="*/ 76175 h 89618"/>
                <a:gd name="connsiteX3" fmla="*/ 20911 w 134427"/>
                <a:gd name="connsiteY3" fmla="*/ 43315 h 89618"/>
                <a:gd name="connsiteX4" fmla="*/ 0 w 134427"/>
                <a:gd name="connsiteY4" fmla="*/ 22405 h 89618"/>
                <a:gd name="connsiteX5" fmla="*/ 0 w 134427"/>
                <a:gd name="connsiteY5" fmla="*/ 22405 h 89618"/>
                <a:gd name="connsiteX6" fmla="*/ 2987 w 134427"/>
                <a:gd name="connsiteY6" fmla="*/ 0 h 89618"/>
                <a:gd name="connsiteX7" fmla="*/ 5974 w 134427"/>
                <a:gd name="connsiteY7" fmla="*/ 0 h 89618"/>
                <a:gd name="connsiteX8" fmla="*/ 64226 w 134427"/>
                <a:gd name="connsiteY8" fmla="*/ 41822 h 89618"/>
                <a:gd name="connsiteX9" fmla="*/ 77669 w 134427"/>
                <a:gd name="connsiteY9" fmla="*/ 47796 h 89618"/>
                <a:gd name="connsiteX10" fmla="*/ 141895 w 134427"/>
                <a:gd name="connsiteY10" fmla="*/ 56758 h 89618"/>
                <a:gd name="connsiteX11" fmla="*/ 147870 w 134427"/>
                <a:gd name="connsiteY11" fmla="*/ 85137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4427" h="89618">
                  <a:moveTo>
                    <a:pt x="147870" y="85137"/>
                  </a:moveTo>
                  <a:cubicBezTo>
                    <a:pt x="137414" y="91112"/>
                    <a:pt x="123971" y="92605"/>
                    <a:pt x="110529" y="89618"/>
                  </a:cubicBezTo>
                  <a:cubicBezTo>
                    <a:pt x="97086" y="86631"/>
                    <a:pt x="86631" y="82150"/>
                    <a:pt x="74682" y="76175"/>
                  </a:cubicBezTo>
                  <a:cubicBezTo>
                    <a:pt x="55264" y="67214"/>
                    <a:pt x="37341" y="55265"/>
                    <a:pt x="20911" y="43315"/>
                  </a:cubicBezTo>
                  <a:cubicBezTo>
                    <a:pt x="13443" y="37341"/>
                    <a:pt x="4481" y="31366"/>
                    <a:pt x="0" y="22405"/>
                  </a:cubicBezTo>
                  <a:cubicBezTo>
                    <a:pt x="0" y="22405"/>
                    <a:pt x="0" y="22405"/>
                    <a:pt x="0" y="22405"/>
                  </a:cubicBezTo>
                  <a:lnTo>
                    <a:pt x="2987" y="0"/>
                  </a:lnTo>
                  <a:lnTo>
                    <a:pt x="5974" y="0"/>
                  </a:lnTo>
                  <a:cubicBezTo>
                    <a:pt x="23898" y="16430"/>
                    <a:pt x="43315" y="31366"/>
                    <a:pt x="64226" y="41822"/>
                  </a:cubicBezTo>
                  <a:cubicBezTo>
                    <a:pt x="68707" y="44809"/>
                    <a:pt x="73188" y="46303"/>
                    <a:pt x="77669" y="47796"/>
                  </a:cubicBezTo>
                  <a:cubicBezTo>
                    <a:pt x="98580" y="56758"/>
                    <a:pt x="119491" y="61239"/>
                    <a:pt x="141895" y="56758"/>
                  </a:cubicBezTo>
                  <a:cubicBezTo>
                    <a:pt x="144882" y="67214"/>
                    <a:pt x="146376" y="76175"/>
                    <a:pt x="147870" y="85137"/>
                  </a:cubicBez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1" name="任意多边形: 形状 10560"/>
            <p:cNvSpPr/>
            <p:nvPr/>
          </p:nvSpPr>
          <p:spPr>
            <a:xfrm>
              <a:off x="6571570" y="1046671"/>
              <a:ext cx="164300" cy="313663"/>
            </a:xfrm>
            <a:custGeom>
              <a:avLst/>
              <a:gdLst>
                <a:gd name="connsiteX0" fmla="*/ 177742 w 164299"/>
                <a:gd name="connsiteY0" fmla="*/ 70627 h 313663"/>
                <a:gd name="connsiteX1" fmla="*/ 173261 w 164299"/>
                <a:gd name="connsiteY1" fmla="*/ 267787 h 313663"/>
                <a:gd name="connsiteX2" fmla="*/ 125465 w 164299"/>
                <a:gd name="connsiteY2" fmla="*/ 326038 h 313663"/>
                <a:gd name="connsiteX3" fmla="*/ 83643 w 164299"/>
                <a:gd name="connsiteY3" fmla="*/ 320064 h 313663"/>
                <a:gd name="connsiteX4" fmla="*/ 52277 w 164299"/>
                <a:gd name="connsiteY4" fmla="*/ 302140 h 313663"/>
                <a:gd name="connsiteX5" fmla="*/ 49290 w 164299"/>
                <a:gd name="connsiteY5" fmla="*/ 300647 h 313663"/>
                <a:gd name="connsiteX6" fmla="*/ 34353 w 164299"/>
                <a:gd name="connsiteY6" fmla="*/ 291685 h 313663"/>
                <a:gd name="connsiteX7" fmla="*/ 29873 w 164299"/>
                <a:gd name="connsiteY7" fmla="*/ 288698 h 313663"/>
                <a:gd name="connsiteX8" fmla="*/ 0 w 164299"/>
                <a:gd name="connsiteY8" fmla="*/ 237914 h 313663"/>
                <a:gd name="connsiteX9" fmla="*/ 1493 w 164299"/>
                <a:gd name="connsiteY9" fmla="*/ 222978 h 313663"/>
                <a:gd name="connsiteX10" fmla="*/ 2987 w 164299"/>
                <a:gd name="connsiteY10" fmla="*/ 193105 h 313663"/>
                <a:gd name="connsiteX11" fmla="*/ 8962 w 164299"/>
                <a:gd name="connsiteY11" fmla="*/ 107968 h 313663"/>
                <a:gd name="connsiteX12" fmla="*/ 8962 w 164299"/>
                <a:gd name="connsiteY12" fmla="*/ 101993 h 313663"/>
                <a:gd name="connsiteX13" fmla="*/ 10455 w 164299"/>
                <a:gd name="connsiteY13" fmla="*/ 76602 h 313663"/>
                <a:gd name="connsiteX14" fmla="*/ 11949 w 164299"/>
                <a:gd name="connsiteY14" fmla="*/ 57184 h 313663"/>
                <a:gd name="connsiteX15" fmla="*/ 11949 w 164299"/>
                <a:gd name="connsiteY15" fmla="*/ 57184 h 313663"/>
                <a:gd name="connsiteX16" fmla="*/ 56758 w 164299"/>
                <a:gd name="connsiteY16" fmla="*/ 3413 h 313663"/>
                <a:gd name="connsiteX17" fmla="*/ 115010 w 164299"/>
                <a:gd name="connsiteY17" fmla="*/ 10882 h 313663"/>
                <a:gd name="connsiteX18" fmla="*/ 177742 w 164299"/>
                <a:gd name="connsiteY18" fmla="*/ 70627 h 313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4299" h="313663">
                  <a:moveTo>
                    <a:pt x="177742" y="70627"/>
                  </a:moveTo>
                  <a:lnTo>
                    <a:pt x="173261" y="267787"/>
                  </a:lnTo>
                  <a:cubicBezTo>
                    <a:pt x="173261" y="297659"/>
                    <a:pt x="152351" y="320064"/>
                    <a:pt x="125465" y="326038"/>
                  </a:cubicBezTo>
                  <a:cubicBezTo>
                    <a:pt x="112023" y="329026"/>
                    <a:pt x="97086" y="327532"/>
                    <a:pt x="83643" y="320064"/>
                  </a:cubicBezTo>
                  <a:lnTo>
                    <a:pt x="52277" y="302140"/>
                  </a:lnTo>
                  <a:lnTo>
                    <a:pt x="49290" y="300647"/>
                  </a:lnTo>
                  <a:lnTo>
                    <a:pt x="34353" y="291685"/>
                  </a:lnTo>
                  <a:lnTo>
                    <a:pt x="29873" y="288698"/>
                  </a:lnTo>
                  <a:cubicBezTo>
                    <a:pt x="11949" y="278242"/>
                    <a:pt x="0" y="258825"/>
                    <a:pt x="0" y="237914"/>
                  </a:cubicBezTo>
                  <a:lnTo>
                    <a:pt x="1493" y="222978"/>
                  </a:lnTo>
                  <a:lnTo>
                    <a:pt x="2987" y="193105"/>
                  </a:lnTo>
                  <a:lnTo>
                    <a:pt x="8962" y="107968"/>
                  </a:lnTo>
                  <a:lnTo>
                    <a:pt x="8962" y="101993"/>
                  </a:lnTo>
                  <a:lnTo>
                    <a:pt x="10455" y="76602"/>
                  </a:lnTo>
                  <a:cubicBezTo>
                    <a:pt x="10455" y="69133"/>
                    <a:pt x="11949" y="63159"/>
                    <a:pt x="11949" y="57184"/>
                  </a:cubicBezTo>
                  <a:lnTo>
                    <a:pt x="11949" y="57184"/>
                  </a:lnTo>
                  <a:cubicBezTo>
                    <a:pt x="17924" y="30299"/>
                    <a:pt x="35847" y="10882"/>
                    <a:pt x="56758" y="3413"/>
                  </a:cubicBezTo>
                  <a:cubicBezTo>
                    <a:pt x="74682" y="-2561"/>
                    <a:pt x="95593" y="-1068"/>
                    <a:pt x="115010" y="10882"/>
                  </a:cubicBezTo>
                  <a:cubicBezTo>
                    <a:pt x="143389" y="25818"/>
                    <a:pt x="164300" y="46729"/>
                    <a:pt x="177742" y="70627"/>
                  </a:cubicBezTo>
                  <a:close/>
                </a:path>
              </a:pathLst>
            </a:custGeom>
            <a:solidFill>
              <a:srgbClr val="66D1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2" name="任意多边形: 形状 10561"/>
            <p:cNvSpPr/>
            <p:nvPr/>
          </p:nvSpPr>
          <p:spPr>
            <a:xfrm>
              <a:off x="6623847" y="1139702"/>
              <a:ext cx="89618" cy="224045"/>
            </a:xfrm>
            <a:custGeom>
              <a:avLst/>
              <a:gdLst>
                <a:gd name="connsiteX0" fmla="*/ 0 w 89618"/>
                <a:gd name="connsiteY0" fmla="*/ 207615 h 224045"/>
                <a:gd name="connsiteX1" fmla="*/ 31366 w 89618"/>
                <a:gd name="connsiteY1" fmla="*/ 225539 h 224045"/>
                <a:gd name="connsiteX2" fmla="*/ 73188 w 89618"/>
                <a:gd name="connsiteY2" fmla="*/ 231513 h 224045"/>
                <a:gd name="connsiteX3" fmla="*/ 77669 w 89618"/>
                <a:gd name="connsiteY3" fmla="*/ 213590 h 224045"/>
                <a:gd name="connsiteX4" fmla="*/ 92605 w 89618"/>
                <a:gd name="connsiteY4" fmla="*/ 137414 h 224045"/>
                <a:gd name="connsiteX5" fmla="*/ 97086 w 89618"/>
                <a:gd name="connsiteY5" fmla="*/ 104554 h 224045"/>
                <a:gd name="connsiteX6" fmla="*/ 92605 w 89618"/>
                <a:gd name="connsiteY6" fmla="*/ 64226 h 224045"/>
                <a:gd name="connsiteX7" fmla="*/ 83643 w 89618"/>
                <a:gd name="connsiteY7" fmla="*/ 19417 h 224045"/>
                <a:gd name="connsiteX8" fmla="*/ 77669 w 89618"/>
                <a:gd name="connsiteY8" fmla="*/ 0 h 224045"/>
                <a:gd name="connsiteX9" fmla="*/ 73188 w 89618"/>
                <a:gd name="connsiteY9" fmla="*/ 91112 h 224045"/>
                <a:gd name="connsiteX10" fmla="*/ 71694 w 89618"/>
                <a:gd name="connsiteY10" fmla="*/ 110529 h 224045"/>
                <a:gd name="connsiteX11" fmla="*/ 67214 w 89618"/>
                <a:gd name="connsiteY11" fmla="*/ 132933 h 224045"/>
                <a:gd name="connsiteX12" fmla="*/ 0 w 89618"/>
                <a:gd name="connsiteY12" fmla="*/ 207615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618" h="224045">
                  <a:moveTo>
                    <a:pt x="0" y="207615"/>
                  </a:moveTo>
                  <a:lnTo>
                    <a:pt x="31366" y="225539"/>
                  </a:lnTo>
                  <a:cubicBezTo>
                    <a:pt x="44809" y="233007"/>
                    <a:pt x="59745" y="234501"/>
                    <a:pt x="73188" y="231513"/>
                  </a:cubicBezTo>
                  <a:cubicBezTo>
                    <a:pt x="74682" y="225539"/>
                    <a:pt x="76175" y="219564"/>
                    <a:pt x="77669" y="213590"/>
                  </a:cubicBezTo>
                  <a:cubicBezTo>
                    <a:pt x="82150" y="188198"/>
                    <a:pt x="88124" y="162806"/>
                    <a:pt x="92605" y="137414"/>
                  </a:cubicBezTo>
                  <a:cubicBezTo>
                    <a:pt x="94099" y="126959"/>
                    <a:pt x="97086" y="115010"/>
                    <a:pt x="97086" y="104554"/>
                  </a:cubicBezTo>
                  <a:cubicBezTo>
                    <a:pt x="97086" y="91112"/>
                    <a:pt x="94099" y="77669"/>
                    <a:pt x="92605" y="64226"/>
                  </a:cubicBezTo>
                  <a:cubicBezTo>
                    <a:pt x="89618" y="49290"/>
                    <a:pt x="86631" y="34354"/>
                    <a:pt x="83643" y="19417"/>
                  </a:cubicBezTo>
                  <a:cubicBezTo>
                    <a:pt x="82150" y="13443"/>
                    <a:pt x="80656" y="5975"/>
                    <a:pt x="77669" y="0"/>
                  </a:cubicBezTo>
                  <a:cubicBezTo>
                    <a:pt x="76175" y="29873"/>
                    <a:pt x="74682" y="61239"/>
                    <a:pt x="73188" y="91112"/>
                  </a:cubicBezTo>
                  <a:cubicBezTo>
                    <a:pt x="73188" y="97086"/>
                    <a:pt x="73188" y="103061"/>
                    <a:pt x="71694" y="110529"/>
                  </a:cubicBezTo>
                  <a:cubicBezTo>
                    <a:pt x="70201" y="117997"/>
                    <a:pt x="68707" y="125465"/>
                    <a:pt x="67214" y="132933"/>
                  </a:cubicBezTo>
                  <a:cubicBezTo>
                    <a:pt x="56758" y="159819"/>
                    <a:pt x="47796" y="209109"/>
                    <a:pt x="0" y="207615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3" name="任意多边形: 形状 10562"/>
            <p:cNvSpPr/>
            <p:nvPr/>
          </p:nvSpPr>
          <p:spPr>
            <a:xfrm>
              <a:off x="6605534" y="1082944"/>
              <a:ext cx="29873" cy="253918"/>
            </a:xfrm>
            <a:custGeom>
              <a:avLst/>
              <a:gdLst>
                <a:gd name="connsiteX0" fmla="*/ 15326 w 29872"/>
                <a:gd name="connsiteY0" fmla="*/ 262880 h 253917"/>
                <a:gd name="connsiteX1" fmla="*/ 390 w 29872"/>
                <a:gd name="connsiteY1" fmla="*/ 253918 h 253917"/>
                <a:gd name="connsiteX2" fmla="*/ 19807 w 29872"/>
                <a:gd name="connsiteY2" fmla="*/ 0 h 253917"/>
                <a:gd name="connsiteX3" fmla="*/ 37730 w 29872"/>
                <a:gd name="connsiteY3" fmla="*/ 5975 h 253917"/>
                <a:gd name="connsiteX4" fmla="*/ 15326 w 29872"/>
                <a:gd name="connsiteY4" fmla="*/ 262880 h 253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72" h="253917">
                  <a:moveTo>
                    <a:pt x="15326" y="262880"/>
                  </a:moveTo>
                  <a:lnTo>
                    <a:pt x="390" y="253918"/>
                  </a:lnTo>
                  <a:cubicBezTo>
                    <a:pt x="-2598" y="204628"/>
                    <a:pt x="12339" y="98580"/>
                    <a:pt x="19807" y="0"/>
                  </a:cubicBezTo>
                  <a:lnTo>
                    <a:pt x="37730" y="5975"/>
                  </a:lnTo>
                  <a:cubicBezTo>
                    <a:pt x="27275" y="106048"/>
                    <a:pt x="13832" y="212096"/>
                    <a:pt x="15326" y="262880"/>
                  </a:cubicBezTo>
                  <a:close/>
                </a:path>
              </a:pathLst>
            </a:custGeom>
            <a:solidFill>
              <a:srgbClr val="66D1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4" name="任意多边形: 形状 10563"/>
            <p:cNvSpPr/>
            <p:nvPr/>
          </p:nvSpPr>
          <p:spPr>
            <a:xfrm>
              <a:off x="6623847" y="1121779"/>
              <a:ext cx="14936" cy="14936"/>
            </a:xfrm>
            <a:custGeom>
              <a:avLst/>
              <a:gdLst>
                <a:gd name="connsiteX0" fmla="*/ 0 w 0"/>
                <a:gd name="connsiteY0" fmla="*/ 2987 h 0"/>
                <a:gd name="connsiteX1" fmla="*/ 4481 w 0"/>
                <a:gd name="connsiteY1" fmla="*/ 10455 h 0"/>
                <a:gd name="connsiteX2" fmla="*/ 8962 w 0"/>
                <a:gd name="connsiteY2" fmla="*/ 7468 h 0"/>
                <a:gd name="connsiteX3" fmla="*/ 4481 w 0"/>
                <a:gd name="connsiteY3" fmla="*/ 0 h 0"/>
                <a:gd name="connsiteX4" fmla="*/ 0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2987"/>
                  </a:moveTo>
                  <a:cubicBezTo>
                    <a:pt x="0" y="5974"/>
                    <a:pt x="1493" y="8962"/>
                    <a:pt x="4481" y="10455"/>
                  </a:cubicBezTo>
                  <a:cubicBezTo>
                    <a:pt x="7468" y="11949"/>
                    <a:pt x="8962" y="10455"/>
                    <a:pt x="8962" y="7468"/>
                  </a:cubicBezTo>
                  <a:cubicBezTo>
                    <a:pt x="8962" y="4481"/>
                    <a:pt x="7468" y="1494"/>
                    <a:pt x="4481" y="0"/>
                  </a:cubicBezTo>
                  <a:cubicBezTo>
                    <a:pt x="2987" y="0"/>
                    <a:pt x="0" y="0"/>
                    <a:pt x="0" y="2987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5" name="任意多边形: 形状 10564"/>
            <p:cNvSpPr/>
            <p:nvPr/>
          </p:nvSpPr>
          <p:spPr>
            <a:xfrm>
              <a:off x="6617872" y="1185419"/>
              <a:ext cx="14936" cy="14936"/>
            </a:xfrm>
            <a:custGeom>
              <a:avLst/>
              <a:gdLst>
                <a:gd name="connsiteX0" fmla="*/ 0 w 0"/>
                <a:gd name="connsiteY0" fmla="*/ 3573 h 0"/>
                <a:gd name="connsiteX1" fmla="*/ 4481 w 0"/>
                <a:gd name="connsiteY1" fmla="*/ 11041 h 0"/>
                <a:gd name="connsiteX2" fmla="*/ 8962 w 0"/>
                <a:gd name="connsiteY2" fmla="*/ 8054 h 0"/>
                <a:gd name="connsiteX3" fmla="*/ 4481 w 0"/>
                <a:gd name="connsiteY3" fmla="*/ 586 h 0"/>
                <a:gd name="connsiteX4" fmla="*/ 0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573"/>
                  </a:moveTo>
                  <a:cubicBezTo>
                    <a:pt x="0" y="6561"/>
                    <a:pt x="1494" y="9548"/>
                    <a:pt x="4481" y="11041"/>
                  </a:cubicBezTo>
                  <a:cubicBezTo>
                    <a:pt x="7468" y="12535"/>
                    <a:pt x="8962" y="11041"/>
                    <a:pt x="8962" y="8054"/>
                  </a:cubicBezTo>
                  <a:cubicBezTo>
                    <a:pt x="8962" y="5067"/>
                    <a:pt x="7468" y="2080"/>
                    <a:pt x="4481" y="586"/>
                  </a:cubicBezTo>
                  <a:cubicBezTo>
                    <a:pt x="1494" y="-908"/>
                    <a:pt x="0" y="586"/>
                    <a:pt x="0" y="3573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6" name="任意多边形: 形状 10565"/>
            <p:cNvSpPr/>
            <p:nvPr/>
          </p:nvSpPr>
          <p:spPr>
            <a:xfrm>
              <a:off x="6613391" y="1245164"/>
              <a:ext cx="14936" cy="14936"/>
            </a:xfrm>
            <a:custGeom>
              <a:avLst/>
              <a:gdLst>
                <a:gd name="connsiteX0" fmla="*/ 0 w 0"/>
                <a:gd name="connsiteY0" fmla="*/ 3573 h 0"/>
                <a:gd name="connsiteX1" fmla="*/ 4481 w 0"/>
                <a:gd name="connsiteY1" fmla="*/ 11041 h 0"/>
                <a:gd name="connsiteX2" fmla="*/ 8962 w 0"/>
                <a:gd name="connsiteY2" fmla="*/ 8054 h 0"/>
                <a:gd name="connsiteX3" fmla="*/ 4481 w 0"/>
                <a:gd name="connsiteY3" fmla="*/ 586 h 0"/>
                <a:gd name="connsiteX4" fmla="*/ 0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573"/>
                  </a:moveTo>
                  <a:cubicBezTo>
                    <a:pt x="0" y="6561"/>
                    <a:pt x="1494" y="9548"/>
                    <a:pt x="4481" y="11041"/>
                  </a:cubicBezTo>
                  <a:cubicBezTo>
                    <a:pt x="7468" y="12535"/>
                    <a:pt x="8962" y="11041"/>
                    <a:pt x="8962" y="8054"/>
                  </a:cubicBezTo>
                  <a:cubicBezTo>
                    <a:pt x="8962" y="5067"/>
                    <a:pt x="7468" y="2080"/>
                    <a:pt x="4481" y="586"/>
                  </a:cubicBezTo>
                  <a:cubicBezTo>
                    <a:pt x="1494" y="-908"/>
                    <a:pt x="0" y="586"/>
                    <a:pt x="0" y="3573"/>
                  </a:cubicBez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7" name="任意多边形: 形状 10566"/>
            <p:cNvSpPr/>
            <p:nvPr/>
          </p:nvSpPr>
          <p:spPr>
            <a:xfrm>
              <a:off x="6608911" y="1298027"/>
              <a:ext cx="14936" cy="14936"/>
            </a:xfrm>
            <a:custGeom>
              <a:avLst/>
              <a:gdLst>
                <a:gd name="connsiteX0" fmla="*/ 0 w 0"/>
                <a:gd name="connsiteY0" fmla="*/ 2987 h 0"/>
                <a:gd name="connsiteX1" fmla="*/ 4481 w 0"/>
                <a:gd name="connsiteY1" fmla="*/ 10456 h 0"/>
                <a:gd name="connsiteX2" fmla="*/ 8962 w 0"/>
                <a:gd name="connsiteY2" fmla="*/ 7468 h 0"/>
                <a:gd name="connsiteX3" fmla="*/ 4481 w 0"/>
                <a:gd name="connsiteY3" fmla="*/ 0 h 0"/>
                <a:gd name="connsiteX4" fmla="*/ 0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2987"/>
                  </a:moveTo>
                  <a:cubicBezTo>
                    <a:pt x="0" y="5975"/>
                    <a:pt x="1493" y="8962"/>
                    <a:pt x="4481" y="10456"/>
                  </a:cubicBezTo>
                  <a:cubicBezTo>
                    <a:pt x="7468" y="11949"/>
                    <a:pt x="8962" y="10456"/>
                    <a:pt x="8962" y="7468"/>
                  </a:cubicBezTo>
                  <a:cubicBezTo>
                    <a:pt x="8962" y="4481"/>
                    <a:pt x="7468" y="1494"/>
                    <a:pt x="4481" y="0"/>
                  </a:cubicBezTo>
                  <a:cubicBezTo>
                    <a:pt x="1493" y="0"/>
                    <a:pt x="0" y="0"/>
                    <a:pt x="0" y="2987"/>
                  </a:cubicBez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8" name="任意多边形: 形状 10567"/>
            <p:cNvSpPr/>
            <p:nvPr/>
          </p:nvSpPr>
          <p:spPr>
            <a:xfrm>
              <a:off x="6676498" y="1365241"/>
              <a:ext cx="44809" cy="89618"/>
            </a:xfrm>
            <a:custGeom>
              <a:avLst/>
              <a:gdLst>
                <a:gd name="connsiteX0" fmla="*/ 56385 w 44809"/>
                <a:gd name="connsiteY0" fmla="*/ 47796 h 89618"/>
                <a:gd name="connsiteX1" fmla="*/ 53397 w 44809"/>
                <a:gd name="connsiteY1" fmla="*/ 59745 h 89618"/>
                <a:gd name="connsiteX2" fmla="*/ 47423 w 44809"/>
                <a:gd name="connsiteY2" fmla="*/ 65720 h 89618"/>
                <a:gd name="connsiteX3" fmla="*/ 30993 w 44809"/>
                <a:gd name="connsiteY3" fmla="*/ 82150 h 89618"/>
                <a:gd name="connsiteX4" fmla="*/ 26512 w 44809"/>
                <a:gd name="connsiteY4" fmla="*/ 86631 h 89618"/>
                <a:gd name="connsiteX5" fmla="*/ 11576 w 44809"/>
                <a:gd name="connsiteY5" fmla="*/ 91112 h 89618"/>
                <a:gd name="connsiteX6" fmla="*/ 7095 w 44809"/>
                <a:gd name="connsiteY6" fmla="*/ 89618 h 89618"/>
                <a:gd name="connsiteX7" fmla="*/ 5601 w 44809"/>
                <a:gd name="connsiteY7" fmla="*/ 88124 h 89618"/>
                <a:gd name="connsiteX8" fmla="*/ 10082 w 44809"/>
                <a:gd name="connsiteY8" fmla="*/ 77669 h 89618"/>
                <a:gd name="connsiteX9" fmla="*/ 16056 w 44809"/>
                <a:gd name="connsiteY9" fmla="*/ 56758 h 89618"/>
                <a:gd name="connsiteX10" fmla="*/ 17550 w 44809"/>
                <a:gd name="connsiteY10" fmla="*/ 35847 h 89618"/>
                <a:gd name="connsiteX11" fmla="*/ 14563 w 44809"/>
                <a:gd name="connsiteY11" fmla="*/ 50784 h 89618"/>
                <a:gd name="connsiteX12" fmla="*/ 2614 w 44809"/>
                <a:gd name="connsiteY12" fmla="*/ 58252 h 89618"/>
                <a:gd name="connsiteX13" fmla="*/ 1120 w 44809"/>
                <a:gd name="connsiteY13" fmla="*/ 58252 h 89618"/>
                <a:gd name="connsiteX14" fmla="*/ 1120 w 44809"/>
                <a:gd name="connsiteY14" fmla="*/ 56758 h 89618"/>
                <a:gd name="connsiteX15" fmla="*/ 1120 w 44809"/>
                <a:gd name="connsiteY15" fmla="*/ 47796 h 89618"/>
                <a:gd name="connsiteX16" fmla="*/ 4107 w 44809"/>
                <a:gd name="connsiteY16" fmla="*/ 41822 h 89618"/>
                <a:gd name="connsiteX17" fmla="*/ 5601 w 44809"/>
                <a:gd name="connsiteY17" fmla="*/ 34354 h 89618"/>
                <a:gd name="connsiteX18" fmla="*/ 22031 w 44809"/>
                <a:gd name="connsiteY18" fmla="*/ 4481 h 89618"/>
                <a:gd name="connsiteX19" fmla="*/ 28006 w 44809"/>
                <a:gd name="connsiteY19" fmla="*/ 1494 h 89618"/>
                <a:gd name="connsiteX20" fmla="*/ 42942 w 44809"/>
                <a:gd name="connsiteY20" fmla="*/ 0 h 89618"/>
                <a:gd name="connsiteX21" fmla="*/ 45929 w 44809"/>
                <a:gd name="connsiteY21" fmla="*/ 1494 h 89618"/>
                <a:gd name="connsiteX22" fmla="*/ 47423 w 44809"/>
                <a:gd name="connsiteY22" fmla="*/ 2987 h 89618"/>
                <a:gd name="connsiteX23" fmla="*/ 56385 w 44809"/>
                <a:gd name="connsiteY23" fmla="*/ 23898 h 89618"/>
                <a:gd name="connsiteX24" fmla="*/ 56385 w 44809"/>
                <a:gd name="connsiteY24" fmla="*/ 47796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4809" h="89618">
                  <a:moveTo>
                    <a:pt x="56385" y="47796"/>
                  </a:moveTo>
                  <a:cubicBezTo>
                    <a:pt x="56385" y="52277"/>
                    <a:pt x="54891" y="55265"/>
                    <a:pt x="53397" y="59745"/>
                  </a:cubicBezTo>
                  <a:cubicBezTo>
                    <a:pt x="51904" y="62733"/>
                    <a:pt x="50410" y="64226"/>
                    <a:pt x="47423" y="65720"/>
                  </a:cubicBezTo>
                  <a:cubicBezTo>
                    <a:pt x="41448" y="71694"/>
                    <a:pt x="36967" y="76175"/>
                    <a:pt x="30993" y="82150"/>
                  </a:cubicBezTo>
                  <a:cubicBezTo>
                    <a:pt x="29499" y="83643"/>
                    <a:pt x="28006" y="85137"/>
                    <a:pt x="26512" y="86631"/>
                  </a:cubicBezTo>
                  <a:cubicBezTo>
                    <a:pt x="22031" y="89618"/>
                    <a:pt x="17550" y="91112"/>
                    <a:pt x="11576" y="91112"/>
                  </a:cubicBezTo>
                  <a:cubicBezTo>
                    <a:pt x="10082" y="91112"/>
                    <a:pt x="8588" y="91112"/>
                    <a:pt x="7095" y="89618"/>
                  </a:cubicBezTo>
                  <a:cubicBezTo>
                    <a:pt x="7095" y="89618"/>
                    <a:pt x="5601" y="88124"/>
                    <a:pt x="5601" y="88124"/>
                  </a:cubicBezTo>
                  <a:cubicBezTo>
                    <a:pt x="5601" y="83643"/>
                    <a:pt x="7095" y="80656"/>
                    <a:pt x="10082" y="77669"/>
                  </a:cubicBezTo>
                  <a:cubicBezTo>
                    <a:pt x="13069" y="71694"/>
                    <a:pt x="14563" y="64226"/>
                    <a:pt x="16056" y="56758"/>
                  </a:cubicBezTo>
                  <a:cubicBezTo>
                    <a:pt x="17550" y="49290"/>
                    <a:pt x="17550" y="41822"/>
                    <a:pt x="17550" y="35847"/>
                  </a:cubicBezTo>
                  <a:cubicBezTo>
                    <a:pt x="17550" y="40328"/>
                    <a:pt x="16056" y="46303"/>
                    <a:pt x="14563" y="50784"/>
                  </a:cubicBezTo>
                  <a:cubicBezTo>
                    <a:pt x="11576" y="55265"/>
                    <a:pt x="7095" y="58252"/>
                    <a:pt x="2614" y="58252"/>
                  </a:cubicBezTo>
                  <a:cubicBezTo>
                    <a:pt x="2614" y="58252"/>
                    <a:pt x="1120" y="58252"/>
                    <a:pt x="1120" y="58252"/>
                  </a:cubicBezTo>
                  <a:cubicBezTo>
                    <a:pt x="1120" y="58252"/>
                    <a:pt x="1120" y="58252"/>
                    <a:pt x="1120" y="56758"/>
                  </a:cubicBezTo>
                  <a:cubicBezTo>
                    <a:pt x="-373" y="53771"/>
                    <a:pt x="-373" y="50784"/>
                    <a:pt x="1120" y="47796"/>
                  </a:cubicBezTo>
                  <a:cubicBezTo>
                    <a:pt x="2614" y="46303"/>
                    <a:pt x="4107" y="44809"/>
                    <a:pt x="4107" y="41822"/>
                  </a:cubicBezTo>
                  <a:cubicBezTo>
                    <a:pt x="5601" y="38834"/>
                    <a:pt x="5601" y="35847"/>
                    <a:pt x="5601" y="34354"/>
                  </a:cubicBezTo>
                  <a:cubicBezTo>
                    <a:pt x="7095" y="22405"/>
                    <a:pt x="13069" y="11949"/>
                    <a:pt x="22031" y="4481"/>
                  </a:cubicBezTo>
                  <a:cubicBezTo>
                    <a:pt x="23525" y="2987"/>
                    <a:pt x="25018" y="1494"/>
                    <a:pt x="28006" y="1494"/>
                  </a:cubicBezTo>
                  <a:cubicBezTo>
                    <a:pt x="32487" y="0"/>
                    <a:pt x="38461" y="0"/>
                    <a:pt x="42942" y="0"/>
                  </a:cubicBezTo>
                  <a:cubicBezTo>
                    <a:pt x="44436" y="0"/>
                    <a:pt x="45929" y="0"/>
                    <a:pt x="45929" y="1494"/>
                  </a:cubicBezTo>
                  <a:cubicBezTo>
                    <a:pt x="47423" y="1494"/>
                    <a:pt x="47423" y="2987"/>
                    <a:pt x="47423" y="2987"/>
                  </a:cubicBezTo>
                  <a:cubicBezTo>
                    <a:pt x="51904" y="8962"/>
                    <a:pt x="54891" y="16430"/>
                    <a:pt x="56385" y="23898"/>
                  </a:cubicBezTo>
                  <a:cubicBezTo>
                    <a:pt x="57878" y="32860"/>
                    <a:pt x="56385" y="40328"/>
                    <a:pt x="56385" y="47796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9" name="任意多边形: 形状 10568"/>
            <p:cNvSpPr/>
            <p:nvPr/>
          </p:nvSpPr>
          <p:spPr>
            <a:xfrm>
              <a:off x="6696054" y="1225824"/>
              <a:ext cx="59745" cy="164300"/>
            </a:xfrm>
            <a:custGeom>
              <a:avLst/>
              <a:gdLst>
                <a:gd name="connsiteX0" fmla="*/ 2475 w 59745"/>
                <a:gd name="connsiteY0" fmla="*/ 134936 h 164299"/>
                <a:gd name="connsiteX1" fmla="*/ 981 w 59745"/>
                <a:gd name="connsiteY1" fmla="*/ 157340 h 164299"/>
                <a:gd name="connsiteX2" fmla="*/ 35335 w 59745"/>
                <a:gd name="connsiteY2" fmla="*/ 161821 h 164299"/>
                <a:gd name="connsiteX3" fmla="*/ 41309 w 59745"/>
                <a:gd name="connsiteY3" fmla="*/ 142404 h 164299"/>
                <a:gd name="connsiteX4" fmla="*/ 72676 w 59745"/>
                <a:gd name="connsiteY4" fmla="*/ 36356 h 164299"/>
                <a:gd name="connsiteX5" fmla="*/ 48777 w 59745"/>
                <a:gd name="connsiteY5" fmla="*/ 509 h 164299"/>
                <a:gd name="connsiteX6" fmla="*/ 48777 w 59745"/>
                <a:gd name="connsiteY6" fmla="*/ 509 h 164299"/>
                <a:gd name="connsiteX7" fmla="*/ 12930 w 59745"/>
                <a:gd name="connsiteY7" fmla="*/ 24407 h 164299"/>
                <a:gd name="connsiteX8" fmla="*/ 2475 w 59745"/>
                <a:gd name="connsiteY8" fmla="*/ 134936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64299">
                  <a:moveTo>
                    <a:pt x="2475" y="134936"/>
                  </a:moveTo>
                  <a:cubicBezTo>
                    <a:pt x="-513" y="145391"/>
                    <a:pt x="-513" y="152859"/>
                    <a:pt x="981" y="157340"/>
                  </a:cubicBezTo>
                  <a:cubicBezTo>
                    <a:pt x="2475" y="163315"/>
                    <a:pt x="32348" y="167796"/>
                    <a:pt x="35335" y="161821"/>
                  </a:cubicBezTo>
                  <a:cubicBezTo>
                    <a:pt x="38322" y="157340"/>
                    <a:pt x="39816" y="149872"/>
                    <a:pt x="41309" y="142404"/>
                  </a:cubicBezTo>
                  <a:lnTo>
                    <a:pt x="72676" y="36356"/>
                  </a:lnTo>
                  <a:cubicBezTo>
                    <a:pt x="75663" y="19926"/>
                    <a:pt x="65207" y="3496"/>
                    <a:pt x="48777" y="509"/>
                  </a:cubicBezTo>
                  <a:lnTo>
                    <a:pt x="48777" y="509"/>
                  </a:lnTo>
                  <a:cubicBezTo>
                    <a:pt x="32348" y="-2479"/>
                    <a:pt x="15918" y="7977"/>
                    <a:pt x="12930" y="24407"/>
                  </a:cubicBezTo>
                  <a:lnTo>
                    <a:pt x="2475" y="134936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0" name="任意多边形: 形状 10569"/>
            <p:cNvSpPr/>
            <p:nvPr/>
          </p:nvSpPr>
          <p:spPr>
            <a:xfrm>
              <a:off x="6623847" y="1082944"/>
              <a:ext cx="14936" cy="14936"/>
            </a:xfrm>
            <a:custGeom>
              <a:avLst/>
              <a:gdLst>
                <a:gd name="connsiteX0" fmla="*/ 0 w 14936"/>
                <a:gd name="connsiteY0" fmla="*/ 22405 h 14936"/>
                <a:gd name="connsiteX1" fmla="*/ 10455 w 14936"/>
                <a:gd name="connsiteY1" fmla="*/ 28379 h 14936"/>
                <a:gd name="connsiteX2" fmla="*/ 17924 w 14936"/>
                <a:gd name="connsiteY2" fmla="*/ 5975 h 14936"/>
                <a:gd name="connsiteX3" fmla="*/ 0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22405"/>
                  </a:moveTo>
                  <a:lnTo>
                    <a:pt x="10455" y="28379"/>
                  </a:lnTo>
                  <a:lnTo>
                    <a:pt x="17924" y="59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42423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1" name="任意多边形: 形状 10570"/>
            <p:cNvSpPr/>
            <p:nvPr/>
          </p:nvSpPr>
          <p:spPr>
            <a:xfrm>
              <a:off x="6608911" y="1105348"/>
              <a:ext cx="14936" cy="134427"/>
            </a:xfrm>
            <a:custGeom>
              <a:avLst/>
              <a:gdLst>
                <a:gd name="connsiteX0" fmla="*/ 23898 w 14936"/>
                <a:gd name="connsiteY0" fmla="*/ 123972 h 134427"/>
                <a:gd name="connsiteX1" fmla="*/ 25392 w 14936"/>
                <a:gd name="connsiteY1" fmla="*/ 5975 h 134427"/>
                <a:gd name="connsiteX2" fmla="*/ 14936 w 14936"/>
                <a:gd name="connsiteY2" fmla="*/ 0 h 134427"/>
                <a:gd name="connsiteX3" fmla="*/ 0 w 14936"/>
                <a:gd name="connsiteY3" fmla="*/ 112023 h 134427"/>
                <a:gd name="connsiteX4" fmla="*/ 8962 w 14936"/>
                <a:gd name="connsiteY4" fmla="*/ 134427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34427">
                  <a:moveTo>
                    <a:pt x="23898" y="123972"/>
                  </a:moveTo>
                  <a:lnTo>
                    <a:pt x="25392" y="5975"/>
                  </a:lnTo>
                  <a:lnTo>
                    <a:pt x="14936" y="0"/>
                  </a:lnTo>
                  <a:lnTo>
                    <a:pt x="0" y="112023"/>
                  </a:lnTo>
                  <a:lnTo>
                    <a:pt x="8962" y="134427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2" name="任意多边形: 形状 10571"/>
            <p:cNvSpPr/>
            <p:nvPr/>
          </p:nvSpPr>
          <p:spPr>
            <a:xfrm>
              <a:off x="6610778" y="1044110"/>
              <a:ext cx="74682" cy="74682"/>
            </a:xfrm>
            <a:custGeom>
              <a:avLst/>
              <a:gdLst>
                <a:gd name="connsiteX0" fmla="*/ 72815 w 74681"/>
                <a:gd name="connsiteY0" fmla="*/ 4481 h 74681"/>
                <a:gd name="connsiteX1" fmla="*/ 86257 w 74681"/>
                <a:gd name="connsiteY1" fmla="*/ 22405 h 74681"/>
                <a:gd name="connsiteX2" fmla="*/ 86257 w 74681"/>
                <a:gd name="connsiteY2" fmla="*/ 31366 h 74681"/>
                <a:gd name="connsiteX3" fmla="*/ 71321 w 74681"/>
                <a:gd name="connsiteY3" fmla="*/ 52277 h 74681"/>
                <a:gd name="connsiteX4" fmla="*/ 36967 w 74681"/>
                <a:gd name="connsiteY4" fmla="*/ 77669 h 74681"/>
                <a:gd name="connsiteX5" fmla="*/ 20538 w 74681"/>
                <a:gd name="connsiteY5" fmla="*/ 43315 h 74681"/>
                <a:gd name="connsiteX6" fmla="*/ 1120 w 74681"/>
                <a:gd name="connsiteY6" fmla="*/ 61239 h 74681"/>
                <a:gd name="connsiteX7" fmla="*/ 1120 w 74681"/>
                <a:gd name="connsiteY7" fmla="*/ 31366 h 74681"/>
                <a:gd name="connsiteX8" fmla="*/ 16057 w 74681"/>
                <a:gd name="connsiteY8" fmla="*/ 5975 h 74681"/>
                <a:gd name="connsiteX9" fmla="*/ 41448 w 74681"/>
                <a:gd name="connsiteY9" fmla="*/ 0 h 74681"/>
                <a:gd name="connsiteX10" fmla="*/ 72815 w 74681"/>
                <a:gd name="connsiteY10" fmla="*/ 448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681" h="74681">
                  <a:moveTo>
                    <a:pt x="72815" y="4481"/>
                  </a:moveTo>
                  <a:cubicBezTo>
                    <a:pt x="75802" y="10456"/>
                    <a:pt x="83270" y="17924"/>
                    <a:pt x="86257" y="22405"/>
                  </a:cubicBezTo>
                  <a:cubicBezTo>
                    <a:pt x="87751" y="25392"/>
                    <a:pt x="87751" y="28379"/>
                    <a:pt x="86257" y="31366"/>
                  </a:cubicBezTo>
                  <a:cubicBezTo>
                    <a:pt x="83270" y="40328"/>
                    <a:pt x="78789" y="46303"/>
                    <a:pt x="71321" y="52277"/>
                  </a:cubicBezTo>
                  <a:cubicBezTo>
                    <a:pt x="60866" y="61239"/>
                    <a:pt x="48917" y="70201"/>
                    <a:pt x="36967" y="77669"/>
                  </a:cubicBezTo>
                  <a:cubicBezTo>
                    <a:pt x="30993" y="67214"/>
                    <a:pt x="25018" y="55265"/>
                    <a:pt x="20538" y="43315"/>
                  </a:cubicBezTo>
                  <a:cubicBezTo>
                    <a:pt x="14563" y="49290"/>
                    <a:pt x="8588" y="55265"/>
                    <a:pt x="1120" y="61239"/>
                  </a:cubicBezTo>
                  <a:cubicBezTo>
                    <a:pt x="-373" y="50784"/>
                    <a:pt x="-373" y="41822"/>
                    <a:pt x="1120" y="31366"/>
                  </a:cubicBezTo>
                  <a:cubicBezTo>
                    <a:pt x="2614" y="20911"/>
                    <a:pt x="8588" y="11949"/>
                    <a:pt x="16057" y="5975"/>
                  </a:cubicBezTo>
                  <a:cubicBezTo>
                    <a:pt x="23525" y="1494"/>
                    <a:pt x="32486" y="0"/>
                    <a:pt x="41448" y="0"/>
                  </a:cubicBezTo>
                  <a:cubicBezTo>
                    <a:pt x="53397" y="1494"/>
                    <a:pt x="71321" y="2987"/>
                    <a:pt x="72815" y="4481"/>
                  </a:cubicBezTo>
                  <a:close/>
                </a:path>
              </a:pathLst>
            </a:custGeom>
            <a:solidFill>
              <a:srgbClr val="54ABD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3" name="任意多边形: 形状 10572"/>
            <p:cNvSpPr/>
            <p:nvPr/>
          </p:nvSpPr>
          <p:spPr>
            <a:xfrm>
              <a:off x="6620196" y="1040562"/>
              <a:ext cx="59745" cy="29873"/>
            </a:xfrm>
            <a:custGeom>
              <a:avLst/>
              <a:gdLst>
                <a:gd name="connsiteX0" fmla="*/ 664 w 59745"/>
                <a:gd name="connsiteY0" fmla="*/ 19977 h 29872"/>
                <a:gd name="connsiteX1" fmla="*/ 2158 w 59745"/>
                <a:gd name="connsiteY1" fmla="*/ 24458 h 29872"/>
                <a:gd name="connsiteX2" fmla="*/ 9626 w 59745"/>
                <a:gd name="connsiteY2" fmla="*/ 31926 h 29872"/>
                <a:gd name="connsiteX3" fmla="*/ 11119 w 59745"/>
                <a:gd name="connsiteY3" fmla="*/ 33420 h 29872"/>
                <a:gd name="connsiteX4" fmla="*/ 54435 w 59745"/>
                <a:gd name="connsiteY4" fmla="*/ 31926 h 29872"/>
                <a:gd name="connsiteX5" fmla="*/ 54435 w 59745"/>
                <a:gd name="connsiteY5" fmla="*/ 6535 h 29872"/>
                <a:gd name="connsiteX6" fmla="*/ 49954 w 59745"/>
                <a:gd name="connsiteY6" fmla="*/ 3547 h 29872"/>
                <a:gd name="connsiteX7" fmla="*/ 45473 w 59745"/>
                <a:gd name="connsiteY7" fmla="*/ 2054 h 29872"/>
                <a:gd name="connsiteX8" fmla="*/ 45473 w 59745"/>
                <a:gd name="connsiteY8" fmla="*/ 2054 h 29872"/>
                <a:gd name="connsiteX9" fmla="*/ 39498 w 59745"/>
                <a:gd name="connsiteY9" fmla="*/ 560 h 29872"/>
                <a:gd name="connsiteX10" fmla="*/ 9626 w 59745"/>
                <a:gd name="connsiteY10" fmla="*/ 5041 h 29872"/>
                <a:gd name="connsiteX11" fmla="*/ 664 w 59745"/>
                <a:gd name="connsiteY11" fmla="*/ 14003 h 29872"/>
                <a:gd name="connsiteX12" fmla="*/ 664 w 59745"/>
                <a:gd name="connsiteY12" fmla="*/ 19977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745" h="29872">
                  <a:moveTo>
                    <a:pt x="664" y="19977"/>
                  </a:moveTo>
                  <a:cubicBezTo>
                    <a:pt x="664" y="21471"/>
                    <a:pt x="664" y="22965"/>
                    <a:pt x="2158" y="24458"/>
                  </a:cubicBezTo>
                  <a:cubicBezTo>
                    <a:pt x="3651" y="27445"/>
                    <a:pt x="6638" y="30433"/>
                    <a:pt x="9626" y="31926"/>
                  </a:cubicBezTo>
                  <a:cubicBezTo>
                    <a:pt x="9626" y="31926"/>
                    <a:pt x="11119" y="33420"/>
                    <a:pt x="11119" y="33420"/>
                  </a:cubicBezTo>
                  <a:cubicBezTo>
                    <a:pt x="23068" y="39395"/>
                    <a:pt x="42486" y="39395"/>
                    <a:pt x="54435" y="31926"/>
                  </a:cubicBezTo>
                  <a:cubicBezTo>
                    <a:pt x="66384" y="24458"/>
                    <a:pt x="66384" y="12509"/>
                    <a:pt x="54435" y="6535"/>
                  </a:cubicBezTo>
                  <a:cubicBezTo>
                    <a:pt x="52941" y="5041"/>
                    <a:pt x="51447" y="5041"/>
                    <a:pt x="49954" y="3547"/>
                  </a:cubicBezTo>
                  <a:cubicBezTo>
                    <a:pt x="48460" y="3547"/>
                    <a:pt x="46967" y="2054"/>
                    <a:pt x="45473" y="2054"/>
                  </a:cubicBezTo>
                  <a:cubicBezTo>
                    <a:pt x="45473" y="2054"/>
                    <a:pt x="45473" y="2054"/>
                    <a:pt x="45473" y="2054"/>
                  </a:cubicBezTo>
                  <a:cubicBezTo>
                    <a:pt x="43979" y="2054"/>
                    <a:pt x="42486" y="560"/>
                    <a:pt x="39498" y="560"/>
                  </a:cubicBezTo>
                  <a:cubicBezTo>
                    <a:pt x="29043" y="-934"/>
                    <a:pt x="17094" y="560"/>
                    <a:pt x="9626" y="5041"/>
                  </a:cubicBezTo>
                  <a:cubicBezTo>
                    <a:pt x="5145" y="8028"/>
                    <a:pt x="2158" y="11016"/>
                    <a:pt x="664" y="14003"/>
                  </a:cubicBezTo>
                  <a:cubicBezTo>
                    <a:pt x="664" y="15496"/>
                    <a:pt x="-830" y="18484"/>
                    <a:pt x="664" y="1997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4" name="任意多边形: 形状 10573"/>
            <p:cNvSpPr/>
            <p:nvPr/>
          </p:nvSpPr>
          <p:spPr>
            <a:xfrm>
              <a:off x="6620860" y="976896"/>
              <a:ext cx="59745" cy="74682"/>
            </a:xfrm>
            <a:custGeom>
              <a:avLst/>
              <a:gdLst>
                <a:gd name="connsiteX0" fmla="*/ 0 w 59745"/>
                <a:gd name="connsiteY0" fmla="*/ 0 h 74681"/>
                <a:gd name="connsiteX1" fmla="*/ 64226 w 59745"/>
                <a:gd name="connsiteY1" fmla="*/ 0 h 74681"/>
                <a:gd name="connsiteX2" fmla="*/ 64226 w 59745"/>
                <a:gd name="connsiteY2" fmla="*/ 82150 h 74681"/>
                <a:gd name="connsiteX3" fmla="*/ 0 w 59745"/>
                <a:gd name="connsiteY3" fmla="*/ 8215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74681">
                  <a:moveTo>
                    <a:pt x="0" y="0"/>
                  </a:moveTo>
                  <a:lnTo>
                    <a:pt x="64226" y="0"/>
                  </a:lnTo>
                  <a:lnTo>
                    <a:pt x="64226" y="82150"/>
                  </a:lnTo>
                  <a:lnTo>
                    <a:pt x="0" y="82150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5" name="任意多边形: 形状 10574"/>
            <p:cNvSpPr/>
            <p:nvPr/>
          </p:nvSpPr>
          <p:spPr>
            <a:xfrm>
              <a:off x="6620860" y="988845"/>
              <a:ext cx="44809" cy="74682"/>
            </a:xfrm>
            <a:custGeom>
              <a:avLst/>
              <a:gdLst>
                <a:gd name="connsiteX0" fmla="*/ 5975 w 44809"/>
                <a:gd name="connsiteY0" fmla="*/ 74682 h 74681"/>
                <a:gd name="connsiteX1" fmla="*/ 0 w 44809"/>
                <a:gd name="connsiteY1" fmla="*/ 71694 h 74681"/>
                <a:gd name="connsiteX2" fmla="*/ 1494 w 44809"/>
                <a:gd name="connsiteY2" fmla="*/ 76175 h 74681"/>
                <a:gd name="connsiteX3" fmla="*/ 8962 w 44809"/>
                <a:gd name="connsiteY3" fmla="*/ 83643 h 74681"/>
                <a:gd name="connsiteX4" fmla="*/ 10456 w 44809"/>
                <a:gd name="connsiteY4" fmla="*/ 85137 h 74681"/>
                <a:gd name="connsiteX5" fmla="*/ 41822 w 44809"/>
                <a:gd name="connsiteY5" fmla="*/ 68707 h 74681"/>
                <a:gd name="connsiteX6" fmla="*/ 47796 w 44809"/>
                <a:gd name="connsiteY6" fmla="*/ 58252 h 74681"/>
                <a:gd name="connsiteX7" fmla="*/ 49290 w 44809"/>
                <a:gd name="connsiteY7" fmla="*/ 55264 h 74681"/>
                <a:gd name="connsiteX8" fmla="*/ 52277 w 44809"/>
                <a:gd name="connsiteY8" fmla="*/ 43315 h 74681"/>
                <a:gd name="connsiteX9" fmla="*/ 52277 w 44809"/>
                <a:gd name="connsiteY9" fmla="*/ 16430 h 74681"/>
                <a:gd name="connsiteX10" fmla="*/ 50784 w 44809"/>
                <a:gd name="connsiteY10" fmla="*/ 0 h 74681"/>
                <a:gd name="connsiteX11" fmla="*/ 50784 w 44809"/>
                <a:gd name="connsiteY11" fmla="*/ 5975 h 74681"/>
                <a:gd name="connsiteX12" fmla="*/ 50784 w 44809"/>
                <a:gd name="connsiteY12" fmla="*/ 32860 h 74681"/>
                <a:gd name="connsiteX13" fmla="*/ 44809 w 44809"/>
                <a:gd name="connsiteY13" fmla="*/ 52277 h 74681"/>
                <a:gd name="connsiteX14" fmla="*/ 41822 w 44809"/>
                <a:gd name="connsiteY14" fmla="*/ 56758 h 74681"/>
                <a:gd name="connsiteX15" fmla="*/ 40328 w 44809"/>
                <a:gd name="connsiteY15" fmla="*/ 58252 h 74681"/>
                <a:gd name="connsiteX16" fmla="*/ 5975 w 44809"/>
                <a:gd name="connsiteY16" fmla="*/ 74682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4809" h="74681">
                  <a:moveTo>
                    <a:pt x="5975" y="74682"/>
                  </a:moveTo>
                  <a:cubicBezTo>
                    <a:pt x="5975" y="74682"/>
                    <a:pt x="1494" y="73188"/>
                    <a:pt x="0" y="71694"/>
                  </a:cubicBezTo>
                  <a:cubicBezTo>
                    <a:pt x="0" y="73188"/>
                    <a:pt x="0" y="74682"/>
                    <a:pt x="1494" y="76175"/>
                  </a:cubicBezTo>
                  <a:cubicBezTo>
                    <a:pt x="2987" y="79163"/>
                    <a:pt x="5975" y="82150"/>
                    <a:pt x="8962" y="83643"/>
                  </a:cubicBezTo>
                  <a:cubicBezTo>
                    <a:pt x="8962" y="83643"/>
                    <a:pt x="10456" y="85137"/>
                    <a:pt x="10456" y="85137"/>
                  </a:cubicBezTo>
                  <a:cubicBezTo>
                    <a:pt x="22405" y="85137"/>
                    <a:pt x="34354" y="79163"/>
                    <a:pt x="41822" y="68707"/>
                  </a:cubicBezTo>
                  <a:cubicBezTo>
                    <a:pt x="44809" y="65720"/>
                    <a:pt x="46303" y="61239"/>
                    <a:pt x="47796" y="58252"/>
                  </a:cubicBezTo>
                  <a:cubicBezTo>
                    <a:pt x="47796" y="56758"/>
                    <a:pt x="47796" y="56758"/>
                    <a:pt x="49290" y="55264"/>
                  </a:cubicBezTo>
                  <a:cubicBezTo>
                    <a:pt x="50784" y="50784"/>
                    <a:pt x="50784" y="47796"/>
                    <a:pt x="52277" y="43315"/>
                  </a:cubicBezTo>
                  <a:cubicBezTo>
                    <a:pt x="53771" y="34354"/>
                    <a:pt x="52277" y="25392"/>
                    <a:pt x="52277" y="16430"/>
                  </a:cubicBezTo>
                  <a:cubicBezTo>
                    <a:pt x="52277" y="11949"/>
                    <a:pt x="52277" y="5975"/>
                    <a:pt x="50784" y="0"/>
                  </a:cubicBezTo>
                  <a:cubicBezTo>
                    <a:pt x="50784" y="2987"/>
                    <a:pt x="50784" y="4481"/>
                    <a:pt x="50784" y="5975"/>
                  </a:cubicBezTo>
                  <a:cubicBezTo>
                    <a:pt x="50784" y="14936"/>
                    <a:pt x="52277" y="23898"/>
                    <a:pt x="50784" y="32860"/>
                  </a:cubicBezTo>
                  <a:cubicBezTo>
                    <a:pt x="49290" y="40328"/>
                    <a:pt x="47796" y="46303"/>
                    <a:pt x="44809" y="52277"/>
                  </a:cubicBezTo>
                  <a:cubicBezTo>
                    <a:pt x="44809" y="53771"/>
                    <a:pt x="43316" y="55264"/>
                    <a:pt x="41822" y="56758"/>
                  </a:cubicBezTo>
                  <a:cubicBezTo>
                    <a:pt x="41822" y="56758"/>
                    <a:pt x="40328" y="58252"/>
                    <a:pt x="40328" y="58252"/>
                  </a:cubicBezTo>
                  <a:cubicBezTo>
                    <a:pt x="32860" y="70201"/>
                    <a:pt x="19417" y="76175"/>
                    <a:pt x="5975" y="74682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6" name="任意多边形: 形状 10575"/>
            <p:cNvSpPr/>
            <p:nvPr/>
          </p:nvSpPr>
          <p:spPr>
            <a:xfrm>
              <a:off x="6592481" y="937927"/>
              <a:ext cx="74682" cy="119491"/>
            </a:xfrm>
            <a:custGeom>
              <a:avLst/>
              <a:gdLst>
                <a:gd name="connsiteX0" fmla="*/ 79163 w 74681"/>
                <a:gd name="connsiteY0" fmla="*/ 55399 h 119490"/>
                <a:gd name="connsiteX1" fmla="*/ 80656 w 74681"/>
                <a:gd name="connsiteY1" fmla="*/ 82285 h 119490"/>
                <a:gd name="connsiteX2" fmla="*/ 73188 w 74681"/>
                <a:gd name="connsiteY2" fmla="*/ 107676 h 119490"/>
                <a:gd name="connsiteX3" fmla="*/ 38835 w 74681"/>
                <a:gd name="connsiteY3" fmla="*/ 125600 h 119490"/>
                <a:gd name="connsiteX4" fmla="*/ 29873 w 74681"/>
                <a:gd name="connsiteY4" fmla="*/ 124106 h 119490"/>
                <a:gd name="connsiteX5" fmla="*/ 17924 w 74681"/>
                <a:gd name="connsiteY5" fmla="*/ 110664 h 119490"/>
                <a:gd name="connsiteX6" fmla="*/ 0 w 74681"/>
                <a:gd name="connsiteY6" fmla="*/ 35982 h 119490"/>
                <a:gd name="connsiteX7" fmla="*/ 0 w 74681"/>
                <a:gd name="connsiteY7" fmla="*/ 24033 h 119490"/>
                <a:gd name="connsiteX8" fmla="*/ 22405 w 74681"/>
                <a:gd name="connsiteY8" fmla="*/ 1628 h 119490"/>
                <a:gd name="connsiteX9" fmla="*/ 55264 w 74681"/>
                <a:gd name="connsiteY9" fmla="*/ 3122 h 119490"/>
                <a:gd name="connsiteX10" fmla="*/ 64226 w 74681"/>
                <a:gd name="connsiteY10" fmla="*/ 6109 h 119490"/>
                <a:gd name="connsiteX11" fmla="*/ 70201 w 74681"/>
                <a:gd name="connsiteY11" fmla="*/ 12084 h 119490"/>
                <a:gd name="connsiteX12" fmla="*/ 79163 w 74681"/>
                <a:gd name="connsiteY12" fmla="*/ 55399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79163" y="55399"/>
                  </a:moveTo>
                  <a:cubicBezTo>
                    <a:pt x="80656" y="64361"/>
                    <a:pt x="80656" y="73323"/>
                    <a:pt x="80656" y="82285"/>
                  </a:cubicBezTo>
                  <a:cubicBezTo>
                    <a:pt x="80656" y="91246"/>
                    <a:pt x="77669" y="100208"/>
                    <a:pt x="73188" y="107676"/>
                  </a:cubicBezTo>
                  <a:cubicBezTo>
                    <a:pt x="65720" y="119625"/>
                    <a:pt x="52277" y="125600"/>
                    <a:pt x="38835" y="125600"/>
                  </a:cubicBezTo>
                  <a:cubicBezTo>
                    <a:pt x="35847" y="125600"/>
                    <a:pt x="32860" y="125600"/>
                    <a:pt x="29873" y="124106"/>
                  </a:cubicBezTo>
                  <a:cubicBezTo>
                    <a:pt x="23898" y="121119"/>
                    <a:pt x="20911" y="115144"/>
                    <a:pt x="17924" y="110664"/>
                  </a:cubicBezTo>
                  <a:cubicBezTo>
                    <a:pt x="7468" y="86765"/>
                    <a:pt x="1494" y="61374"/>
                    <a:pt x="0" y="35982"/>
                  </a:cubicBezTo>
                  <a:cubicBezTo>
                    <a:pt x="0" y="31501"/>
                    <a:pt x="0" y="28514"/>
                    <a:pt x="0" y="24033"/>
                  </a:cubicBezTo>
                  <a:cubicBezTo>
                    <a:pt x="1494" y="13577"/>
                    <a:pt x="11949" y="4616"/>
                    <a:pt x="22405" y="1628"/>
                  </a:cubicBezTo>
                  <a:cubicBezTo>
                    <a:pt x="32860" y="-1359"/>
                    <a:pt x="44809" y="135"/>
                    <a:pt x="55264" y="3122"/>
                  </a:cubicBezTo>
                  <a:cubicBezTo>
                    <a:pt x="58252" y="4616"/>
                    <a:pt x="61239" y="4616"/>
                    <a:pt x="64226" y="6109"/>
                  </a:cubicBezTo>
                  <a:cubicBezTo>
                    <a:pt x="67214" y="7603"/>
                    <a:pt x="68707" y="10590"/>
                    <a:pt x="70201" y="12084"/>
                  </a:cubicBezTo>
                  <a:cubicBezTo>
                    <a:pt x="71694" y="13577"/>
                    <a:pt x="77669" y="41956"/>
                    <a:pt x="79163" y="5539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7" name="任意多边形: 形状 10576"/>
            <p:cNvSpPr/>
            <p:nvPr/>
          </p:nvSpPr>
          <p:spPr>
            <a:xfrm>
              <a:off x="6630073" y="922138"/>
              <a:ext cx="59745" cy="104554"/>
            </a:xfrm>
            <a:custGeom>
              <a:avLst/>
              <a:gdLst>
                <a:gd name="connsiteX0" fmla="*/ 56506 w 59745"/>
                <a:gd name="connsiteY0" fmla="*/ 102554 h 104554"/>
                <a:gd name="connsiteX1" fmla="*/ 46051 w 59745"/>
                <a:gd name="connsiteY1" fmla="*/ 113009 h 104554"/>
                <a:gd name="connsiteX2" fmla="*/ 43064 w 59745"/>
                <a:gd name="connsiteY2" fmla="*/ 107035 h 104554"/>
                <a:gd name="connsiteX3" fmla="*/ 40076 w 59745"/>
                <a:gd name="connsiteY3" fmla="*/ 62226 h 104554"/>
                <a:gd name="connsiteX4" fmla="*/ 28127 w 59745"/>
                <a:gd name="connsiteY4" fmla="*/ 72681 h 104554"/>
                <a:gd name="connsiteX5" fmla="*/ 28127 w 59745"/>
                <a:gd name="connsiteY5" fmla="*/ 38328 h 104554"/>
                <a:gd name="connsiteX6" fmla="*/ 4229 w 59745"/>
                <a:gd name="connsiteY6" fmla="*/ 26379 h 104554"/>
                <a:gd name="connsiteX7" fmla="*/ 59494 w 59745"/>
                <a:gd name="connsiteY7" fmla="*/ 18910 h 104554"/>
                <a:gd name="connsiteX8" fmla="*/ 56506 w 59745"/>
                <a:gd name="connsiteY8" fmla="*/ 102554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04554">
                  <a:moveTo>
                    <a:pt x="56506" y="102554"/>
                  </a:moveTo>
                  <a:cubicBezTo>
                    <a:pt x="53519" y="108528"/>
                    <a:pt x="47545" y="113009"/>
                    <a:pt x="46051" y="113009"/>
                  </a:cubicBezTo>
                  <a:cubicBezTo>
                    <a:pt x="44557" y="111516"/>
                    <a:pt x="43064" y="110022"/>
                    <a:pt x="43064" y="107035"/>
                  </a:cubicBezTo>
                  <a:cubicBezTo>
                    <a:pt x="40076" y="92098"/>
                    <a:pt x="38583" y="77162"/>
                    <a:pt x="40076" y="62226"/>
                  </a:cubicBezTo>
                  <a:cubicBezTo>
                    <a:pt x="38583" y="63719"/>
                    <a:pt x="28127" y="72681"/>
                    <a:pt x="28127" y="72681"/>
                  </a:cubicBezTo>
                  <a:cubicBezTo>
                    <a:pt x="26634" y="71188"/>
                    <a:pt x="28127" y="53264"/>
                    <a:pt x="28127" y="38328"/>
                  </a:cubicBezTo>
                  <a:cubicBezTo>
                    <a:pt x="28127" y="38328"/>
                    <a:pt x="25140" y="47289"/>
                    <a:pt x="4229" y="26379"/>
                  </a:cubicBezTo>
                  <a:cubicBezTo>
                    <a:pt x="-16682" y="5468"/>
                    <a:pt x="46051" y="-16937"/>
                    <a:pt x="59494" y="18910"/>
                  </a:cubicBezTo>
                  <a:cubicBezTo>
                    <a:pt x="66962" y="29366"/>
                    <a:pt x="68456" y="78656"/>
                    <a:pt x="56506" y="102554"/>
                  </a:cubicBez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8" name="任意多边形: 形状 10577"/>
            <p:cNvSpPr/>
            <p:nvPr/>
          </p:nvSpPr>
          <p:spPr>
            <a:xfrm>
              <a:off x="6664175" y="978390"/>
              <a:ext cx="14936" cy="29873"/>
            </a:xfrm>
            <a:custGeom>
              <a:avLst/>
              <a:gdLst>
                <a:gd name="connsiteX0" fmla="*/ 8962 w 14936"/>
                <a:gd name="connsiteY0" fmla="*/ 0 h 29872"/>
                <a:gd name="connsiteX1" fmla="*/ 1493 w 14936"/>
                <a:gd name="connsiteY1" fmla="*/ 5975 h 29872"/>
                <a:gd name="connsiteX2" fmla="*/ 0 w 14936"/>
                <a:gd name="connsiteY2" fmla="*/ 17924 h 29872"/>
                <a:gd name="connsiteX3" fmla="*/ 2987 w 14936"/>
                <a:gd name="connsiteY3" fmla="*/ 32860 h 29872"/>
                <a:gd name="connsiteX4" fmla="*/ 5974 w 14936"/>
                <a:gd name="connsiteY4" fmla="*/ 35847 h 29872"/>
                <a:gd name="connsiteX5" fmla="*/ 11949 w 14936"/>
                <a:gd name="connsiteY5" fmla="*/ 34354 h 29872"/>
                <a:gd name="connsiteX6" fmla="*/ 14936 w 14936"/>
                <a:gd name="connsiteY6" fmla="*/ 28379 h 29872"/>
                <a:gd name="connsiteX7" fmla="*/ 16430 w 14936"/>
                <a:gd name="connsiteY7" fmla="*/ 10455 h 29872"/>
                <a:gd name="connsiteX8" fmla="*/ 14936 w 14936"/>
                <a:gd name="connsiteY8" fmla="*/ 2987 h 29872"/>
                <a:gd name="connsiteX9" fmla="*/ 8962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8962" y="0"/>
                  </a:moveTo>
                  <a:cubicBezTo>
                    <a:pt x="5974" y="0"/>
                    <a:pt x="2987" y="2987"/>
                    <a:pt x="1493" y="5975"/>
                  </a:cubicBezTo>
                  <a:cubicBezTo>
                    <a:pt x="0" y="10455"/>
                    <a:pt x="0" y="13443"/>
                    <a:pt x="0" y="17924"/>
                  </a:cubicBezTo>
                  <a:cubicBezTo>
                    <a:pt x="0" y="22405"/>
                    <a:pt x="0" y="28379"/>
                    <a:pt x="2987" y="32860"/>
                  </a:cubicBezTo>
                  <a:cubicBezTo>
                    <a:pt x="2987" y="34354"/>
                    <a:pt x="4481" y="35847"/>
                    <a:pt x="5974" y="35847"/>
                  </a:cubicBezTo>
                  <a:cubicBezTo>
                    <a:pt x="7468" y="35847"/>
                    <a:pt x="10455" y="35847"/>
                    <a:pt x="11949" y="34354"/>
                  </a:cubicBezTo>
                  <a:cubicBezTo>
                    <a:pt x="13443" y="32860"/>
                    <a:pt x="13443" y="29873"/>
                    <a:pt x="14936" y="28379"/>
                  </a:cubicBezTo>
                  <a:cubicBezTo>
                    <a:pt x="16430" y="22405"/>
                    <a:pt x="16430" y="16430"/>
                    <a:pt x="16430" y="10455"/>
                  </a:cubicBezTo>
                  <a:cubicBezTo>
                    <a:pt x="16430" y="7468"/>
                    <a:pt x="16430" y="5975"/>
                    <a:pt x="14936" y="2987"/>
                  </a:cubicBezTo>
                  <a:cubicBezTo>
                    <a:pt x="13443" y="1494"/>
                    <a:pt x="11949" y="0"/>
                    <a:pt x="8962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9" name="任意多边形: 形状 10578"/>
            <p:cNvSpPr/>
            <p:nvPr/>
          </p:nvSpPr>
          <p:spPr>
            <a:xfrm>
              <a:off x="6586664" y="918756"/>
              <a:ext cx="74682" cy="59745"/>
            </a:xfrm>
            <a:custGeom>
              <a:avLst/>
              <a:gdLst>
                <a:gd name="connsiteX0" fmla="*/ 16272 w 74681"/>
                <a:gd name="connsiteY0" fmla="*/ 58140 h 59745"/>
                <a:gd name="connsiteX1" fmla="*/ 32702 w 74681"/>
                <a:gd name="connsiteY1" fmla="*/ 62620 h 59745"/>
                <a:gd name="connsiteX2" fmla="*/ 67056 w 74681"/>
                <a:gd name="connsiteY2" fmla="*/ 64114 h 59745"/>
                <a:gd name="connsiteX3" fmla="*/ 71537 w 74681"/>
                <a:gd name="connsiteY3" fmla="*/ 40216 h 59745"/>
                <a:gd name="connsiteX4" fmla="*/ 79005 w 74681"/>
                <a:gd name="connsiteY4" fmla="*/ 29761 h 59745"/>
                <a:gd name="connsiteX5" fmla="*/ 87967 w 74681"/>
                <a:gd name="connsiteY5" fmla="*/ 22292 h 59745"/>
                <a:gd name="connsiteX6" fmla="*/ 86473 w 74681"/>
                <a:gd name="connsiteY6" fmla="*/ 11837 h 59745"/>
                <a:gd name="connsiteX7" fmla="*/ 17766 w 74681"/>
                <a:gd name="connsiteY7" fmla="*/ 7356 h 59745"/>
                <a:gd name="connsiteX8" fmla="*/ 1336 w 74681"/>
                <a:gd name="connsiteY8" fmla="*/ 34241 h 59745"/>
                <a:gd name="connsiteX9" fmla="*/ 4323 w 74681"/>
                <a:gd name="connsiteY9" fmla="*/ 53659 h 59745"/>
                <a:gd name="connsiteX10" fmla="*/ 16272 w 74681"/>
                <a:gd name="connsiteY10" fmla="*/ 58140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681" h="59745">
                  <a:moveTo>
                    <a:pt x="16272" y="58140"/>
                  </a:moveTo>
                  <a:cubicBezTo>
                    <a:pt x="22247" y="59633"/>
                    <a:pt x="28221" y="61127"/>
                    <a:pt x="32702" y="62620"/>
                  </a:cubicBezTo>
                  <a:cubicBezTo>
                    <a:pt x="44651" y="65608"/>
                    <a:pt x="56600" y="68595"/>
                    <a:pt x="67056" y="64114"/>
                  </a:cubicBezTo>
                  <a:cubicBezTo>
                    <a:pt x="70043" y="62620"/>
                    <a:pt x="71537" y="46190"/>
                    <a:pt x="71537" y="40216"/>
                  </a:cubicBezTo>
                  <a:cubicBezTo>
                    <a:pt x="71537" y="35735"/>
                    <a:pt x="74524" y="32748"/>
                    <a:pt x="79005" y="29761"/>
                  </a:cubicBezTo>
                  <a:cubicBezTo>
                    <a:pt x="81992" y="28267"/>
                    <a:pt x="87967" y="26773"/>
                    <a:pt x="87967" y="22292"/>
                  </a:cubicBezTo>
                  <a:cubicBezTo>
                    <a:pt x="89460" y="19305"/>
                    <a:pt x="87967" y="14824"/>
                    <a:pt x="86473" y="11837"/>
                  </a:cubicBezTo>
                  <a:cubicBezTo>
                    <a:pt x="79005" y="-3099"/>
                    <a:pt x="31209" y="-3099"/>
                    <a:pt x="17766" y="7356"/>
                  </a:cubicBezTo>
                  <a:cubicBezTo>
                    <a:pt x="8804" y="14824"/>
                    <a:pt x="4323" y="23786"/>
                    <a:pt x="1336" y="34241"/>
                  </a:cubicBezTo>
                  <a:cubicBezTo>
                    <a:pt x="-158" y="40216"/>
                    <a:pt x="-1651" y="49178"/>
                    <a:pt x="4323" y="53659"/>
                  </a:cubicBezTo>
                  <a:cubicBezTo>
                    <a:pt x="10298" y="56646"/>
                    <a:pt x="13285" y="58140"/>
                    <a:pt x="16272" y="5814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0" name="任意多边形: 形状 10579"/>
            <p:cNvSpPr/>
            <p:nvPr/>
          </p:nvSpPr>
          <p:spPr>
            <a:xfrm>
              <a:off x="6602901" y="1018583"/>
              <a:ext cx="29873" cy="44809"/>
            </a:xfrm>
            <a:custGeom>
              <a:avLst/>
              <a:gdLst>
                <a:gd name="connsiteX0" fmla="*/ 23934 w 29872"/>
                <a:gd name="connsiteY0" fmla="*/ 49425 h 44809"/>
                <a:gd name="connsiteX1" fmla="*/ 14972 w 29872"/>
                <a:gd name="connsiteY1" fmla="*/ 47931 h 44809"/>
                <a:gd name="connsiteX2" fmla="*/ 35 w 29872"/>
                <a:gd name="connsiteY2" fmla="*/ 15071 h 44809"/>
                <a:gd name="connsiteX3" fmla="*/ 4516 w 29872"/>
                <a:gd name="connsiteY3" fmla="*/ 1628 h 44809"/>
                <a:gd name="connsiteX4" fmla="*/ 20946 w 29872"/>
                <a:gd name="connsiteY4" fmla="*/ 3122 h 44809"/>
                <a:gd name="connsiteX5" fmla="*/ 43351 w 29872"/>
                <a:gd name="connsiteY5" fmla="*/ 35982 h 44809"/>
                <a:gd name="connsiteX6" fmla="*/ 23934 w 29872"/>
                <a:gd name="connsiteY6" fmla="*/ 49425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72" h="44809">
                  <a:moveTo>
                    <a:pt x="23934" y="49425"/>
                  </a:moveTo>
                  <a:cubicBezTo>
                    <a:pt x="20946" y="49425"/>
                    <a:pt x="17959" y="49425"/>
                    <a:pt x="14972" y="47931"/>
                  </a:cubicBezTo>
                  <a:cubicBezTo>
                    <a:pt x="-1458" y="38969"/>
                    <a:pt x="35" y="22539"/>
                    <a:pt x="35" y="15071"/>
                  </a:cubicBezTo>
                  <a:cubicBezTo>
                    <a:pt x="35" y="12084"/>
                    <a:pt x="35" y="6109"/>
                    <a:pt x="4516" y="1628"/>
                  </a:cubicBezTo>
                  <a:cubicBezTo>
                    <a:pt x="7504" y="-1359"/>
                    <a:pt x="14972" y="135"/>
                    <a:pt x="20946" y="3122"/>
                  </a:cubicBezTo>
                  <a:cubicBezTo>
                    <a:pt x="28415" y="6109"/>
                    <a:pt x="44844" y="12084"/>
                    <a:pt x="43351" y="35982"/>
                  </a:cubicBezTo>
                  <a:cubicBezTo>
                    <a:pt x="41857" y="46437"/>
                    <a:pt x="26921" y="49425"/>
                    <a:pt x="23934" y="49425"/>
                  </a:cubicBez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1" name="任意多边形: 形状 10580"/>
            <p:cNvSpPr/>
            <p:nvPr/>
          </p:nvSpPr>
          <p:spPr>
            <a:xfrm>
              <a:off x="6608704" y="1028890"/>
              <a:ext cx="14936" cy="14936"/>
            </a:xfrm>
            <a:custGeom>
              <a:avLst/>
              <a:gdLst>
                <a:gd name="connsiteX0" fmla="*/ 10662 w 14936"/>
                <a:gd name="connsiteY0" fmla="*/ 10738 h 14936"/>
                <a:gd name="connsiteX1" fmla="*/ 9169 w 14936"/>
                <a:gd name="connsiteY1" fmla="*/ 10738 h 14936"/>
                <a:gd name="connsiteX2" fmla="*/ 4688 w 14936"/>
                <a:gd name="connsiteY2" fmla="*/ 15219 h 14936"/>
                <a:gd name="connsiteX3" fmla="*/ 3194 w 14936"/>
                <a:gd name="connsiteY3" fmla="*/ 283 h 14936"/>
                <a:gd name="connsiteX4" fmla="*/ 24105 w 14936"/>
                <a:gd name="connsiteY4" fmla="*/ 12232 h 14936"/>
                <a:gd name="connsiteX5" fmla="*/ 22611 w 14936"/>
                <a:gd name="connsiteY5" fmla="*/ 18207 h 14936"/>
                <a:gd name="connsiteX6" fmla="*/ 12156 w 14936"/>
                <a:gd name="connsiteY6" fmla="*/ 12232 h 14936"/>
                <a:gd name="connsiteX7" fmla="*/ 10662 w 14936"/>
                <a:gd name="connsiteY7" fmla="*/ 10738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36" h="14936">
                  <a:moveTo>
                    <a:pt x="10662" y="10738"/>
                  </a:moveTo>
                  <a:cubicBezTo>
                    <a:pt x="10662" y="10738"/>
                    <a:pt x="9169" y="10738"/>
                    <a:pt x="9169" y="10738"/>
                  </a:cubicBezTo>
                  <a:cubicBezTo>
                    <a:pt x="9169" y="10738"/>
                    <a:pt x="9169" y="16713"/>
                    <a:pt x="4688" y="15219"/>
                  </a:cubicBezTo>
                  <a:cubicBezTo>
                    <a:pt x="-1287" y="13726"/>
                    <a:pt x="-1287" y="1777"/>
                    <a:pt x="3194" y="283"/>
                  </a:cubicBezTo>
                  <a:cubicBezTo>
                    <a:pt x="7675" y="-1211"/>
                    <a:pt x="22611" y="3270"/>
                    <a:pt x="24105" y="12232"/>
                  </a:cubicBezTo>
                  <a:cubicBezTo>
                    <a:pt x="24105" y="13726"/>
                    <a:pt x="24105" y="16713"/>
                    <a:pt x="22611" y="18207"/>
                  </a:cubicBezTo>
                  <a:cubicBezTo>
                    <a:pt x="18130" y="24181"/>
                    <a:pt x="10662" y="18207"/>
                    <a:pt x="12156" y="12232"/>
                  </a:cubicBezTo>
                  <a:cubicBezTo>
                    <a:pt x="13649" y="10738"/>
                    <a:pt x="12156" y="10738"/>
                    <a:pt x="10662" y="10738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2" name="任意多边形: 形状 10581"/>
            <p:cNvSpPr/>
            <p:nvPr/>
          </p:nvSpPr>
          <p:spPr>
            <a:xfrm>
              <a:off x="6698403" y="1108210"/>
              <a:ext cx="59745" cy="164300"/>
            </a:xfrm>
            <a:custGeom>
              <a:avLst/>
              <a:gdLst>
                <a:gd name="connsiteX0" fmla="*/ 10581 w 59745"/>
                <a:gd name="connsiteY0" fmla="*/ 149489 h 164299"/>
                <a:gd name="connsiteX1" fmla="*/ 43441 w 59745"/>
                <a:gd name="connsiteY1" fmla="*/ 176375 h 164299"/>
                <a:gd name="connsiteX2" fmla="*/ 43441 w 59745"/>
                <a:gd name="connsiteY2" fmla="*/ 176375 h 164299"/>
                <a:gd name="connsiteX3" fmla="*/ 70327 w 59745"/>
                <a:gd name="connsiteY3" fmla="*/ 143515 h 164299"/>
                <a:gd name="connsiteX4" fmla="*/ 59871 w 59745"/>
                <a:gd name="connsiteY4" fmla="*/ 27011 h 164299"/>
                <a:gd name="connsiteX5" fmla="*/ 27011 w 59745"/>
                <a:gd name="connsiteY5" fmla="*/ 126 h 164299"/>
                <a:gd name="connsiteX6" fmla="*/ 27011 w 59745"/>
                <a:gd name="connsiteY6" fmla="*/ 126 h 164299"/>
                <a:gd name="connsiteX7" fmla="*/ 126 w 59745"/>
                <a:gd name="connsiteY7" fmla="*/ 32986 h 164299"/>
                <a:gd name="connsiteX8" fmla="*/ 10581 w 59745"/>
                <a:gd name="connsiteY8" fmla="*/ 149489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64299">
                  <a:moveTo>
                    <a:pt x="10581" y="149489"/>
                  </a:moveTo>
                  <a:cubicBezTo>
                    <a:pt x="12075" y="165919"/>
                    <a:pt x="27011" y="177869"/>
                    <a:pt x="43441" y="176375"/>
                  </a:cubicBezTo>
                  <a:lnTo>
                    <a:pt x="43441" y="176375"/>
                  </a:lnTo>
                  <a:cubicBezTo>
                    <a:pt x="59871" y="174881"/>
                    <a:pt x="71820" y="159945"/>
                    <a:pt x="70327" y="143515"/>
                  </a:cubicBezTo>
                  <a:lnTo>
                    <a:pt x="59871" y="27011"/>
                  </a:lnTo>
                  <a:cubicBezTo>
                    <a:pt x="58378" y="10581"/>
                    <a:pt x="43441" y="-1368"/>
                    <a:pt x="27011" y="126"/>
                  </a:cubicBezTo>
                  <a:lnTo>
                    <a:pt x="27011" y="126"/>
                  </a:lnTo>
                  <a:cubicBezTo>
                    <a:pt x="10581" y="1620"/>
                    <a:pt x="-1368" y="16556"/>
                    <a:pt x="126" y="32986"/>
                  </a:cubicBezTo>
                  <a:lnTo>
                    <a:pt x="10581" y="149489"/>
                  </a:lnTo>
                  <a:close/>
                </a:path>
              </a:pathLst>
            </a:custGeom>
            <a:solidFill>
              <a:srgbClr val="66D1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3" name="任意多边形: 形状 10582"/>
            <p:cNvSpPr/>
            <p:nvPr/>
          </p:nvSpPr>
          <p:spPr>
            <a:xfrm>
              <a:off x="6704264" y="1245493"/>
              <a:ext cx="59745" cy="29873"/>
            </a:xfrm>
            <a:custGeom>
              <a:avLst/>
              <a:gdLst>
                <a:gd name="connsiteX0" fmla="*/ 239 w 59745"/>
                <a:gd name="connsiteY0" fmla="*/ 25649 h 29872"/>
                <a:gd name="connsiteX1" fmla="*/ 3226 w 59745"/>
                <a:gd name="connsiteY1" fmla="*/ 258 h 29872"/>
                <a:gd name="connsiteX2" fmla="*/ 45048 w 59745"/>
                <a:gd name="connsiteY2" fmla="*/ 12207 h 29872"/>
                <a:gd name="connsiteX3" fmla="*/ 64465 w 59745"/>
                <a:gd name="connsiteY3" fmla="*/ 258 h 29872"/>
                <a:gd name="connsiteX4" fmla="*/ 67453 w 59745"/>
                <a:gd name="connsiteY4" fmla="*/ 10713 h 29872"/>
                <a:gd name="connsiteX5" fmla="*/ 59984 w 59745"/>
                <a:gd name="connsiteY5" fmla="*/ 37598 h 29872"/>
                <a:gd name="connsiteX6" fmla="*/ 39074 w 59745"/>
                <a:gd name="connsiteY6" fmla="*/ 42079 h 29872"/>
                <a:gd name="connsiteX7" fmla="*/ 239 w 59745"/>
                <a:gd name="connsiteY7" fmla="*/ 25649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45" h="29872">
                  <a:moveTo>
                    <a:pt x="239" y="25649"/>
                  </a:moveTo>
                  <a:cubicBezTo>
                    <a:pt x="239" y="21168"/>
                    <a:pt x="-1255" y="-2730"/>
                    <a:pt x="3226" y="258"/>
                  </a:cubicBezTo>
                  <a:cubicBezTo>
                    <a:pt x="12188" y="13700"/>
                    <a:pt x="31605" y="15194"/>
                    <a:pt x="45048" y="12207"/>
                  </a:cubicBezTo>
                  <a:cubicBezTo>
                    <a:pt x="52516" y="10713"/>
                    <a:pt x="59984" y="6232"/>
                    <a:pt x="64465" y="258"/>
                  </a:cubicBezTo>
                  <a:cubicBezTo>
                    <a:pt x="68946" y="1751"/>
                    <a:pt x="67453" y="7726"/>
                    <a:pt x="67453" y="10713"/>
                  </a:cubicBezTo>
                  <a:cubicBezTo>
                    <a:pt x="64465" y="30130"/>
                    <a:pt x="67453" y="33118"/>
                    <a:pt x="59984" y="37598"/>
                  </a:cubicBezTo>
                  <a:cubicBezTo>
                    <a:pt x="52516" y="42079"/>
                    <a:pt x="46542" y="42079"/>
                    <a:pt x="39074" y="42079"/>
                  </a:cubicBezTo>
                  <a:cubicBezTo>
                    <a:pt x="27124" y="43573"/>
                    <a:pt x="-1255" y="37598"/>
                    <a:pt x="239" y="25649"/>
                  </a:cubicBezTo>
                  <a:close/>
                </a:path>
              </a:pathLst>
            </a:custGeom>
            <a:solidFill>
              <a:srgbClr val="54ABD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4" name="任意多边形: 形状 10583"/>
            <p:cNvSpPr/>
            <p:nvPr/>
          </p:nvSpPr>
          <p:spPr>
            <a:xfrm>
              <a:off x="7249680" y="1033654"/>
              <a:ext cx="89618" cy="74682"/>
            </a:xfrm>
            <a:custGeom>
              <a:avLst/>
              <a:gdLst>
                <a:gd name="connsiteX0" fmla="*/ 0 w 89618"/>
                <a:gd name="connsiteY0" fmla="*/ 67214 h 74681"/>
                <a:gd name="connsiteX1" fmla="*/ 0 w 89618"/>
                <a:gd name="connsiteY1" fmla="*/ 68707 h 74681"/>
                <a:gd name="connsiteX2" fmla="*/ 0 w 89618"/>
                <a:gd name="connsiteY2" fmla="*/ 68707 h 74681"/>
                <a:gd name="connsiteX3" fmla="*/ 5974 w 89618"/>
                <a:gd name="connsiteY3" fmla="*/ 77669 h 74681"/>
                <a:gd name="connsiteX4" fmla="*/ 38835 w 89618"/>
                <a:gd name="connsiteY4" fmla="*/ 79163 h 74681"/>
                <a:gd name="connsiteX5" fmla="*/ 91112 w 89618"/>
                <a:gd name="connsiteY5" fmla="*/ 52277 h 74681"/>
                <a:gd name="connsiteX6" fmla="*/ 98580 w 89618"/>
                <a:gd name="connsiteY6" fmla="*/ 41822 h 74681"/>
                <a:gd name="connsiteX7" fmla="*/ 98580 w 89618"/>
                <a:gd name="connsiteY7" fmla="*/ 41822 h 74681"/>
                <a:gd name="connsiteX8" fmla="*/ 97086 w 89618"/>
                <a:gd name="connsiteY8" fmla="*/ 31366 h 74681"/>
                <a:gd name="connsiteX9" fmla="*/ 91112 w 89618"/>
                <a:gd name="connsiteY9" fmla="*/ 14936 h 74681"/>
                <a:gd name="connsiteX10" fmla="*/ 91112 w 89618"/>
                <a:gd name="connsiteY10" fmla="*/ 14936 h 74681"/>
                <a:gd name="connsiteX11" fmla="*/ 86631 w 89618"/>
                <a:gd name="connsiteY11" fmla="*/ 7468 h 74681"/>
                <a:gd name="connsiteX12" fmla="*/ 86631 w 89618"/>
                <a:gd name="connsiteY12" fmla="*/ 7468 h 74681"/>
                <a:gd name="connsiteX13" fmla="*/ 82150 w 89618"/>
                <a:gd name="connsiteY13" fmla="*/ 0 h 74681"/>
                <a:gd name="connsiteX14" fmla="*/ 44809 w 89618"/>
                <a:gd name="connsiteY14" fmla="*/ 1494 h 74681"/>
                <a:gd name="connsiteX15" fmla="*/ 40328 w 89618"/>
                <a:gd name="connsiteY15" fmla="*/ 10455 h 74681"/>
                <a:gd name="connsiteX16" fmla="*/ 40328 w 89618"/>
                <a:gd name="connsiteY16" fmla="*/ 10455 h 74681"/>
                <a:gd name="connsiteX17" fmla="*/ 38835 w 89618"/>
                <a:gd name="connsiteY17" fmla="*/ 14936 h 74681"/>
                <a:gd name="connsiteX18" fmla="*/ 32860 w 89618"/>
                <a:gd name="connsiteY18" fmla="*/ 25392 h 74681"/>
                <a:gd name="connsiteX19" fmla="*/ 1494 w 89618"/>
                <a:gd name="connsiteY19" fmla="*/ 61239 h 74681"/>
                <a:gd name="connsiteX20" fmla="*/ 0 w 89618"/>
                <a:gd name="connsiteY20" fmla="*/ 67214 h 74681"/>
                <a:gd name="connsiteX21" fmla="*/ 14936 w 89618"/>
                <a:gd name="connsiteY21" fmla="*/ 47796 h 74681"/>
                <a:gd name="connsiteX22" fmla="*/ 35847 w 89618"/>
                <a:gd name="connsiteY22" fmla="*/ 29873 h 74681"/>
                <a:gd name="connsiteX23" fmla="*/ 44809 w 89618"/>
                <a:gd name="connsiteY23" fmla="*/ 17924 h 74681"/>
                <a:gd name="connsiteX24" fmla="*/ 47796 w 89618"/>
                <a:gd name="connsiteY24" fmla="*/ 19417 h 74681"/>
                <a:gd name="connsiteX25" fmla="*/ 37341 w 89618"/>
                <a:gd name="connsiteY25" fmla="*/ 32860 h 74681"/>
                <a:gd name="connsiteX26" fmla="*/ 16430 w 89618"/>
                <a:gd name="connsiteY26" fmla="*/ 50784 h 74681"/>
                <a:gd name="connsiteX27" fmla="*/ 14936 w 89618"/>
                <a:gd name="connsiteY27" fmla="*/ 50784 h 74681"/>
                <a:gd name="connsiteX28" fmla="*/ 13443 w 89618"/>
                <a:gd name="connsiteY28" fmla="*/ 50784 h 74681"/>
                <a:gd name="connsiteX29" fmla="*/ 14936 w 89618"/>
                <a:gd name="connsiteY29" fmla="*/ 47796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9618" h="74681">
                  <a:moveTo>
                    <a:pt x="0" y="67214"/>
                  </a:moveTo>
                  <a:lnTo>
                    <a:pt x="0" y="68707"/>
                  </a:lnTo>
                  <a:lnTo>
                    <a:pt x="0" y="68707"/>
                  </a:lnTo>
                  <a:cubicBezTo>
                    <a:pt x="0" y="71694"/>
                    <a:pt x="2987" y="74682"/>
                    <a:pt x="5974" y="77669"/>
                  </a:cubicBezTo>
                  <a:cubicBezTo>
                    <a:pt x="14936" y="83643"/>
                    <a:pt x="29873" y="83643"/>
                    <a:pt x="38835" y="79163"/>
                  </a:cubicBezTo>
                  <a:lnTo>
                    <a:pt x="91112" y="52277"/>
                  </a:lnTo>
                  <a:cubicBezTo>
                    <a:pt x="95593" y="49290"/>
                    <a:pt x="98580" y="46303"/>
                    <a:pt x="98580" y="41822"/>
                  </a:cubicBezTo>
                  <a:lnTo>
                    <a:pt x="98580" y="41822"/>
                  </a:lnTo>
                  <a:cubicBezTo>
                    <a:pt x="98580" y="38834"/>
                    <a:pt x="98580" y="34354"/>
                    <a:pt x="97086" y="31366"/>
                  </a:cubicBezTo>
                  <a:cubicBezTo>
                    <a:pt x="95593" y="25392"/>
                    <a:pt x="94099" y="19417"/>
                    <a:pt x="91112" y="14936"/>
                  </a:cubicBezTo>
                  <a:lnTo>
                    <a:pt x="91112" y="14936"/>
                  </a:lnTo>
                  <a:cubicBezTo>
                    <a:pt x="89618" y="11949"/>
                    <a:pt x="88124" y="8962"/>
                    <a:pt x="86631" y="7468"/>
                  </a:cubicBezTo>
                  <a:lnTo>
                    <a:pt x="86631" y="7468"/>
                  </a:lnTo>
                  <a:cubicBezTo>
                    <a:pt x="85137" y="4481"/>
                    <a:pt x="83644" y="1494"/>
                    <a:pt x="82150" y="0"/>
                  </a:cubicBezTo>
                  <a:lnTo>
                    <a:pt x="44809" y="1494"/>
                  </a:lnTo>
                  <a:cubicBezTo>
                    <a:pt x="41822" y="4481"/>
                    <a:pt x="40328" y="7468"/>
                    <a:pt x="40328" y="10455"/>
                  </a:cubicBezTo>
                  <a:lnTo>
                    <a:pt x="40328" y="10455"/>
                  </a:lnTo>
                  <a:cubicBezTo>
                    <a:pt x="40328" y="11949"/>
                    <a:pt x="38835" y="13443"/>
                    <a:pt x="38835" y="14936"/>
                  </a:cubicBezTo>
                  <a:cubicBezTo>
                    <a:pt x="37341" y="19417"/>
                    <a:pt x="35847" y="22405"/>
                    <a:pt x="32860" y="25392"/>
                  </a:cubicBezTo>
                  <a:cubicBezTo>
                    <a:pt x="17924" y="35847"/>
                    <a:pt x="4481" y="49290"/>
                    <a:pt x="1494" y="61239"/>
                  </a:cubicBezTo>
                  <a:cubicBezTo>
                    <a:pt x="0" y="62733"/>
                    <a:pt x="0" y="65720"/>
                    <a:pt x="0" y="67214"/>
                  </a:cubicBezTo>
                  <a:close/>
                  <a:moveTo>
                    <a:pt x="14936" y="47796"/>
                  </a:moveTo>
                  <a:lnTo>
                    <a:pt x="35847" y="29873"/>
                  </a:lnTo>
                  <a:cubicBezTo>
                    <a:pt x="40328" y="26885"/>
                    <a:pt x="43315" y="22405"/>
                    <a:pt x="44809" y="17924"/>
                  </a:cubicBezTo>
                  <a:cubicBezTo>
                    <a:pt x="46303" y="17924"/>
                    <a:pt x="47796" y="19417"/>
                    <a:pt x="47796" y="19417"/>
                  </a:cubicBezTo>
                  <a:cubicBezTo>
                    <a:pt x="46303" y="25392"/>
                    <a:pt x="41822" y="28379"/>
                    <a:pt x="37341" y="32860"/>
                  </a:cubicBezTo>
                  <a:lnTo>
                    <a:pt x="16430" y="50784"/>
                  </a:lnTo>
                  <a:cubicBezTo>
                    <a:pt x="16430" y="50784"/>
                    <a:pt x="14936" y="50784"/>
                    <a:pt x="14936" y="50784"/>
                  </a:cubicBezTo>
                  <a:cubicBezTo>
                    <a:pt x="14936" y="50784"/>
                    <a:pt x="13443" y="50784"/>
                    <a:pt x="13443" y="50784"/>
                  </a:cubicBezTo>
                  <a:cubicBezTo>
                    <a:pt x="14936" y="50784"/>
                    <a:pt x="14936" y="49290"/>
                    <a:pt x="14936" y="47796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5" name="任意多边形: 形状 10584"/>
            <p:cNvSpPr/>
            <p:nvPr/>
          </p:nvSpPr>
          <p:spPr>
            <a:xfrm>
              <a:off x="7248186" y="1065020"/>
              <a:ext cx="89618" cy="44809"/>
            </a:xfrm>
            <a:custGeom>
              <a:avLst/>
              <a:gdLst>
                <a:gd name="connsiteX0" fmla="*/ 0 w 89618"/>
                <a:gd name="connsiteY0" fmla="*/ 38834 h 44809"/>
                <a:gd name="connsiteX1" fmla="*/ 0 w 89618"/>
                <a:gd name="connsiteY1" fmla="*/ 38834 h 44809"/>
                <a:gd name="connsiteX2" fmla="*/ 5975 w 89618"/>
                <a:gd name="connsiteY2" fmla="*/ 47796 h 44809"/>
                <a:gd name="connsiteX3" fmla="*/ 38835 w 89618"/>
                <a:gd name="connsiteY3" fmla="*/ 49290 h 44809"/>
                <a:gd name="connsiteX4" fmla="*/ 92606 w 89618"/>
                <a:gd name="connsiteY4" fmla="*/ 20911 h 44809"/>
                <a:gd name="connsiteX5" fmla="*/ 100074 w 89618"/>
                <a:gd name="connsiteY5" fmla="*/ 10455 h 44809"/>
                <a:gd name="connsiteX6" fmla="*/ 97086 w 89618"/>
                <a:gd name="connsiteY6" fmla="*/ 0 h 44809"/>
                <a:gd name="connsiteX7" fmla="*/ 73188 w 89618"/>
                <a:gd name="connsiteY7" fmla="*/ 17924 h 44809"/>
                <a:gd name="connsiteX8" fmla="*/ 35847 w 89618"/>
                <a:gd name="connsiteY8" fmla="*/ 40328 h 44809"/>
                <a:gd name="connsiteX9" fmla="*/ 19417 w 89618"/>
                <a:gd name="connsiteY9" fmla="*/ 44809 h 44809"/>
                <a:gd name="connsiteX10" fmla="*/ 4481 w 89618"/>
                <a:gd name="connsiteY10" fmla="*/ 40328 h 44809"/>
                <a:gd name="connsiteX11" fmla="*/ 1494 w 89618"/>
                <a:gd name="connsiteY11" fmla="*/ 31366 h 44809"/>
                <a:gd name="connsiteX12" fmla="*/ 0 w 89618"/>
                <a:gd name="connsiteY12" fmla="*/ 38834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618" h="44809">
                  <a:moveTo>
                    <a:pt x="0" y="38834"/>
                  </a:moveTo>
                  <a:cubicBezTo>
                    <a:pt x="1494" y="38834"/>
                    <a:pt x="0" y="38834"/>
                    <a:pt x="0" y="38834"/>
                  </a:cubicBezTo>
                  <a:cubicBezTo>
                    <a:pt x="0" y="41822"/>
                    <a:pt x="2987" y="44809"/>
                    <a:pt x="5975" y="47796"/>
                  </a:cubicBezTo>
                  <a:cubicBezTo>
                    <a:pt x="14936" y="53771"/>
                    <a:pt x="29873" y="53771"/>
                    <a:pt x="38835" y="49290"/>
                  </a:cubicBezTo>
                  <a:lnTo>
                    <a:pt x="92606" y="20911"/>
                  </a:lnTo>
                  <a:cubicBezTo>
                    <a:pt x="100074" y="16430"/>
                    <a:pt x="100074" y="10455"/>
                    <a:pt x="100074" y="10455"/>
                  </a:cubicBezTo>
                  <a:cubicBezTo>
                    <a:pt x="100074" y="7468"/>
                    <a:pt x="98580" y="1494"/>
                    <a:pt x="97086" y="0"/>
                  </a:cubicBezTo>
                  <a:cubicBezTo>
                    <a:pt x="98580" y="4481"/>
                    <a:pt x="80656" y="11949"/>
                    <a:pt x="73188" y="17924"/>
                  </a:cubicBezTo>
                  <a:cubicBezTo>
                    <a:pt x="62733" y="26885"/>
                    <a:pt x="49290" y="34354"/>
                    <a:pt x="35847" y="40328"/>
                  </a:cubicBezTo>
                  <a:cubicBezTo>
                    <a:pt x="31366" y="41822"/>
                    <a:pt x="25392" y="44809"/>
                    <a:pt x="19417" y="44809"/>
                  </a:cubicBezTo>
                  <a:cubicBezTo>
                    <a:pt x="13443" y="44809"/>
                    <a:pt x="7468" y="43315"/>
                    <a:pt x="4481" y="40328"/>
                  </a:cubicBezTo>
                  <a:cubicBezTo>
                    <a:pt x="2987" y="38834"/>
                    <a:pt x="0" y="34354"/>
                    <a:pt x="1494" y="31366"/>
                  </a:cubicBezTo>
                  <a:cubicBezTo>
                    <a:pt x="1494" y="31366"/>
                    <a:pt x="0" y="32860"/>
                    <a:pt x="0" y="38834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6" name="任意多边形: 形状 10585"/>
            <p:cNvSpPr/>
            <p:nvPr/>
          </p:nvSpPr>
          <p:spPr>
            <a:xfrm>
              <a:off x="7264616" y="1051578"/>
              <a:ext cx="29873" cy="29873"/>
            </a:xfrm>
            <a:custGeom>
              <a:avLst/>
              <a:gdLst>
                <a:gd name="connsiteX0" fmla="*/ 0 w 29872"/>
                <a:gd name="connsiteY0" fmla="*/ 32860 h 29872"/>
                <a:gd name="connsiteX1" fmla="*/ 0 w 29872"/>
                <a:gd name="connsiteY1" fmla="*/ 32860 h 29872"/>
                <a:gd name="connsiteX2" fmla="*/ 2987 w 29872"/>
                <a:gd name="connsiteY2" fmla="*/ 32860 h 29872"/>
                <a:gd name="connsiteX3" fmla="*/ 23898 w 29872"/>
                <a:gd name="connsiteY3" fmla="*/ 14936 h 29872"/>
                <a:gd name="connsiteX4" fmla="*/ 34354 w 29872"/>
                <a:gd name="connsiteY4" fmla="*/ 1494 h 29872"/>
                <a:gd name="connsiteX5" fmla="*/ 31366 w 29872"/>
                <a:gd name="connsiteY5" fmla="*/ 0 h 29872"/>
                <a:gd name="connsiteX6" fmla="*/ 22405 w 29872"/>
                <a:gd name="connsiteY6" fmla="*/ 11949 h 29872"/>
                <a:gd name="connsiteX7" fmla="*/ 1494 w 29872"/>
                <a:gd name="connsiteY7" fmla="*/ 29873 h 29872"/>
                <a:gd name="connsiteX8" fmla="*/ 0 w 29872"/>
                <a:gd name="connsiteY8" fmla="*/ 3286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72" h="29872">
                  <a:moveTo>
                    <a:pt x="0" y="32860"/>
                  </a:moveTo>
                  <a:cubicBezTo>
                    <a:pt x="0" y="32860"/>
                    <a:pt x="1494" y="34354"/>
                    <a:pt x="0" y="32860"/>
                  </a:cubicBezTo>
                  <a:cubicBezTo>
                    <a:pt x="1494" y="32860"/>
                    <a:pt x="2987" y="32860"/>
                    <a:pt x="2987" y="32860"/>
                  </a:cubicBezTo>
                  <a:lnTo>
                    <a:pt x="23898" y="14936"/>
                  </a:lnTo>
                  <a:cubicBezTo>
                    <a:pt x="28379" y="11949"/>
                    <a:pt x="32860" y="7468"/>
                    <a:pt x="34354" y="1494"/>
                  </a:cubicBezTo>
                  <a:cubicBezTo>
                    <a:pt x="32860" y="1494"/>
                    <a:pt x="31366" y="0"/>
                    <a:pt x="31366" y="0"/>
                  </a:cubicBezTo>
                  <a:cubicBezTo>
                    <a:pt x="29873" y="4481"/>
                    <a:pt x="26885" y="8962"/>
                    <a:pt x="22405" y="11949"/>
                  </a:cubicBezTo>
                  <a:lnTo>
                    <a:pt x="1494" y="29873"/>
                  </a:lnTo>
                  <a:cubicBezTo>
                    <a:pt x="0" y="31366"/>
                    <a:pt x="0" y="32860"/>
                    <a:pt x="0" y="32860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7" name="任意多边形: 形状 10586"/>
            <p:cNvSpPr/>
            <p:nvPr/>
          </p:nvSpPr>
          <p:spPr>
            <a:xfrm>
              <a:off x="7287021" y="1054565"/>
              <a:ext cx="14936" cy="14936"/>
            </a:xfrm>
            <a:custGeom>
              <a:avLst/>
              <a:gdLst>
                <a:gd name="connsiteX0" fmla="*/ 10455 w 0"/>
                <a:gd name="connsiteY0" fmla="*/ 10455 h 0"/>
                <a:gd name="connsiteX1" fmla="*/ 11949 w 0"/>
                <a:gd name="connsiteY1" fmla="*/ 8962 h 0"/>
                <a:gd name="connsiteX2" fmla="*/ 11949 w 0"/>
                <a:gd name="connsiteY2" fmla="*/ 5974 h 0"/>
                <a:gd name="connsiteX3" fmla="*/ 2987 w 0"/>
                <a:gd name="connsiteY3" fmla="*/ 0 h 0"/>
                <a:gd name="connsiteX4" fmla="*/ 0 w 0"/>
                <a:gd name="connsiteY4" fmla="*/ 0 h 0"/>
                <a:gd name="connsiteX5" fmla="*/ 0 w 0"/>
                <a:gd name="connsiteY5" fmla="*/ 2987 h 0"/>
                <a:gd name="connsiteX6" fmla="*/ 10455 w 0"/>
                <a:gd name="connsiteY6" fmla="*/ 10455 h 0"/>
                <a:gd name="connsiteX7" fmla="*/ 10455 w 0"/>
                <a:gd name="connsiteY7" fmla="*/ 1045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0455" y="10455"/>
                  </a:moveTo>
                  <a:cubicBezTo>
                    <a:pt x="10455" y="10455"/>
                    <a:pt x="11949" y="10455"/>
                    <a:pt x="11949" y="8962"/>
                  </a:cubicBezTo>
                  <a:cubicBezTo>
                    <a:pt x="11949" y="7468"/>
                    <a:pt x="11949" y="7468"/>
                    <a:pt x="11949" y="5974"/>
                  </a:cubicBezTo>
                  <a:lnTo>
                    <a:pt x="2987" y="0"/>
                  </a:lnTo>
                  <a:cubicBezTo>
                    <a:pt x="1494" y="0"/>
                    <a:pt x="1494" y="0"/>
                    <a:pt x="0" y="0"/>
                  </a:cubicBezTo>
                  <a:cubicBezTo>
                    <a:pt x="0" y="1494"/>
                    <a:pt x="0" y="1494"/>
                    <a:pt x="0" y="2987"/>
                  </a:cubicBezTo>
                  <a:lnTo>
                    <a:pt x="10455" y="10455"/>
                  </a:lnTo>
                  <a:cubicBezTo>
                    <a:pt x="10455" y="10455"/>
                    <a:pt x="10455" y="10455"/>
                    <a:pt x="10455" y="10455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8" name="任意多边形: 形状 10587"/>
            <p:cNvSpPr/>
            <p:nvPr/>
          </p:nvSpPr>
          <p:spPr>
            <a:xfrm>
              <a:off x="7279552" y="1060539"/>
              <a:ext cx="14936" cy="14936"/>
            </a:xfrm>
            <a:custGeom>
              <a:avLst/>
              <a:gdLst>
                <a:gd name="connsiteX0" fmla="*/ 11949 w 0"/>
                <a:gd name="connsiteY0" fmla="*/ 10456 h 0"/>
                <a:gd name="connsiteX1" fmla="*/ 13443 w 0"/>
                <a:gd name="connsiteY1" fmla="*/ 8962 h 0"/>
                <a:gd name="connsiteX2" fmla="*/ 13443 w 0"/>
                <a:gd name="connsiteY2" fmla="*/ 5975 h 0"/>
                <a:gd name="connsiteX3" fmla="*/ 2987 w 0"/>
                <a:gd name="connsiteY3" fmla="*/ 0 h 0"/>
                <a:gd name="connsiteX4" fmla="*/ 0 w 0"/>
                <a:gd name="connsiteY4" fmla="*/ 0 h 0"/>
                <a:gd name="connsiteX5" fmla="*/ 0 w 0"/>
                <a:gd name="connsiteY5" fmla="*/ 2987 h 0"/>
                <a:gd name="connsiteX6" fmla="*/ 11949 w 0"/>
                <a:gd name="connsiteY6" fmla="*/ 10456 h 0"/>
                <a:gd name="connsiteX7" fmla="*/ 11949 w 0"/>
                <a:gd name="connsiteY7" fmla="*/ 1045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1949" y="10456"/>
                  </a:moveTo>
                  <a:cubicBezTo>
                    <a:pt x="11949" y="10456"/>
                    <a:pt x="13443" y="10456"/>
                    <a:pt x="13443" y="8962"/>
                  </a:cubicBezTo>
                  <a:cubicBezTo>
                    <a:pt x="13443" y="7468"/>
                    <a:pt x="13443" y="7468"/>
                    <a:pt x="13443" y="5975"/>
                  </a:cubicBezTo>
                  <a:lnTo>
                    <a:pt x="2987" y="0"/>
                  </a:lnTo>
                  <a:cubicBezTo>
                    <a:pt x="1494" y="0"/>
                    <a:pt x="1494" y="0"/>
                    <a:pt x="0" y="0"/>
                  </a:cubicBezTo>
                  <a:cubicBezTo>
                    <a:pt x="0" y="1494"/>
                    <a:pt x="0" y="1494"/>
                    <a:pt x="0" y="2987"/>
                  </a:cubicBezTo>
                  <a:lnTo>
                    <a:pt x="11949" y="10456"/>
                  </a:lnTo>
                  <a:cubicBezTo>
                    <a:pt x="11949" y="10456"/>
                    <a:pt x="11949" y="10456"/>
                    <a:pt x="11949" y="10456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9" name="任意多边形: 形状 10588"/>
            <p:cNvSpPr/>
            <p:nvPr/>
          </p:nvSpPr>
          <p:spPr>
            <a:xfrm>
              <a:off x="7273578" y="1066514"/>
              <a:ext cx="14936" cy="14936"/>
            </a:xfrm>
            <a:custGeom>
              <a:avLst/>
              <a:gdLst>
                <a:gd name="connsiteX0" fmla="*/ 11949 w 0"/>
                <a:gd name="connsiteY0" fmla="*/ 10456 h 0"/>
                <a:gd name="connsiteX1" fmla="*/ 13443 w 0"/>
                <a:gd name="connsiteY1" fmla="*/ 8962 h 0"/>
                <a:gd name="connsiteX2" fmla="*/ 13443 w 0"/>
                <a:gd name="connsiteY2" fmla="*/ 5975 h 0"/>
                <a:gd name="connsiteX3" fmla="*/ 2987 w 0"/>
                <a:gd name="connsiteY3" fmla="*/ 0 h 0"/>
                <a:gd name="connsiteX4" fmla="*/ 0 w 0"/>
                <a:gd name="connsiteY4" fmla="*/ 0 h 0"/>
                <a:gd name="connsiteX5" fmla="*/ 0 w 0"/>
                <a:gd name="connsiteY5" fmla="*/ 2987 h 0"/>
                <a:gd name="connsiteX6" fmla="*/ 11949 w 0"/>
                <a:gd name="connsiteY6" fmla="*/ 10456 h 0"/>
                <a:gd name="connsiteX7" fmla="*/ 11949 w 0"/>
                <a:gd name="connsiteY7" fmla="*/ 1045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1949" y="10456"/>
                  </a:moveTo>
                  <a:cubicBezTo>
                    <a:pt x="11949" y="10456"/>
                    <a:pt x="13443" y="10456"/>
                    <a:pt x="13443" y="8962"/>
                  </a:cubicBezTo>
                  <a:cubicBezTo>
                    <a:pt x="13443" y="7468"/>
                    <a:pt x="13443" y="7468"/>
                    <a:pt x="13443" y="5975"/>
                  </a:cubicBezTo>
                  <a:lnTo>
                    <a:pt x="2987" y="0"/>
                  </a:lnTo>
                  <a:cubicBezTo>
                    <a:pt x="1493" y="0"/>
                    <a:pt x="1493" y="0"/>
                    <a:pt x="0" y="0"/>
                  </a:cubicBezTo>
                  <a:cubicBezTo>
                    <a:pt x="0" y="1494"/>
                    <a:pt x="0" y="1494"/>
                    <a:pt x="0" y="2987"/>
                  </a:cubicBezTo>
                  <a:lnTo>
                    <a:pt x="11949" y="10456"/>
                  </a:lnTo>
                  <a:cubicBezTo>
                    <a:pt x="11949" y="10456"/>
                    <a:pt x="11949" y="10456"/>
                    <a:pt x="11949" y="10456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0" name="任意多边形: 形状 10589"/>
            <p:cNvSpPr/>
            <p:nvPr/>
          </p:nvSpPr>
          <p:spPr>
            <a:xfrm>
              <a:off x="7267603" y="1072489"/>
              <a:ext cx="14936" cy="14936"/>
            </a:xfrm>
            <a:custGeom>
              <a:avLst/>
              <a:gdLst>
                <a:gd name="connsiteX0" fmla="*/ 10455 w 0"/>
                <a:gd name="connsiteY0" fmla="*/ 10455 h 0"/>
                <a:gd name="connsiteX1" fmla="*/ 11949 w 0"/>
                <a:gd name="connsiteY1" fmla="*/ 8962 h 0"/>
                <a:gd name="connsiteX2" fmla="*/ 11949 w 0"/>
                <a:gd name="connsiteY2" fmla="*/ 5975 h 0"/>
                <a:gd name="connsiteX3" fmla="*/ 2987 w 0"/>
                <a:gd name="connsiteY3" fmla="*/ 0 h 0"/>
                <a:gd name="connsiteX4" fmla="*/ 0 w 0"/>
                <a:gd name="connsiteY4" fmla="*/ 0 h 0"/>
                <a:gd name="connsiteX5" fmla="*/ 0 w 0"/>
                <a:gd name="connsiteY5" fmla="*/ 2987 h 0"/>
                <a:gd name="connsiteX6" fmla="*/ 10455 w 0"/>
                <a:gd name="connsiteY6" fmla="*/ 10455 h 0"/>
                <a:gd name="connsiteX7" fmla="*/ 10455 w 0"/>
                <a:gd name="connsiteY7" fmla="*/ 1045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0455" y="10455"/>
                  </a:moveTo>
                  <a:cubicBezTo>
                    <a:pt x="10455" y="10455"/>
                    <a:pt x="11949" y="10455"/>
                    <a:pt x="11949" y="8962"/>
                  </a:cubicBezTo>
                  <a:cubicBezTo>
                    <a:pt x="11949" y="7468"/>
                    <a:pt x="11949" y="7468"/>
                    <a:pt x="11949" y="5975"/>
                  </a:cubicBezTo>
                  <a:lnTo>
                    <a:pt x="2987" y="0"/>
                  </a:lnTo>
                  <a:cubicBezTo>
                    <a:pt x="1494" y="0"/>
                    <a:pt x="1494" y="0"/>
                    <a:pt x="0" y="0"/>
                  </a:cubicBezTo>
                  <a:cubicBezTo>
                    <a:pt x="0" y="1494"/>
                    <a:pt x="0" y="1494"/>
                    <a:pt x="0" y="2987"/>
                  </a:cubicBezTo>
                  <a:lnTo>
                    <a:pt x="10455" y="10455"/>
                  </a:lnTo>
                  <a:cubicBezTo>
                    <a:pt x="10455" y="10455"/>
                    <a:pt x="10455" y="10455"/>
                    <a:pt x="10455" y="10455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1" name="任意多边形: 形状 10590"/>
            <p:cNvSpPr/>
            <p:nvPr/>
          </p:nvSpPr>
          <p:spPr>
            <a:xfrm>
              <a:off x="7260023" y="676676"/>
              <a:ext cx="224045" cy="179236"/>
            </a:xfrm>
            <a:custGeom>
              <a:avLst/>
              <a:gdLst>
                <a:gd name="connsiteX0" fmla="*/ 113 w 224045"/>
                <a:gd name="connsiteY0" fmla="*/ 162806 h 179236"/>
                <a:gd name="connsiteX1" fmla="*/ 46415 w 224045"/>
                <a:gd name="connsiteY1" fmla="*/ 191185 h 179236"/>
                <a:gd name="connsiteX2" fmla="*/ 82262 w 224045"/>
                <a:gd name="connsiteY2" fmla="*/ 170274 h 179236"/>
                <a:gd name="connsiteX3" fmla="*/ 212209 w 224045"/>
                <a:gd name="connsiteY3" fmla="*/ 94099 h 179236"/>
                <a:gd name="connsiteX4" fmla="*/ 230132 w 224045"/>
                <a:gd name="connsiteY4" fmla="*/ 65720 h 179236"/>
                <a:gd name="connsiteX5" fmla="*/ 234613 w 224045"/>
                <a:gd name="connsiteY5" fmla="*/ 0 h 179236"/>
                <a:gd name="connsiteX6" fmla="*/ 95705 w 224045"/>
                <a:gd name="connsiteY6" fmla="*/ 65720 h 179236"/>
                <a:gd name="connsiteX7" fmla="*/ 35960 w 224045"/>
                <a:gd name="connsiteY7" fmla="*/ 103061 h 179236"/>
                <a:gd name="connsiteX8" fmla="*/ 113 w 224045"/>
                <a:gd name="connsiteY8" fmla="*/ 162806 h 17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045" h="179236">
                  <a:moveTo>
                    <a:pt x="113" y="162806"/>
                  </a:moveTo>
                  <a:lnTo>
                    <a:pt x="46415" y="191185"/>
                  </a:lnTo>
                  <a:lnTo>
                    <a:pt x="82262" y="170274"/>
                  </a:lnTo>
                  <a:lnTo>
                    <a:pt x="212209" y="94099"/>
                  </a:lnTo>
                  <a:cubicBezTo>
                    <a:pt x="222664" y="88124"/>
                    <a:pt x="228639" y="77669"/>
                    <a:pt x="230132" y="65720"/>
                  </a:cubicBezTo>
                  <a:lnTo>
                    <a:pt x="234613" y="0"/>
                  </a:lnTo>
                  <a:cubicBezTo>
                    <a:pt x="191298" y="22405"/>
                    <a:pt x="140514" y="43315"/>
                    <a:pt x="95705" y="65720"/>
                  </a:cubicBezTo>
                  <a:cubicBezTo>
                    <a:pt x="73301" y="77669"/>
                    <a:pt x="52390" y="89618"/>
                    <a:pt x="35960" y="103061"/>
                  </a:cubicBezTo>
                  <a:cubicBezTo>
                    <a:pt x="12062" y="119491"/>
                    <a:pt x="-1381" y="138908"/>
                    <a:pt x="113" y="162806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2" name="任意多边形: 形状 10591"/>
            <p:cNvSpPr/>
            <p:nvPr/>
          </p:nvSpPr>
          <p:spPr>
            <a:xfrm>
              <a:off x="7258384" y="809377"/>
              <a:ext cx="74682" cy="224045"/>
            </a:xfrm>
            <a:custGeom>
              <a:avLst/>
              <a:gdLst>
                <a:gd name="connsiteX0" fmla="*/ 86889 w 74681"/>
                <a:gd name="connsiteY0" fmla="*/ 228758 h 224045"/>
                <a:gd name="connsiteX1" fmla="*/ 80914 w 74681"/>
                <a:gd name="connsiteY1" fmla="*/ 31598 h 224045"/>
                <a:gd name="connsiteX2" fmla="*/ 62991 w 74681"/>
                <a:gd name="connsiteY2" fmla="*/ 10688 h 224045"/>
                <a:gd name="connsiteX3" fmla="*/ 28637 w 74681"/>
                <a:gd name="connsiteY3" fmla="*/ 232 h 224045"/>
                <a:gd name="connsiteX4" fmla="*/ 258 w 74681"/>
                <a:gd name="connsiteY4" fmla="*/ 28611 h 224045"/>
                <a:gd name="connsiteX5" fmla="*/ 22663 w 74681"/>
                <a:gd name="connsiteY5" fmla="*/ 228758 h 224045"/>
                <a:gd name="connsiteX6" fmla="*/ 54029 w 74681"/>
                <a:gd name="connsiteY6" fmla="*/ 233239 h 224045"/>
                <a:gd name="connsiteX7" fmla="*/ 86889 w 74681"/>
                <a:gd name="connsiteY7" fmla="*/ 228758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224045">
                  <a:moveTo>
                    <a:pt x="86889" y="228758"/>
                  </a:moveTo>
                  <a:cubicBezTo>
                    <a:pt x="86889" y="170506"/>
                    <a:pt x="85395" y="39067"/>
                    <a:pt x="80914" y="31598"/>
                  </a:cubicBezTo>
                  <a:cubicBezTo>
                    <a:pt x="76433" y="24130"/>
                    <a:pt x="70459" y="15168"/>
                    <a:pt x="62991" y="10688"/>
                  </a:cubicBezTo>
                  <a:cubicBezTo>
                    <a:pt x="52535" y="4713"/>
                    <a:pt x="40586" y="-1262"/>
                    <a:pt x="28637" y="232"/>
                  </a:cubicBezTo>
                  <a:cubicBezTo>
                    <a:pt x="13701" y="3219"/>
                    <a:pt x="3245" y="13675"/>
                    <a:pt x="258" y="28611"/>
                  </a:cubicBezTo>
                  <a:cubicBezTo>
                    <a:pt x="-2729" y="43548"/>
                    <a:pt x="21169" y="221290"/>
                    <a:pt x="22663" y="228758"/>
                  </a:cubicBezTo>
                  <a:cubicBezTo>
                    <a:pt x="25650" y="236226"/>
                    <a:pt x="46561" y="230252"/>
                    <a:pt x="54029" y="233239"/>
                  </a:cubicBezTo>
                  <a:lnTo>
                    <a:pt x="86889" y="228758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3" name="任意多边形: 形状 10592"/>
            <p:cNvSpPr/>
            <p:nvPr/>
          </p:nvSpPr>
          <p:spPr>
            <a:xfrm>
              <a:off x="7282166" y="1018289"/>
              <a:ext cx="59745" cy="29873"/>
            </a:xfrm>
            <a:custGeom>
              <a:avLst/>
              <a:gdLst>
                <a:gd name="connsiteX0" fmla="*/ 373 w 59745"/>
                <a:gd name="connsiteY0" fmla="*/ 21340 h 29872"/>
                <a:gd name="connsiteX1" fmla="*/ 6348 w 59745"/>
                <a:gd name="connsiteY1" fmla="*/ 30302 h 29872"/>
                <a:gd name="connsiteX2" fmla="*/ 9335 w 59745"/>
                <a:gd name="connsiteY2" fmla="*/ 31795 h 29872"/>
                <a:gd name="connsiteX3" fmla="*/ 12322 w 59745"/>
                <a:gd name="connsiteY3" fmla="*/ 33289 h 29872"/>
                <a:gd name="connsiteX4" fmla="*/ 15310 w 59745"/>
                <a:gd name="connsiteY4" fmla="*/ 34783 h 29872"/>
                <a:gd name="connsiteX5" fmla="*/ 52651 w 59745"/>
                <a:gd name="connsiteY5" fmla="*/ 33289 h 29872"/>
                <a:gd name="connsiteX6" fmla="*/ 58625 w 59745"/>
                <a:gd name="connsiteY6" fmla="*/ 28808 h 29872"/>
                <a:gd name="connsiteX7" fmla="*/ 63106 w 59745"/>
                <a:gd name="connsiteY7" fmla="*/ 19846 h 29872"/>
                <a:gd name="connsiteX8" fmla="*/ 63106 w 59745"/>
                <a:gd name="connsiteY8" fmla="*/ 19846 h 29872"/>
                <a:gd name="connsiteX9" fmla="*/ 54144 w 59745"/>
                <a:gd name="connsiteY9" fmla="*/ 6404 h 29872"/>
                <a:gd name="connsiteX10" fmla="*/ 9335 w 59745"/>
                <a:gd name="connsiteY10" fmla="*/ 4910 h 29872"/>
                <a:gd name="connsiteX11" fmla="*/ 373 w 59745"/>
                <a:gd name="connsiteY11" fmla="*/ 2134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745" h="29872">
                  <a:moveTo>
                    <a:pt x="373" y="21340"/>
                  </a:moveTo>
                  <a:cubicBezTo>
                    <a:pt x="373" y="24327"/>
                    <a:pt x="3361" y="27314"/>
                    <a:pt x="6348" y="30302"/>
                  </a:cubicBezTo>
                  <a:cubicBezTo>
                    <a:pt x="7842" y="30302"/>
                    <a:pt x="7842" y="31795"/>
                    <a:pt x="9335" y="31795"/>
                  </a:cubicBezTo>
                  <a:cubicBezTo>
                    <a:pt x="10829" y="31795"/>
                    <a:pt x="10829" y="33289"/>
                    <a:pt x="12322" y="33289"/>
                  </a:cubicBezTo>
                  <a:cubicBezTo>
                    <a:pt x="13816" y="33289"/>
                    <a:pt x="15310" y="34783"/>
                    <a:pt x="15310" y="34783"/>
                  </a:cubicBezTo>
                  <a:cubicBezTo>
                    <a:pt x="27259" y="39264"/>
                    <a:pt x="42195" y="39264"/>
                    <a:pt x="52651" y="33289"/>
                  </a:cubicBezTo>
                  <a:cubicBezTo>
                    <a:pt x="54144" y="31795"/>
                    <a:pt x="57132" y="30302"/>
                    <a:pt x="58625" y="28808"/>
                  </a:cubicBezTo>
                  <a:cubicBezTo>
                    <a:pt x="61612" y="25821"/>
                    <a:pt x="63106" y="22834"/>
                    <a:pt x="63106" y="19846"/>
                  </a:cubicBezTo>
                  <a:lnTo>
                    <a:pt x="63106" y="19846"/>
                  </a:lnTo>
                  <a:cubicBezTo>
                    <a:pt x="63106" y="15365"/>
                    <a:pt x="60119" y="10884"/>
                    <a:pt x="54144" y="6404"/>
                  </a:cubicBezTo>
                  <a:cubicBezTo>
                    <a:pt x="42195" y="-1065"/>
                    <a:pt x="22778" y="-2558"/>
                    <a:pt x="9335" y="4910"/>
                  </a:cubicBezTo>
                  <a:cubicBezTo>
                    <a:pt x="1867" y="9391"/>
                    <a:pt x="-1120" y="15365"/>
                    <a:pt x="373" y="21340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4" name="任意多边形: 形状 10593"/>
            <p:cNvSpPr/>
            <p:nvPr/>
          </p:nvSpPr>
          <p:spPr>
            <a:xfrm>
              <a:off x="7163049" y="984364"/>
              <a:ext cx="89618" cy="74682"/>
            </a:xfrm>
            <a:custGeom>
              <a:avLst/>
              <a:gdLst>
                <a:gd name="connsiteX0" fmla="*/ 0 w 89618"/>
                <a:gd name="connsiteY0" fmla="*/ 67214 h 74681"/>
                <a:gd name="connsiteX1" fmla="*/ 0 w 89618"/>
                <a:gd name="connsiteY1" fmla="*/ 68707 h 74681"/>
                <a:gd name="connsiteX2" fmla="*/ 0 w 89618"/>
                <a:gd name="connsiteY2" fmla="*/ 68707 h 74681"/>
                <a:gd name="connsiteX3" fmla="*/ 5975 w 89618"/>
                <a:gd name="connsiteY3" fmla="*/ 77669 h 74681"/>
                <a:gd name="connsiteX4" fmla="*/ 38835 w 89618"/>
                <a:gd name="connsiteY4" fmla="*/ 79163 h 74681"/>
                <a:gd name="connsiteX5" fmla="*/ 91112 w 89618"/>
                <a:gd name="connsiteY5" fmla="*/ 52277 h 74681"/>
                <a:gd name="connsiteX6" fmla="*/ 98580 w 89618"/>
                <a:gd name="connsiteY6" fmla="*/ 41822 h 74681"/>
                <a:gd name="connsiteX7" fmla="*/ 98580 w 89618"/>
                <a:gd name="connsiteY7" fmla="*/ 41822 h 74681"/>
                <a:gd name="connsiteX8" fmla="*/ 97086 w 89618"/>
                <a:gd name="connsiteY8" fmla="*/ 31366 h 74681"/>
                <a:gd name="connsiteX9" fmla="*/ 91112 w 89618"/>
                <a:gd name="connsiteY9" fmla="*/ 14936 h 74681"/>
                <a:gd name="connsiteX10" fmla="*/ 91112 w 89618"/>
                <a:gd name="connsiteY10" fmla="*/ 14936 h 74681"/>
                <a:gd name="connsiteX11" fmla="*/ 86631 w 89618"/>
                <a:gd name="connsiteY11" fmla="*/ 7468 h 74681"/>
                <a:gd name="connsiteX12" fmla="*/ 86631 w 89618"/>
                <a:gd name="connsiteY12" fmla="*/ 7468 h 74681"/>
                <a:gd name="connsiteX13" fmla="*/ 82150 w 89618"/>
                <a:gd name="connsiteY13" fmla="*/ 0 h 74681"/>
                <a:gd name="connsiteX14" fmla="*/ 44809 w 89618"/>
                <a:gd name="connsiteY14" fmla="*/ 1494 h 74681"/>
                <a:gd name="connsiteX15" fmla="*/ 40328 w 89618"/>
                <a:gd name="connsiteY15" fmla="*/ 10455 h 74681"/>
                <a:gd name="connsiteX16" fmla="*/ 40328 w 89618"/>
                <a:gd name="connsiteY16" fmla="*/ 10455 h 74681"/>
                <a:gd name="connsiteX17" fmla="*/ 38835 w 89618"/>
                <a:gd name="connsiteY17" fmla="*/ 14936 h 74681"/>
                <a:gd name="connsiteX18" fmla="*/ 32860 w 89618"/>
                <a:gd name="connsiteY18" fmla="*/ 25392 h 74681"/>
                <a:gd name="connsiteX19" fmla="*/ 1494 w 89618"/>
                <a:gd name="connsiteY19" fmla="*/ 61239 h 74681"/>
                <a:gd name="connsiteX20" fmla="*/ 0 w 89618"/>
                <a:gd name="connsiteY20" fmla="*/ 67214 h 74681"/>
                <a:gd name="connsiteX21" fmla="*/ 16430 w 89618"/>
                <a:gd name="connsiteY21" fmla="*/ 47796 h 74681"/>
                <a:gd name="connsiteX22" fmla="*/ 37341 w 89618"/>
                <a:gd name="connsiteY22" fmla="*/ 29873 h 74681"/>
                <a:gd name="connsiteX23" fmla="*/ 46303 w 89618"/>
                <a:gd name="connsiteY23" fmla="*/ 17924 h 74681"/>
                <a:gd name="connsiteX24" fmla="*/ 49290 w 89618"/>
                <a:gd name="connsiteY24" fmla="*/ 19417 h 74681"/>
                <a:gd name="connsiteX25" fmla="*/ 38835 w 89618"/>
                <a:gd name="connsiteY25" fmla="*/ 32860 h 74681"/>
                <a:gd name="connsiteX26" fmla="*/ 17924 w 89618"/>
                <a:gd name="connsiteY26" fmla="*/ 50784 h 74681"/>
                <a:gd name="connsiteX27" fmla="*/ 16430 w 89618"/>
                <a:gd name="connsiteY27" fmla="*/ 50784 h 74681"/>
                <a:gd name="connsiteX28" fmla="*/ 14936 w 89618"/>
                <a:gd name="connsiteY28" fmla="*/ 50784 h 74681"/>
                <a:gd name="connsiteX29" fmla="*/ 16430 w 89618"/>
                <a:gd name="connsiteY29" fmla="*/ 47796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9618" h="74681">
                  <a:moveTo>
                    <a:pt x="0" y="67214"/>
                  </a:moveTo>
                  <a:lnTo>
                    <a:pt x="0" y="68707"/>
                  </a:lnTo>
                  <a:lnTo>
                    <a:pt x="0" y="68707"/>
                  </a:lnTo>
                  <a:cubicBezTo>
                    <a:pt x="0" y="71694"/>
                    <a:pt x="2987" y="74682"/>
                    <a:pt x="5975" y="77669"/>
                  </a:cubicBezTo>
                  <a:cubicBezTo>
                    <a:pt x="14936" y="83643"/>
                    <a:pt x="29873" y="83643"/>
                    <a:pt x="38835" y="79163"/>
                  </a:cubicBezTo>
                  <a:lnTo>
                    <a:pt x="91112" y="52277"/>
                  </a:lnTo>
                  <a:cubicBezTo>
                    <a:pt x="95593" y="49290"/>
                    <a:pt x="98580" y="46303"/>
                    <a:pt x="98580" y="41822"/>
                  </a:cubicBezTo>
                  <a:lnTo>
                    <a:pt x="98580" y="41822"/>
                  </a:lnTo>
                  <a:cubicBezTo>
                    <a:pt x="98580" y="38835"/>
                    <a:pt x="98580" y="34354"/>
                    <a:pt x="97086" y="31366"/>
                  </a:cubicBezTo>
                  <a:cubicBezTo>
                    <a:pt x="95593" y="25392"/>
                    <a:pt x="94099" y="19417"/>
                    <a:pt x="91112" y="14936"/>
                  </a:cubicBezTo>
                  <a:lnTo>
                    <a:pt x="91112" y="14936"/>
                  </a:lnTo>
                  <a:cubicBezTo>
                    <a:pt x="89618" y="11949"/>
                    <a:pt x="88125" y="8962"/>
                    <a:pt x="86631" y="7468"/>
                  </a:cubicBezTo>
                  <a:lnTo>
                    <a:pt x="86631" y="7468"/>
                  </a:lnTo>
                  <a:cubicBezTo>
                    <a:pt x="85137" y="4481"/>
                    <a:pt x="83644" y="1494"/>
                    <a:pt x="82150" y="0"/>
                  </a:cubicBezTo>
                  <a:lnTo>
                    <a:pt x="44809" y="1494"/>
                  </a:lnTo>
                  <a:cubicBezTo>
                    <a:pt x="41822" y="4481"/>
                    <a:pt x="40328" y="7468"/>
                    <a:pt x="40328" y="10455"/>
                  </a:cubicBezTo>
                  <a:lnTo>
                    <a:pt x="40328" y="10455"/>
                  </a:lnTo>
                  <a:cubicBezTo>
                    <a:pt x="40328" y="11949"/>
                    <a:pt x="40328" y="13443"/>
                    <a:pt x="38835" y="14936"/>
                  </a:cubicBezTo>
                  <a:cubicBezTo>
                    <a:pt x="37341" y="19417"/>
                    <a:pt x="35847" y="22405"/>
                    <a:pt x="32860" y="25392"/>
                  </a:cubicBezTo>
                  <a:cubicBezTo>
                    <a:pt x="17924" y="35847"/>
                    <a:pt x="4481" y="49290"/>
                    <a:pt x="1494" y="61239"/>
                  </a:cubicBezTo>
                  <a:cubicBezTo>
                    <a:pt x="1494" y="62733"/>
                    <a:pt x="0" y="65720"/>
                    <a:pt x="0" y="67214"/>
                  </a:cubicBezTo>
                  <a:close/>
                  <a:moveTo>
                    <a:pt x="16430" y="47796"/>
                  </a:moveTo>
                  <a:lnTo>
                    <a:pt x="37341" y="29873"/>
                  </a:lnTo>
                  <a:cubicBezTo>
                    <a:pt x="41822" y="26885"/>
                    <a:pt x="44809" y="22405"/>
                    <a:pt x="46303" y="17924"/>
                  </a:cubicBezTo>
                  <a:cubicBezTo>
                    <a:pt x="47796" y="17924"/>
                    <a:pt x="49290" y="19417"/>
                    <a:pt x="49290" y="19417"/>
                  </a:cubicBezTo>
                  <a:cubicBezTo>
                    <a:pt x="47796" y="25392"/>
                    <a:pt x="43316" y="28379"/>
                    <a:pt x="38835" y="32860"/>
                  </a:cubicBezTo>
                  <a:lnTo>
                    <a:pt x="17924" y="50784"/>
                  </a:lnTo>
                  <a:cubicBezTo>
                    <a:pt x="17924" y="50784"/>
                    <a:pt x="16430" y="50784"/>
                    <a:pt x="16430" y="50784"/>
                  </a:cubicBezTo>
                  <a:cubicBezTo>
                    <a:pt x="16430" y="50784"/>
                    <a:pt x="14936" y="50784"/>
                    <a:pt x="14936" y="50784"/>
                  </a:cubicBezTo>
                  <a:cubicBezTo>
                    <a:pt x="14936" y="50784"/>
                    <a:pt x="14936" y="49290"/>
                    <a:pt x="16430" y="47796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5" name="任意多边形: 形状 10594"/>
            <p:cNvSpPr/>
            <p:nvPr/>
          </p:nvSpPr>
          <p:spPr>
            <a:xfrm>
              <a:off x="7162631" y="1015730"/>
              <a:ext cx="89618" cy="44809"/>
            </a:xfrm>
            <a:custGeom>
              <a:avLst/>
              <a:gdLst>
                <a:gd name="connsiteX0" fmla="*/ 418 w 89618"/>
                <a:gd name="connsiteY0" fmla="*/ 38835 h 44809"/>
                <a:gd name="connsiteX1" fmla="*/ 418 w 89618"/>
                <a:gd name="connsiteY1" fmla="*/ 38835 h 44809"/>
                <a:gd name="connsiteX2" fmla="*/ 6393 w 89618"/>
                <a:gd name="connsiteY2" fmla="*/ 47796 h 44809"/>
                <a:gd name="connsiteX3" fmla="*/ 39253 w 89618"/>
                <a:gd name="connsiteY3" fmla="*/ 49290 h 44809"/>
                <a:gd name="connsiteX4" fmla="*/ 93023 w 89618"/>
                <a:gd name="connsiteY4" fmla="*/ 20911 h 44809"/>
                <a:gd name="connsiteX5" fmla="*/ 100492 w 89618"/>
                <a:gd name="connsiteY5" fmla="*/ 10455 h 44809"/>
                <a:gd name="connsiteX6" fmla="*/ 97504 w 89618"/>
                <a:gd name="connsiteY6" fmla="*/ 0 h 44809"/>
                <a:gd name="connsiteX7" fmla="*/ 73606 w 89618"/>
                <a:gd name="connsiteY7" fmla="*/ 17924 h 44809"/>
                <a:gd name="connsiteX8" fmla="*/ 36266 w 89618"/>
                <a:gd name="connsiteY8" fmla="*/ 40328 h 44809"/>
                <a:gd name="connsiteX9" fmla="*/ 19835 w 89618"/>
                <a:gd name="connsiteY9" fmla="*/ 44809 h 44809"/>
                <a:gd name="connsiteX10" fmla="*/ 4899 w 89618"/>
                <a:gd name="connsiteY10" fmla="*/ 40328 h 44809"/>
                <a:gd name="connsiteX11" fmla="*/ 1912 w 89618"/>
                <a:gd name="connsiteY11" fmla="*/ 31366 h 44809"/>
                <a:gd name="connsiteX12" fmla="*/ 418 w 89618"/>
                <a:gd name="connsiteY12" fmla="*/ 38835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618" h="44809">
                  <a:moveTo>
                    <a:pt x="418" y="38835"/>
                  </a:moveTo>
                  <a:cubicBezTo>
                    <a:pt x="418" y="38835"/>
                    <a:pt x="418" y="38835"/>
                    <a:pt x="418" y="38835"/>
                  </a:cubicBezTo>
                  <a:cubicBezTo>
                    <a:pt x="418" y="41822"/>
                    <a:pt x="3405" y="44809"/>
                    <a:pt x="6393" y="47796"/>
                  </a:cubicBezTo>
                  <a:cubicBezTo>
                    <a:pt x="15354" y="53771"/>
                    <a:pt x="30291" y="53771"/>
                    <a:pt x="39253" y="49290"/>
                  </a:cubicBezTo>
                  <a:lnTo>
                    <a:pt x="93023" y="20911"/>
                  </a:lnTo>
                  <a:cubicBezTo>
                    <a:pt x="100492" y="16430"/>
                    <a:pt x="100492" y="10455"/>
                    <a:pt x="100492" y="10455"/>
                  </a:cubicBezTo>
                  <a:cubicBezTo>
                    <a:pt x="100492" y="7468"/>
                    <a:pt x="98998" y="1494"/>
                    <a:pt x="97504" y="0"/>
                  </a:cubicBezTo>
                  <a:cubicBezTo>
                    <a:pt x="98998" y="4481"/>
                    <a:pt x="81075" y="11949"/>
                    <a:pt x="73606" y="17924"/>
                  </a:cubicBezTo>
                  <a:cubicBezTo>
                    <a:pt x="63151" y="26885"/>
                    <a:pt x="49708" y="34354"/>
                    <a:pt x="36266" y="40328"/>
                  </a:cubicBezTo>
                  <a:cubicBezTo>
                    <a:pt x="31785" y="41822"/>
                    <a:pt x="25810" y="44809"/>
                    <a:pt x="19835" y="44809"/>
                  </a:cubicBezTo>
                  <a:cubicBezTo>
                    <a:pt x="13861" y="44809"/>
                    <a:pt x="7886" y="43315"/>
                    <a:pt x="4899" y="40328"/>
                  </a:cubicBezTo>
                  <a:cubicBezTo>
                    <a:pt x="3405" y="38835"/>
                    <a:pt x="418" y="34354"/>
                    <a:pt x="1912" y="31366"/>
                  </a:cubicBezTo>
                  <a:cubicBezTo>
                    <a:pt x="1912" y="31366"/>
                    <a:pt x="-1075" y="32860"/>
                    <a:pt x="418" y="38835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6" name="任意多边形: 形状 10595"/>
            <p:cNvSpPr/>
            <p:nvPr/>
          </p:nvSpPr>
          <p:spPr>
            <a:xfrm>
              <a:off x="7178498" y="1002288"/>
              <a:ext cx="29873" cy="29873"/>
            </a:xfrm>
            <a:custGeom>
              <a:avLst/>
              <a:gdLst>
                <a:gd name="connsiteX0" fmla="*/ 981 w 29872"/>
                <a:gd name="connsiteY0" fmla="*/ 32860 h 29872"/>
                <a:gd name="connsiteX1" fmla="*/ 981 w 29872"/>
                <a:gd name="connsiteY1" fmla="*/ 32860 h 29872"/>
                <a:gd name="connsiteX2" fmla="*/ 3968 w 29872"/>
                <a:gd name="connsiteY2" fmla="*/ 32860 h 29872"/>
                <a:gd name="connsiteX3" fmla="*/ 24879 w 29872"/>
                <a:gd name="connsiteY3" fmla="*/ 14936 h 29872"/>
                <a:gd name="connsiteX4" fmla="*/ 35335 w 29872"/>
                <a:gd name="connsiteY4" fmla="*/ 1494 h 29872"/>
                <a:gd name="connsiteX5" fmla="*/ 32347 w 29872"/>
                <a:gd name="connsiteY5" fmla="*/ 0 h 29872"/>
                <a:gd name="connsiteX6" fmla="*/ 23386 w 29872"/>
                <a:gd name="connsiteY6" fmla="*/ 11949 h 29872"/>
                <a:gd name="connsiteX7" fmla="*/ 2475 w 29872"/>
                <a:gd name="connsiteY7" fmla="*/ 29873 h 29872"/>
                <a:gd name="connsiteX8" fmla="*/ 981 w 29872"/>
                <a:gd name="connsiteY8" fmla="*/ 3286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72" h="29872">
                  <a:moveTo>
                    <a:pt x="981" y="32860"/>
                  </a:moveTo>
                  <a:cubicBezTo>
                    <a:pt x="981" y="32860"/>
                    <a:pt x="981" y="34354"/>
                    <a:pt x="981" y="32860"/>
                  </a:cubicBezTo>
                  <a:cubicBezTo>
                    <a:pt x="2475" y="32860"/>
                    <a:pt x="3968" y="32860"/>
                    <a:pt x="3968" y="32860"/>
                  </a:cubicBezTo>
                  <a:lnTo>
                    <a:pt x="24879" y="14936"/>
                  </a:lnTo>
                  <a:cubicBezTo>
                    <a:pt x="29360" y="11949"/>
                    <a:pt x="33841" y="7468"/>
                    <a:pt x="35335" y="1494"/>
                  </a:cubicBezTo>
                  <a:cubicBezTo>
                    <a:pt x="33841" y="1494"/>
                    <a:pt x="32347" y="0"/>
                    <a:pt x="32347" y="0"/>
                  </a:cubicBezTo>
                  <a:cubicBezTo>
                    <a:pt x="30854" y="4481"/>
                    <a:pt x="27867" y="8962"/>
                    <a:pt x="23386" y="11949"/>
                  </a:cubicBezTo>
                  <a:lnTo>
                    <a:pt x="2475" y="29873"/>
                  </a:lnTo>
                  <a:cubicBezTo>
                    <a:pt x="-513" y="31366"/>
                    <a:pt x="-513" y="32860"/>
                    <a:pt x="981" y="32860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7" name="任意多边形: 形状 10596"/>
            <p:cNvSpPr/>
            <p:nvPr/>
          </p:nvSpPr>
          <p:spPr>
            <a:xfrm>
              <a:off x="7201884" y="1005275"/>
              <a:ext cx="14936" cy="14936"/>
            </a:xfrm>
            <a:custGeom>
              <a:avLst/>
              <a:gdLst>
                <a:gd name="connsiteX0" fmla="*/ 10455 w 0"/>
                <a:gd name="connsiteY0" fmla="*/ 10455 h 0"/>
                <a:gd name="connsiteX1" fmla="*/ 11949 w 0"/>
                <a:gd name="connsiteY1" fmla="*/ 8962 h 0"/>
                <a:gd name="connsiteX2" fmla="*/ 11949 w 0"/>
                <a:gd name="connsiteY2" fmla="*/ 5975 h 0"/>
                <a:gd name="connsiteX3" fmla="*/ 2987 w 0"/>
                <a:gd name="connsiteY3" fmla="*/ 0 h 0"/>
                <a:gd name="connsiteX4" fmla="*/ 0 w 0"/>
                <a:gd name="connsiteY4" fmla="*/ 0 h 0"/>
                <a:gd name="connsiteX5" fmla="*/ 0 w 0"/>
                <a:gd name="connsiteY5" fmla="*/ 2987 h 0"/>
                <a:gd name="connsiteX6" fmla="*/ 10455 w 0"/>
                <a:gd name="connsiteY6" fmla="*/ 10455 h 0"/>
                <a:gd name="connsiteX7" fmla="*/ 10455 w 0"/>
                <a:gd name="connsiteY7" fmla="*/ 1045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0455" y="10455"/>
                  </a:moveTo>
                  <a:cubicBezTo>
                    <a:pt x="10455" y="10455"/>
                    <a:pt x="11949" y="10455"/>
                    <a:pt x="11949" y="8962"/>
                  </a:cubicBezTo>
                  <a:cubicBezTo>
                    <a:pt x="11949" y="7468"/>
                    <a:pt x="11949" y="7468"/>
                    <a:pt x="11949" y="5975"/>
                  </a:cubicBezTo>
                  <a:lnTo>
                    <a:pt x="2987" y="0"/>
                  </a:lnTo>
                  <a:cubicBezTo>
                    <a:pt x="1493" y="0"/>
                    <a:pt x="1493" y="0"/>
                    <a:pt x="0" y="0"/>
                  </a:cubicBezTo>
                  <a:cubicBezTo>
                    <a:pt x="0" y="1494"/>
                    <a:pt x="0" y="1494"/>
                    <a:pt x="0" y="2987"/>
                  </a:cubicBezTo>
                  <a:lnTo>
                    <a:pt x="10455" y="10455"/>
                  </a:lnTo>
                  <a:cubicBezTo>
                    <a:pt x="8962" y="10455"/>
                    <a:pt x="8962" y="10455"/>
                    <a:pt x="10455" y="10455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8" name="任意多边形: 形状 10597"/>
            <p:cNvSpPr/>
            <p:nvPr/>
          </p:nvSpPr>
          <p:spPr>
            <a:xfrm>
              <a:off x="7194415" y="1011250"/>
              <a:ext cx="14936" cy="14936"/>
            </a:xfrm>
            <a:custGeom>
              <a:avLst/>
              <a:gdLst>
                <a:gd name="connsiteX0" fmla="*/ 11949 w 0"/>
                <a:gd name="connsiteY0" fmla="*/ 10455 h 0"/>
                <a:gd name="connsiteX1" fmla="*/ 13443 w 0"/>
                <a:gd name="connsiteY1" fmla="*/ 8962 h 0"/>
                <a:gd name="connsiteX2" fmla="*/ 13443 w 0"/>
                <a:gd name="connsiteY2" fmla="*/ 5975 h 0"/>
                <a:gd name="connsiteX3" fmla="*/ 2987 w 0"/>
                <a:gd name="connsiteY3" fmla="*/ 0 h 0"/>
                <a:gd name="connsiteX4" fmla="*/ 0 w 0"/>
                <a:gd name="connsiteY4" fmla="*/ 0 h 0"/>
                <a:gd name="connsiteX5" fmla="*/ 0 w 0"/>
                <a:gd name="connsiteY5" fmla="*/ 2987 h 0"/>
                <a:gd name="connsiteX6" fmla="*/ 11949 w 0"/>
                <a:gd name="connsiteY6" fmla="*/ 10455 h 0"/>
                <a:gd name="connsiteX7" fmla="*/ 11949 w 0"/>
                <a:gd name="connsiteY7" fmla="*/ 1045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1949" y="10455"/>
                  </a:moveTo>
                  <a:cubicBezTo>
                    <a:pt x="11949" y="10455"/>
                    <a:pt x="13443" y="10455"/>
                    <a:pt x="13443" y="8962"/>
                  </a:cubicBezTo>
                  <a:cubicBezTo>
                    <a:pt x="13443" y="7468"/>
                    <a:pt x="13443" y="7468"/>
                    <a:pt x="13443" y="5975"/>
                  </a:cubicBezTo>
                  <a:lnTo>
                    <a:pt x="2987" y="0"/>
                  </a:lnTo>
                  <a:cubicBezTo>
                    <a:pt x="1493" y="0"/>
                    <a:pt x="1493" y="0"/>
                    <a:pt x="0" y="0"/>
                  </a:cubicBezTo>
                  <a:cubicBezTo>
                    <a:pt x="0" y="1494"/>
                    <a:pt x="0" y="1494"/>
                    <a:pt x="0" y="2987"/>
                  </a:cubicBezTo>
                  <a:lnTo>
                    <a:pt x="11949" y="10455"/>
                  </a:lnTo>
                  <a:cubicBezTo>
                    <a:pt x="10455" y="10455"/>
                    <a:pt x="11949" y="10455"/>
                    <a:pt x="11949" y="10455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9" name="任意多边形: 形状 10598"/>
            <p:cNvSpPr/>
            <p:nvPr/>
          </p:nvSpPr>
          <p:spPr>
            <a:xfrm>
              <a:off x="7186947" y="1017224"/>
              <a:ext cx="14936" cy="14936"/>
            </a:xfrm>
            <a:custGeom>
              <a:avLst/>
              <a:gdLst>
                <a:gd name="connsiteX0" fmla="*/ 11949 w 0"/>
                <a:gd name="connsiteY0" fmla="*/ 10455 h 0"/>
                <a:gd name="connsiteX1" fmla="*/ 13443 w 0"/>
                <a:gd name="connsiteY1" fmla="*/ 8962 h 0"/>
                <a:gd name="connsiteX2" fmla="*/ 13443 w 0"/>
                <a:gd name="connsiteY2" fmla="*/ 5975 h 0"/>
                <a:gd name="connsiteX3" fmla="*/ 2987 w 0"/>
                <a:gd name="connsiteY3" fmla="*/ 0 h 0"/>
                <a:gd name="connsiteX4" fmla="*/ 0 w 0"/>
                <a:gd name="connsiteY4" fmla="*/ 0 h 0"/>
                <a:gd name="connsiteX5" fmla="*/ 0 w 0"/>
                <a:gd name="connsiteY5" fmla="*/ 2987 h 0"/>
                <a:gd name="connsiteX6" fmla="*/ 11949 w 0"/>
                <a:gd name="connsiteY6" fmla="*/ 10455 h 0"/>
                <a:gd name="connsiteX7" fmla="*/ 11949 w 0"/>
                <a:gd name="connsiteY7" fmla="*/ 1045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1949" y="10455"/>
                  </a:moveTo>
                  <a:cubicBezTo>
                    <a:pt x="11949" y="10455"/>
                    <a:pt x="13443" y="10455"/>
                    <a:pt x="13443" y="8962"/>
                  </a:cubicBezTo>
                  <a:cubicBezTo>
                    <a:pt x="13443" y="7468"/>
                    <a:pt x="13443" y="7468"/>
                    <a:pt x="13443" y="5975"/>
                  </a:cubicBezTo>
                  <a:lnTo>
                    <a:pt x="2987" y="0"/>
                  </a:lnTo>
                  <a:cubicBezTo>
                    <a:pt x="1493" y="0"/>
                    <a:pt x="1493" y="0"/>
                    <a:pt x="0" y="0"/>
                  </a:cubicBezTo>
                  <a:cubicBezTo>
                    <a:pt x="0" y="1494"/>
                    <a:pt x="0" y="1494"/>
                    <a:pt x="0" y="2987"/>
                  </a:cubicBezTo>
                  <a:lnTo>
                    <a:pt x="11949" y="10455"/>
                  </a:lnTo>
                  <a:cubicBezTo>
                    <a:pt x="11949" y="10455"/>
                    <a:pt x="11949" y="10455"/>
                    <a:pt x="11949" y="10455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0" name="任意多边形: 形状 10599"/>
            <p:cNvSpPr/>
            <p:nvPr/>
          </p:nvSpPr>
          <p:spPr>
            <a:xfrm>
              <a:off x="7182466" y="1023199"/>
              <a:ext cx="14936" cy="14936"/>
            </a:xfrm>
            <a:custGeom>
              <a:avLst/>
              <a:gdLst>
                <a:gd name="connsiteX0" fmla="*/ 10455 w 0"/>
                <a:gd name="connsiteY0" fmla="*/ 10455 h 0"/>
                <a:gd name="connsiteX1" fmla="*/ 11949 w 0"/>
                <a:gd name="connsiteY1" fmla="*/ 8962 h 0"/>
                <a:gd name="connsiteX2" fmla="*/ 11949 w 0"/>
                <a:gd name="connsiteY2" fmla="*/ 5975 h 0"/>
                <a:gd name="connsiteX3" fmla="*/ 2987 w 0"/>
                <a:gd name="connsiteY3" fmla="*/ 0 h 0"/>
                <a:gd name="connsiteX4" fmla="*/ 0 w 0"/>
                <a:gd name="connsiteY4" fmla="*/ 0 h 0"/>
                <a:gd name="connsiteX5" fmla="*/ 0 w 0"/>
                <a:gd name="connsiteY5" fmla="*/ 2987 h 0"/>
                <a:gd name="connsiteX6" fmla="*/ 10455 w 0"/>
                <a:gd name="connsiteY6" fmla="*/ 10455 h 0"/>
                <a:gd name="connsiteX7" fmla="*/ 10455 w 0"/>
                <a:gd name="connsiteY7" fmla="*/ 1045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0455" y="10455"/>
                  </a:moveTo>
                  <a:cubicBezTo>
                    <a:pt x="10455" y="10455"/>
                    <a:pt x="11949" y="10455"/>
                    <a:pt x="11949" y="8962"/>
                  </a:cubicBezTo>
                  <a:cubicBezTo>
                    <a:pt x="11949" y="7468"/>
                    <a:pt x="11949" y="7468"/>
                    <a:pt x="11949" y="5975"/>
                  </a:cubicBezTo>
                  <a:lnTo>
                    <a:pt x="2987" y="0"/>
                  </a:lnTo>
                  <a:cubicBezTo>
                    <a:pt x="1494" y="0"/>
                    <a:pt x="1494" y="0"/>
                    <a:pt x="0" y="0"/>
                  </a:cubicBezTo>
                  <a:cubicBezTo>
                    <a:pt x="0" y="1494"/>
                    <a:pt x="0" y="1494"/>
                    <a:pt x="0" y="2987"/>
                  </a:cubicBezTo>
                  <a:lnTo>
                    <a:pt x="10455" y="10455"/>
                  </a:lnTo>
                  <a:cubicBezTo>
                    <a:pt x="8962" y="10455"/>
                    <a:pt x="8962" y="10455"/>
                    <a:pt x="10455" y="10455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1" name="任意多边形: 形状 10600"/>
            <p:cNvSpPr/>
            <p:nvPr/>
          </p:nvSpPr>
          <p:spPr>
            <a:xfrm>
              <a:off x="7173314" y="636347"/>
              <a:ext cx="253918" cy="179236"/>
            </a:xfrm>
            <a:custGeom>
              <a:avLst/>
              <a:gdLst>
                <a:gd name="connsiteX0" fmla="*/ 190 w 253917"/>
                <a:gd name="connsiteY0" fmla="*/ 153844 h 179236"/>
                <a:gd name="connsiteX1" fmla="*/ 46493 w 253917"/>
                <a:gd name="connsiteY1" fmla="*/ 182223 h 179236"/>
                <a:gd name="connsiteX2" fmla="*/ 266058 w 253917"/>
                <a:gd name="connsiteY2" fmla="*/ 79163 h 179236"/>
                <a:gd name="connsiteX3" fmla="*/ 240666 w 253917"/>
                <a:gd name="connsiteY3" fmla="*/ 41822 h 179236"/>
                <a:gd name="connsiteX4" fmla="*/ 225729 w 253917"/>
                <a:gd name="connsiteY4" fmla="*/ 0 h 179236"/>
                <a:gd name="connsiteX5" fmla="*/ 190 w 253917"/>
                <a:gd name="connsiteY5" fmla="*/ 153844 h 17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917" h="179236">
                  <a:moveTo>
                    <a:pt x="190" y="153844"/>
                  </a:moveTo>
                  <a:lnTo>
                    <a:pt x="46493" y="182223"/>
                  </a:lnTo>
                  <a:lnTo>
                    <a:pt x="266058" y="79163"/>
                  </a:lnTo>
                  <a:cubicBezTo>
                    <a:pt x="276513" y="73188"/>
                    <a:pt x="240666" y="53771"/>
                    <a:pt x="240666" y="41822"/>
                  </a:cubicBezTo>
                  <a:lnTo>
                    <a:pt x="225729" y="0"/>
                  </a:lnTo>
                  <a:cubicBezTo>
                    <a:pt x="130137" y="50784"/>
                    <a:pt x="-5784" y="86631"/>
                    <a:pt x="190" y="153844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2" name="任意多边形: 形状 10601"/>
            <p:cNvSpPr/>
            <p:nvPr/>
          </p:nvSpPr>
          <p:spPr>
            <a:xfrm>
              <a:off x="7173246" y="760087"/>
              <a:ext cx="74682" cy="224045"/>
            </a:xfrm>
            <a:custGeom>
              <a:avLst/>
              <a:gdLst>
                <a:gd name="connsiteX0" fmla="*/ 86889 w 74681"/>
                <a:gd name="connsiteY0" fmla="*/ 228758 h 224045"/>
                <a:gd name="connsiteX1" fmla="*/ 80914 w 74681"/>
                <a:gd name="connsiteY1" fmla="*/ 31598 h 224045"/>
                <a:gd name="connsiteX2" fmla="*/ 62991 w 74681"/>
                <a:gd name="connsiteY2" fmla="*/ 10688 h 224045"/>
                <a:gd name="connsiteX3" fmla="*/ 28637 w 74681"/>
                <a:gd name="connsiteY3" fmla="*/ 232 h 224045"/>
                <a:gd name="connsiteX4" fmla="*/ 258 w 74681"/>
                <a:gd name="connsiteY4" fmla="*/ 28611 h 224045"/>
                <a:gd name="connsiteX5" fmla="*/ 22663 w 74681"/>
                <a:gd name="connsiteY5" fmla="*/ 230252 h 224045"/>
                <a:gd name="connsiteX6" fmla="*/ 54029 w 74681"/>
                <a:gd name="connsiteY6" fmla="*/ 233239 h 224045"/>
                <a:gd name="connsiteX7" fmla="*/ 86889 w 74681"/>
                <a:gd name="connsiteY7" fmla="*/ 228758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224045">
                  <a:moveTo>
                    <a:pt x="86889" y="228758"/>
                  </a:moveTo>
                  <a:cubicBezTo>
                    <a:pt x="86889" y="170506"/>
                    <a:pt x="85395" y="39067"/>
                    <a:pt x="80914" y="31598"/>
                  </a:cubicBezTo>
                  <a:cubicBezTo>
                    <a:pt x="76434" y="24130"/>
                    <a:pt x="70459" y="15168"/>
                    <a:pt x="62991" y="10688"/>
                  </a:cubicBezTo>
                  <a:cubicBezTo>
                    <a:pt x="52535" y="4713"/>
                    <a:pt x="40586" y="-1261"/>
                    <a:pt x="28637" y="232"/>
                  </a:cubicBezTo>
                  <a:cubicBezTo>
                    <a:pt x="13701" y="3219"/>
                    <a:pt x="3246" y="13675"/>
                    <a:pt x="258" y="28611"/>
                  </a:cubicBezTo>
                  <a:cubicBezTo>
                    <a:pt x="-2729" y="43548"/>
                    <a:pt x="21169" y="222784"/>
                    <a:pt x="22663" y="230252"/>
                  </a:cubicBezTo>
                  <a:cubicBezTo>
                    <a:pt x="25650" y="237720"/>
                    <a:pt x="45067" y="230252"/>
                    <a:pt x="54029" y="233239"/>
                  </a:cubicBezTo>
                  <a:lnTo>
                    <a:pt x="86889" y="228758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3" name="任意多边形: 形状 10602"/>
            <p:cNvSpPr/>
            <p:nvPr/>
          </p:nvSpPr>
          <p:spPr>
            <a:xfrm>
              <a:off x="7196621" y="971093"/>
              <a:ext cx="59745" cy="29873"/>
            </a:xfrm>
            <a:custGeom>
              <a:avLst/>
              <a:gdLst>
                <a:gd name="connsiteX0" fmla="*/ 9744 w 59745"/>
                <a:gd name="connsiteY0" fmla="*/ 4310 h 29872"/>
                <a:gd name="connsiteX1" fmla="*/ 8250 w 59745"/>
                <a:gd name="connsiteY1" fmla="*/ 29702 h 29872"/>
                <a:gd name="connsiteX2" fmla="*/ 53059 w 59745"/>
                <a:gd name="connsiteY2" fmla="*/ 31195 h 29872"/>
                <a:gd name="connsiteX3" fmla="*/ 54553 w 59745"/>
                <a:gd name="connsiteY3" fmla="*/ 5803 h 29872"/>
                <a:gd name="connsiteX4" fmla="*/ 9744 w 59745"/>
                <a:gd name="connsiteY4" fmla="*/ 431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45" h="29872">
                  <a:moveTo>
                    <a:pt x="9744" y="4310"/>
                  </a:moveTo>
                  <a:cubicBezTo>
                    <a:pt x="-2205" y="10284"/>
                    <a:pt x="-3699" y="22233"/>
                    <a:pt x="8250" y="29702"/>
                  </a:cubicBezTo>
                  <a:cubicBezTo>
                    <a:pt x="20199" y="37170"/>
                    <a:pt x="39616" y="38663"/>
                    <a:pt x="53059" y="31195"/>
                  </a:cubicBezTo>
                  <a:cubicBezTo>
                    <a:pt x="65008" y="25221"/>
                    <a:pt x="66502" y="13272"/>
                    <a:pt x="54553" y="5803"/>
                  </a:cubicBezTo>
                  <a:cubicBezTo>
                    <a:pt x="42604" y="-1665"/>
                    <a:pt x="21693" y="-1665"/>
                    <a:pt x="9744" y="4310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4" name="任意多边形: 形状 10603"/>
            <p:cNvSpPr/>
            <p:nvPr/>
          </p:nvSpPr>
          <p:spPr>
            <a:xfrm>
              <a:off x="7294489" y="709535"/>
              <a:ext cx="59745" cy="59745"/>
            </a:xfrm>
            <a:custGeom>
              <a:avLst/>
              <a:gdLst>
                <a:gd name="connsiteX0" fmla="*/ 0 w 59745"/>
                <a:gd name="connsiteY0" fmla="*/ 68707 h 59745"/>
                <a:gd name="connsiteX1" fmla="*/ 59745 w 59745"/>
                <a:gd name="connsiteY1" fmla="*/ 31366 h 59745"/>
                <a:gd name="connsiteX2" fmla="*/ 35847 w 59745"/>
                <a:gd name="connsiteY2" fmla="*/ 0 h 59745"/>
                <a:gd name="connsiteX3" fmla="*/ 31366 w 59745"/>
                <a:gd name="connsiteY3" fmla="*/ 32860 h 59745"/>
                <a:gd name="connsiteX4" fmla="*/ 0 w 59745"/>
                <a:gd name="connsiteY4" fmla="*/ 68707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45" h="59745">
                  <a:moveTo>
                    <a:pt x="0" y="68707"/>
                  </a:moveTo>
                  <a:cubicBezTo>
                    <a:pt x="16430" y="55264"/>
                    <a:pt x="37341" y="43315"/>
                    <a:pt x="59745" y="31366"/>
                  </a:cubicBezTo>
                  <a:cubicBezTo>
                    <a:pt x="46303" y="25392"/>
                    <a:pt x="40328" y="17924"/>
                    <a:pt x="35847" y="0"/>
                  </a:cubicBezTo>
                  <a:cubicBezTo>
                    <a:pt x="37341" y="11949"/>
                    <a:pt x="37341" y="20911"/>
                    <a:pt x="31366" y="32860"/>
                  </a:cubicBezTo>
                  <a:cubicBezTo>
                    <a:pt x="26885" y="46303"/>
                    <a:pt x="5974" y="53771"/>
                    <a:pt x="0" y="68707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5" name="任意多边形: 形状 10604"/>
            <p:cNvSpPr/>
            <p:nvPr/>
          </p:nvSpPr>
          <p:spPr>
            <a:xfrm>
              <a:off x="7312865" y="402300"/>
              <a:ext cx="89618" cy="164300"/>
            </a:xfrm>
            <a:custGeom>
              <a:avLst/>
              <a:gdLst>
                <a:gd name="connsiteX0" fmla="*/ 1041 w 89618"/>
                <a:gd name="connsiteY0" fmla="*/ 136961 h 164299"/>
                <a:gd name="connsiteX1" fmla="*/ 23445 w 89618"/>
                <a:gd name="connsiteY1" fmla="*/ 174302 h 164299"/>
                <a:gd name="connsiteX2" fmla="*/ 23445 w 89618"/>
                <a:gd name="connsiteY2" fmla="*/ 174302 h 164299"/>
                <a:gd name="connsiteX3" fmla="*/ 60786 w 89618"/>
                <a:gd name="connsiteY3" fmla="*/ 151898 h 164299"/>
                <a:gd name="connsiteX4" fmla="*/ 89165 w 89618"/>
                <a:gd name="connsiteY4" fmla="*/ 38382 h 164299"/>
                <a:gd name="connsiteX5" fmla="*/ 66761 w 89618"/>
                <a:gd name="connsiteY5" fmla="*/ 1041 h 164299"/>
                <a:gd name="connsiteX6" fmla="*/ 66761 w 89618"/>
                <a:gd name="connsiteY6" fmla="*/ 1041 h 164299"/>
                <a:gd name="connsiteX7" fmla="*/ 29420 w 89618"/>
                <a:gd name="connsiteY7" fmla="*/ 23445 h 164299"/>
                <a:gd name="connsiteX8" fmla="*/ 1041 w 89618"/>
                <a:gd name="connsiteY8" fmla="*/ 136961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164299">
                  <a:moveTo>
                    <a:pt x="1041" y="136961"/>
                  </a:moveTo>
                  <a:cubicBezTo>
                    <a:pt x="-3440" y="153391"/>
                    <a:pt x="7015" y="169821"/>
                    <a:pt x="23445" y="174302"/>
                  </a:cubicBezTo>
                  <a:lnTo>
                    <a:pt x="23445" y="174302"/>
                  </a:lnTo>
                  <a:cubicBezTo>
                    <a:pt x="39875" y="178783"/>
                    <a:pt x="56305" y="168328"/>
                    <a:pt x="60786" y="151898"/>
                  </a:cubicBezTo>
                  <a:lnTo>
                    <a:pt x="89165" y="38382"/>
                  </a:lnTo>
                  <a:cubicBezTo>
                    <a:pt x="93646" y="21952"/>
                    <a:pt x="83191" y="5522"/>
                    <a:pt x="66761" y="1041"/>
                  </a:cubicBezTo>
                  <a:lnTo>
                    <a:pt x="66761" y="1041"/>
                  </a:lnTo>
                  <a:cubicBezTo>
                    <a:pt x="50331" y="-3440"/>
                    <a:pt x="33901" y="7015"/>
                    <a:pt x="29420" y="23445"/>
                  </a:cubicBezTo>
                  <a:lnTo>
                    <a:pt x="1041" y="136961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6" name="任意多边形: 形状 10605"/>
            <p:cNvSpPr/>
            <p:nvPr/>
          </p:nvSpPr>
          <p:spPr>
            <a:xfrm>
              <a:off x="7252667" y="516215"/>
              <a:ext cx="104554" cy="134427"/>
            </a:xfrm>
            <a:custGeom>
              <a:avLst/>
              <a:gdLst>
                <a:gd name="connsiteX0" fmla="*/ 10455 w 104554"/>
                <a:gd name="connsiteY0" fmla="*/ 109677 h 134427"/>
                <a:gd name="connsiteX1" fmla="*/ 0 w 104554"/>
                <a:gd name="connsiteY1" fmla="*/ 129094 h 134427"/>
                <a:gd name="connsiteX2" fmla="*/ 29873 w 104554"/>
                <a:gd name="connsiteY2" fmla="*/ 147018 h 134427"/>
                <a:gd name="connsiteX3" fmla="*/ 41822 w 104554"/>
                <a:gd name="connsiteY3" fmla="*/ 132082 h 134427"/>
                <a:gd name="connsiteX4" fmla="*/ 113516 w 104554"/>
                <a:gd name="connsiteY4" fmla="*/ 46944 h 134427"/>
                <a:gd name="connsiteX5" fmla="*/ 106048 w 104554"/>
                <a:gd name="connsiteY5" fmla="*/ 5123 h 134427"/>
                <a:gd name="connsiteX6" fmla="*/ 106048 w 104554"/>
                <a:gd name="connsiteY6" fmla="*/ 5123 h 134427"/>
                <a:gd name="connsiteX7" fmla="*/ 64226 w 104554"/>
                <a:gd name="connsiteY7" fmla="*/ 12591 h 134427"/>
                <a:gd name="connsiteX8" fmla="*/ 10455 w 104554"/>
                <a:gd name="connsiteY8" fmla="*/ 109677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554" h="134427">
                  <a:moveTo>
                    <a:pt x="10455" y="109677"/>
                  </a:moveTo>
                  <a:cubicBezTo>
                    <a:pt x="2987" y="118639"/>
                    <a:pt x="0" y="124613"/>
                    <a:pt x="0" y="129094"/>
                  </a:cubicBezTo>
                  <a:cubicBezTo>
                    <a:pt x="0" y="135069"/>
                    <a:pt x="23898" y="151499"/>
                    <a:pt x="29873" y="147018"/>
                  </a:cubicBezTo>
                  <a:cubicBezTo>
                    <a:pt x="34354" y="144031"/>
                    <a:pt x="37341" y="138056"/>
                    <a:pt x="41822" y="132082"/>
                  </a:cubicBezTo>
                  <a:lnTo>
                    <a:pt x="113516" y="46944"/>
                  </a:lnTo>
                  <a:cubicBezTo>
                    <a:pt x="122478" y="33502"/>
                    <a:pt x="119491" y="14085"/>
                    <a:pt x="106048" y="5123"/>
                  </a:cubicBezTo>
                  <a:lnTo>
                    <a:pt x="106048" y="5123"/>
                  </a:lnTo>
                  <a:cubicBezTo>
                    <a:pt x="92605" y="-3839"/>
                    <a:pt x="73188" y="-852"/>
                    <a:pt x="64226" y="12591"/>
                  </a:cubicBezTo>
                  <a:lnTo>
                    <a:pt x="10455" y="109677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7" name="任意多边形: 形状 10606"/>
            <p:cNvSpPr/>
            <p:nvPr/>
          </p:nvSpPr>
          <p:spPr>
            <a:xfrm>
              <a:off x="7345223" y="639335"/>
              <a:ext cx="134427" cy="74682"/>
            </a:xfrm>
            <a:custGeom>
              <a:avLst/>
              <a:gdLst>
                <a:gd name="connsiteX0" fmla="*/ 138958 w 134427"/>
                <a:gd name="connsiteY0" fmla="*/ 77669 h 74681"/>
                <a:gd name="connsiteX1" fmla="*/ 101617 w 134427"/>
                <a:gd name="connsiteY1" fmla="*/ 82150 h 74681"/>
                <a:gd name="connsiteX2" fmla="*/ 65769 w 134427"/>
                <a:gd name="connsiteY2" fmla="*/ 68707 h 74681"/>
                <a:gd name="connsiteX3" fmla="*/ 11998 w 134427"/>
                <a:gd name="connsiteY3" fmla="*/ 35847 h 74681"/>
                <a:gd name="connsiteX4" fmla="*/ 1543 w 134427"/>
                <a:gd name="connsiteY4" fmla="*/ 2987 h 74681"/>
                <a:gd name="connsiteX5" fmla="*/ 3037 w 134427"/>
                <a:gd name="connsiteY5" fmla="*/ 0 h 74681"/>
                <a:gd name="connsiteX6" fmla="*/ 55314 w 134427"/>
                <a:gd name="connsiteY6" fmla="*/ 34354 h 74681"/>
                <a:gd name="connsiteX7" fmla="*/ 68757 w 134427"/>
                <a:gd name="connsiteY7" fmla="*/ 40328 h 74681"/>
                <a:gd name="connsiteX8" fmla="*/ 132983 w 134427"/>
                <a:gd name="connsiteY8" fmla="*/ 49290 h 74681"/>
                <a:gd name="connsiteX9" fmla="*/ 138958 w 134427"/>
                <a:gd name="connsiteY9" fmla="*/ 77669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4427" h="74681">
                  <a:moveTo>
                    <a:pt x="138958" y="77669"/>
                  </a:moveTo>
                  <a:cubicBezTo>
                    <a:pt x="128502" y="83643"/>
                    <a:pt x="115059" y="85137"/>
                    <a:pt x="101617" y="82150"/>
                  </a:cubicBezTo>
                  <a:cubicBezTo>
                    <a:pt x="89667" y="79163"/>
                    <a:pt x="77718" y="74682"/>
                    <a:pt x="65769" y="68707"/>
                  </a:cubicBezTo>
                  <a:cubicBezTo>
                    <a:pt x="46352" y="59745"/>
                    <a:pt x="28428" y="47796"/>
                    <a:pt x="11998" y="35847"/>
                  </a:cubicBezTo>
                  <a:cubicBezTo>
                    <a:pt x="-5925" y="22405"/>
                    <a:pt x="1543" y="2987"/>
                    <a:pt x="1543" y="2987"/>
                  </a:cubicBezTo>
                  <a:lnTo>
                    <a:pt x="3037" y="0"/>
                  </a:lnTo>
                  <a:cubicBezTo>
                    <a:pt x="20960" y="16430"/>
                    <a:pt x="34403" y="23898"/>
                    <a:pt x="55314" y="34354"/>
                  </a:cubicBezTo>
                  <a:cubicBezTo>
                    <a:pt x="59795" y="37341"/>
                    <a:pt x="64276" y="38834"/>
                    <a:pt x="68757" y="40328"/>
                  </a:cubicBezTo>
                  <a:cubicBezTo>
                    <a:pt x="89667" y="49290"/>
                    <a:pt x="110578" y="53771"/>
                    <a:pt x="132983" y="49290"/>
                  </a:cubicBezTo>
                  <a:cubicBezTo>
                    <a:pt x="134476" y="59745"/>
                    <a:pt x="137464" y="68707"/>
                    <a:pt x="138958" y="77669"/>
                  </a:cubicBez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8" name="任意多边形: 形状 10607"/>
            <p:cNvSpPr/>
            <p:nvPr/>
          </p:nvSpPr>
          <p:spPr>
            <a:xfrm>
              <a:off x="7334817" y="396940"/>
              <a:ext cx="179236" cy="298727"/>
            </a:xfrm>
            <a:custGeom>
              <a:avLst/>
              <a:gdLst>
                <a:gd name="connsiteX0" fmla="*/ 179236 w 179236"/>
                <a:gd name="connsiteY0" fmla="*/ 72121 h 298726"/>
                <a:gd name="connsiteX1" fmla="*/ 174755 w 179236"/>
                <a:gd name="connsiteY1" fmla="*/ 245382 h 298726"/>
                <a:gd name="connsiteX2" fmla="*/ 174755 w 179236"/>
                <a:gd name="connsiteY2" fmla="*/ 248369 h 298726"/>
                <a:gd name="connsiteX3" fmla="*/ 126959 w 179236"/>
                <a:gd name="connsiteY3" fmla="*/ 306621 h 298726"/>
                <a:gd name="connsiteX4" fmla="*/ 85137 w 179236"/>
                <a:gd name="connsiteY4" fmla="*/ 299153 h 298726"/>
                <a:gd name="connsiteX5" fmla="*/ 79163 w 179236"/>
                <a:gd name="connsiteY5" fmla="*/ 296166 h 298726"/>
                <a:gd name="connsiteX6" fmla="*/ 52277 w 179236"/>
                <a:gd name="connsiteY6" fmla="*/ 281229 h 298726"/>
                <a:gd name="connsiteX7" fmla="*/ 49290 w 179236"/>
                <a:gd name="connsiteY7" fmla="*/ 279736 h 298726"/>
                <a:gd name="connsiteX8" fmla="*/ 34354 w 179236"/>
                <a:gd name="connsiteY8" fmla="*/ 270774 h 298726"/>
                <a:gd name="connsiteX9" fmla="*/ 29873 w 179236"/>
                <a:gd name="connsiteY9" fmla="*/ 269280 h 298726"/>
                <a:gd name="connsiteX10" fmla="*/ 0 w 179236"/>
                <a:gd name="connsiteY10" fmla="*/ 218497 h 298726"/>
                <a:gd name="connsiteX11" fmla="*/ 1494 w 179236"/>
                <a:gd name="connsiteY11" fmla="*/ 203560 h 298726"/>
                <a:gd name="connsiteX12" fmla="*/ 2987 w 179236"/>
                <a:gd name="connsiteY12" fmla="*/ 173688 h 298726"/>
                <a:gd name="connsiteX13" fmla="*/ 8962 w 179236"/>
                <a:gd name="connsiteY13" fmla="*/ 107968 h 298726"/>
                <a:gd name="connsiteX14" fmla="*/ 8962 w 179236"/>
                <a:gd name="connsiteY14" fmla="*/ 101993 h 298726"/>
                <a:gd name="connsiteX15" fmla="*/ 10455 w 179236"/>
                <a:gd name="connsiteY15" fmla="*/ 76601 h 298726"/>
                <a:gd name="connsiteX16" fmla="*/ 11949 w 179236"/>
                <a:gd name="connsiteY16" fmla="*/ 57184 h 298726"/>
                <a:gd name="connsiteX17" fmla="*/ 56758 w 179236"/>
                <a:gd name="connsiteY17" fmla="*/ 3413 h 298726"/>
                <a:gd name="connsiteX18" fmla="*/ 115010 w 179236"/>
                <a:gd name="connsiteY18" fmla="*/ 10882 h 298726"/>
                <a:gd name="connsiteX19" fmla="*/ 179236 w 179236"/>
                <a:gd name="connsiteY19" fmla="*/ 72121 h 29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9236" h="298726">
                  <a:moveTo>
                    <a:pt x="179236" y="72121"/>
                  </a:moveTo>
                  <a:lnTo>
                    <a:pt x="174755" y="245382"/>
                  </a:lnTo>
                  <a:lnTo>
                    <a:pt x="174755" y="248369"/>
                  </a:lnTo>
                  <a:cubicBezTo>
                    <a:pt x="174755" y="278242"/>
                    <a:pt x="153844" y="300647"/>
                    <a:pt x="126959" y="306621"/>
                  </a:cubicBezTo>
                  <a:cubicBezTo>
                    <a:pt x="113516" y="309608"/>
                    <a:pt x="98580" y="308115"/>
                    <a:pt x="85137" y="299153"/>
                  </a:cubicBezTo>
                  <a:lnTo>
                    <a:pt x="79163" y="296166"/>
                  </a:lnTo>
                  <a:lnTo>
                    <a:pt x="52277" y="281229"/>
                  </a:lnTo>
                  <a:lnTo>
                    <a:pt x="49290" y="279736"/>
                  </a:lnTo>
                  <a:lnTo>
                    <a:pt x="34354" y="270774"/>
                  </a:lnTo>
                  <a:lnTo>
                    <a:pt x="29873" y="269280"/>
                  </a:lnTo>
                  <a:cubicBezTo>
                    <a:pt x="11949" y="258825"/>
                    <a:pt x="0" y="239408"/>
                    <a:pt x="0" y="218497"/>
                  </a:cubicBezTo>
                  <a:lnTo>
                    <a:pt x="1494" y="203560"/>
                  </a:lnTo>
                  <a:lnTo>
                    <a:pt x="2987" y="173688"/>
                  </a:lnTo>
                  <a:lnTo>
                    <a:pt x="8962" y="107968"/>
                  </a:lnTo>
                  <a:lnTo>
                    <a:pt x="8962" y="101993"/>
                  </a:lnTo>
                  <a:lnTo>
                    <a:pt x="10455" y="76601"/>
                  </a:lnTo>
                  <a:cubicBezTo>
                    <a:pt x="10455" y="69133"/>
                    <a:pt x="10455" y="63159"/>
                    <a:pt x="11949" y="57184"/>
                  </a:cubicBezTo>
                  <a:cubicBezTo>
                    <a:pt x="17924" y="30299"/>
                    <a:pt x="35847" y="10882"/>
                    <a:pt x="56758" y="3413"/>
                  </a:cubicBezTo>
                  <a:cubicBezTo>
                    <a:pt x="74682" y="-2561"/>
                    <a:pt x="95593" y="-1068"/>
                    <a:pt x="115010" y="10882"/>
                  </a:cubicBezTo>
                  <a:cubicBezTo>
                    <a:pt x="144882" y="27312"/>
                    <a:pt x="165793" y="48222"/>
                    <a:pt x="179236" y="72121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9" name="任意多边形: 形状 10608"/>
            <p:cNvSpPr/>
            <p:nvPr/>
          </p:nvSpPr>
          <p:spPr>
            <a:xfrm>
              <a:off x="7412486" y="488478"/>
              <a:ext cx="89618" cy="209109"/>
            </a:xfrm>
            <a:custGeom>
              <a:avLst/>
              <a:gdLst>
                <a:gd name="connsiteX0" fmla="*/ 95593 w 89618"/>
                <a:gd name="connsiteY0" fmla="*/ 152351 h 209108"/>
                <a:gd name="connsiteX1" fmla="*/ 95593 w 89618"/>
                <a:gd name="connsiteY1" fmla="*/ 155338 h 209108"/>
                <a:gd name="connsiteX2" fmla="*/ 47796 w 89618"/>
                <a:gd name="connsiteY2" fmla="*/ 213590 h 209108"/>
                <a:gd name="connsiteX3" fmla="*/ 5975 w 89618"/>
                <a:gd name="connsiteY3" fmla="*/ 206122 h 209108"/>
                <a:gd name="connsiteX4" fmla="*/ 0 w 89618"/>
                <a:gd name="connsiteY4" fmla="*/ 203134 h 209108"/>
                <a:gd name="connsiteX5" fmla="*/ 38835 w 89618"/>
                <a:gd name="connsiteY5" fmla="*/ 132933 h 209108"/>
                <a:gd name="connsiteX6" fmla="*/ 43315 w 89618"/>
                <a:gd name="connsiteY6" fmla="*/ 110529 h 209108"/>
                <a:gd name="connsiteX7" fmla="*/ 44809 w 89618"/>
                <a:gd name="connsiteY7" fmla="*/ 91112 h 209108"/>
                <a:gd name="connsiteX8" fmla="*/ 49290 w 89618"/>
                <a:gd name="connsiteY8" fmla="*/ 0 h 209108"/>
                <a:gd name="connsiteX9" fmla="*/ 56758 w 89618"/>
                <a:gd name="connsiteY9" fmla="*/ 19417 h 209108"/>
                <a:gd name="connsiteX10" fmla="*/ 65720 w 89618"/>
                <a:gd name="connsiteY10" fmla="*/ 64226 h 209108"/>
                <a:gd name="connsiteX11" fmla="*/ 71695 w 89618"/>
                <a:gd name="connsiteY11" fmla="*/ 104554 h 209108"/>
                <a:gd name="connsiteX12" fmla="*/ 91112 w 89618"/>
                <a:gd name="connsiteY12" fmla="*/ 134427 h 209108"/>
                <a:gd name="connsiteX13" fmla="*/ 95593 w 89618"/>
                <a:gd name="connsiteY13" fmla="*/ 152351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618" h="209108">
                  <a:moveTo>
                    <a:pt x="95593" y="152351"/>
                  </a:moveTo>
                  <a:lnTo>
                    <a:pt x="95593" y="155338"/>
                  </a:lnTo>
                  <a:cubicBezTo>
                    <a:pt x="95593" y="185211"/>
                    <a:pt x="74682" y="207615"/>
                    <a:pt x="47796" y="213590"/>
                  </a:cubicBezTo>
                  <a:cubicBezTo>
                    <a:pt x="34354" y="216577"/>
                    <a:pt x="19418" y="215083"/>
                    <a:pt x="5975" y="206122"/>
                  </a:cubicBezTo>
                  <a:lnTo>
                    <a:pt x="0" y="203134"/>
                  </a:lnTo>
                  <a:cubicBezTo>
                    <a:pt x="25392" y="189692"/>
                    <a:pt x="32860" y="155338"/>
                    <a:pt x="38835" y="132933"/>
                  </a:cubicBezTo>
                  <a:cubicBezTo>
                    <a:pt x="40328" y="125465"/>
                    <a:pt x="43315" y="117997"/>
                    <a:pt x="43315" y="110529"/>
                  </a:cubicBezTo>
                  <a:cubicBezTo>
                    <a:pt x="44809" y="104554"/>
                    <a:pt x="44809" y="97086"/>
                    <a:pt x="44809" y="91112"/>
                  </a:cubicBezTo>
                  <a:cubicBezTo>
                    <a:pt x="46303" y="61239"/>
                    <a:pt x="47796" y="29873"/>
                    <a:pt x="49290" y="0"/>
                  </a:cubicBezTo>
                  <a:cubicBezTo>
                    <a:pt x="53771" y="5975"/>
                    <a:pt x="53771" y="11949"/>
                    <a:pt x="56758" y="19417"/>
                  </a:cubicBezTo>
                  <a:cubicBezTo>
                    <a:pt x="59745" y="34354"/>
                    <a:pt x="62733" y="49290"/>
                    <a:pt x="65720" y="64226"/>
                  </a:cubicBezTo>
                  <a:cubicBezTo>
                    <a:pt x="68707" y="77669"/>
                    <a:pt x="71695" y="91112"/>
                    <a:pt x="71695" y="104554"/>
                  </a:cubicBezTo>
                  <a:cubicBezTo>
                    <a:pt x="71695" y="116503"/>
                    <a:pt x="92606" y="123972"/>
                    <a:pt x="91112" y="134427"/>
                  </a:cubicBezTo>
                  <a:cubicBezTo>
                    <a:pt x="89618" y="143389"/>
                    <a:pt x="92606" y="149363"/>
                    <a:pt x="95593" y="152351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0" name="任意多边形: 形状 10609"/>
            <p:cNvSpPr/>
            <p:nvPr/>
          </p:nvSpPr>
          <p:spPr>
            <a:xfrm>
              <a:off x="7388588" y="472955"/>
              <a:ext cx="14936" cy="14936"/>
            </a:xfrm>
            <a:custGeom>
              <a:avLst/>
              <a:gdLst>
                <a:gd name="connsiteX0" fmla="*/ 0 w 0"/>
                <a:gd name="connsiteY0" fmla="*/ 3573 h 0"/>
                <a:gd name="connsiteX1" fmla="*/ 4481 w 0"/>
                <a:gd name="connsiteY1" fmla="*/ 11041 h 0"/>
                <a:gd name="connsiteX2" fmla="*/ 8962 w 0"/>
                <a:gd name="connsiteY2" fmla="*/ 8054 h 0"/>
                <a:gd name="connsiteX3" fmla="*/ 4481 w 0"/>
                <a:gd name="connsiteY3" fmla="*/ 586 h 0"/>
                <a:gd name="connsiteX4" fmla="*/ 0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573"/>
                  </a:moveTo>
                  <a:cubicBezTo>
                    <a:pt x="0" y="6560"/>
                    <a:pt x="1493" y="9548"/>
                    <a:pt x="4481" y="11041"/>
                  </a:cubicBezTo>
                  <a:cubicBezTo>
                    <a:pt x="7468" y="12535"/>
                    <a:pt x="8962" y="11041"/>
                    <a:pt x="8962" y="8054"/>
                  </a:cubicBezTo>
                  <a:cubicBezTo>
                    <a:pt x="8962" y="5067"/>
                    <a:pt x="7468" y="2080"/>
                    <a:pt x="4481" y="586"/>
                  </a:cubicBezTo>
                  <a:cubicBezTo>
                    <a:pt x="1493" y="-908"/>
                    <a:pt x="0" y="586"/>
                    <a:pt x="0" y="3573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1" name="任意多边形: 形状 10610"/>
            <p:cNvSpPr/>
            <p:nvPr/>
          </p:nvSpPr>
          <p:spPr>
            <a:xfrm>
              <a:off x="7382613" y="537182"/>
              <a:ext cx="14936" cy="14936"/>
            </a:xfrm>
            <a:custGeom>
              <a:avLst/>
              <a:gdLst>
                <a:gd name="connsiteX0" fmla="*/ 0 w 0"/>
                <a:gd name="connsiteY0" fmla="*/ 3573 h 0"/>
                <a:gd name="connsiteX1" fmla="*/ 4481 w 0"/>
                <a:gd name="connsiteY1" fmla="*/ 11041 h 0"/>
                <a:gd name="connsiteX2" fmla="*/ 8962 w 0"/>
                <a:gd name="connsiteY2" fmla="*/ 8054 h 0"/>
                <a:gd name="connsiteX3" fmla="*/ 4481 w 0"/>
                <a:gd name="connsiteY3" fmla="*/ 586 h 0"/>
                <a:gd name="connsiteX4" fmla="*/ 0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573"/>
                  </a:moveTo>
                  <a:cubicBezTo>
                    <a:pt x="0" y="6560"/>
                    <a:pt x="1494" y="9548"/>
                    <a:pt x="4481" y="11041"/>
                  </a:cubicBezTo>
                  <a:cubicBezTo>
                    <a:pt x="7468" y="12535"/>
                    <a:pt x="8962" y="11041"/>
                    <a:pt x="8962" y="8054"/>
                  </a:cubicBezTo>
                  <a:cubicBezTo>
                    <a:pt x="8962" y="5067"/>
                    <a:pt x="7468" y="2080"/>
                    <a:pt x="4481" y="586"/>
                  </a:cubicBezTo>
                  <a:cubicBezTo>
                    <a:pt x="1494" y="-908"/>
                    <a:pt x="0" y="586"/>
                    <a:pt x="0" y="3573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2" name="任意多边形: 形状 10611"/>
            <p:cNvSpPr/>
            <p:nvPr/>
          </p:nvSpPr>
          <p:spPr>
            <a:xfrm>
              <a:off x="7377735" y="596927"/>
              <a:ext cx="14936" cy="14936"/>
            </a:xfrm>
            <a:custGeom>
              <a:avLst/>
              <a:gdLst>
                <a:gd name="connsiteX0" fmla="*/ 397 w 0"/>
                <a:gd name="connsiteY0" fmla="*/ 3573 h 0"/>
                <a:gd name="connsiteX1" fmla="*/ 4878 w 0"/>
                <a:gd name="connsiteY1" fmla="*/ 11041 h 0"/>
                <a:gd name="connsiteX2" fmla="*/ 9359 w 0"/>
                <a:gd name="connsiteY2" fmla="*/ 8054 h 0"/>
                <a:gd name="connsiteX3" fmla="*/ 4878 w 0"/>
                <a:gd name="connsiteY3" fmla="*/ 586 h 0"/>
                <a:gd name="connsiteX4" fmla="*/ 397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97" y="3573"/>
                  </a:moveTo>
                  <a:cubicBezTo>
                    <a:pt x="397" y="6560"/>
                    <a:pt x="1891" y="9548"/>
                    <a:pt x="4878" y="11041"/>
                  </a:cubicBezTo>
                  <a:cubicBezTo>
                    <a:pt x="7866" y="12535"/>
                    <a:pt x="9359" y="11041"/>
                    <a:pt x="9359" y="8054"/>
                  </a:cubicBezTo>
                  <a:cubicBezTo>
                    <a:pt x="9359" y="5067"/>
                    <a:pt x="7866" y="2080"/>
                    <a:pt x="4878" y="586"/>
                  </a:cubicBezTo>
                  <a:cubicBezTo>
                    <a:pt x="1891" y="-908"/>
                    <a:pt x="-1096" y="586"/>
                    <a:pt x="397" y="3573"/>
                  </a:cubicBez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3" name="任意多边形: 形状 10612"/>
            <p:cNvSpPr/>
            <p:nvPr/>
          </p:nvSpPr>
          <p:spPr>
            <a:xfrm>
              <a:off x="7373651" y="649204"/>
              <a:ext cx="14936" cy="14936"/>
            </a:xfrm>
            <a:custGeom>
              <a:avLst/>
              <a:gdLst>
                <a:gd name="connsiteX0" fmla="*/ 0 w 0"/>
                <a:gd name="connsiteY0" fmla="*/ 3573 h 0"/>
                <a:gd name="connsiteX1" fmla="*/ 4481 w 0"/>
                <a:gd name="connsiteY1" fmla="*/ 11041 h 0"/>
                <a:gd name="connsiteX2" fmla="*/ 8962 w 0"/>
                <a:gd name="connsiteY2" fmla="*/ 8054 h 0"/>
                <a:gd name="connsiteX3" fmla="*/ 4481 w 0"/>
                <a:gd name="connsiteY3" fmla="*/ 586 h 0"/>
                <a:gd name="connsiteX4" fmla="*/ 0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573"/>
                  </a:moveTo>
                  <a:cubicBezTo>
                    <a:pt x="0" y="6560"/>
                    <a:pt x="1493" y="9548"/>
                    <a:pt x="4481" y="11041"/>
                  </a:cubicBezTo>
                  <a:cubicBezTo>
                    <a:pt x="7468" y="12535"/>
                    <a:pt x="8962" y="11041"/>
                    <a:pt x="8962" y="8054"/>
                  </a:cubicBezTo>
                  <a:cubicBezTo>
                    <a:pt x="8962" y="5067"/>
                    <a:pt x="7468" y="2080"/>
                    <a:pt x="4481" y="586"/>
                  </a:cubicBezTo>
                  <a:cubicBezTo>
                    <a:pt x="1493" y="-908"/>
                    <a:pt x="0" y="586"/>
                    <a:pt x="0" y="3573"/>
                  </a:cubicBez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4" name="任意多边形: 形状 10613"/>
            <p:cNvSpPr/>
            <p:nvPr/>
          </p:nvSpPr>
          <p:spPr>
            <a:xfrm>
              <a:off x="7461650" y="459973"/>
              <a:ext cx="59745" cy="194172"/>
            </a:xfrm>
            <a:custGeom>
              <a:avLst/>
              <a:gdLst>
                <a:gd name="connsiteX0" fmla="*/ 13569 w 59745"/>
                <a:gd name="connsiteY0" fmla="*/ 174881 h 194172"/>
                <a:gd name="connsiteX1" fmla="*/ 46428 w 59745"/>
                <a:gd name="connsiteY1" fmla="*/ 201767 h 194172"/>
                <a:gd name="connsiteX2" fmla="*/ 46428 w 59745"/>
                <a:gd name="connsiteY2" fmla="*/ 201767 h 194172"/>
                <a:gd name="connsiteX3" fmla="*/ 73314 w 59745"/>
                <a:gd name="connsiteY3" fmla="*/ 168907 h 194172"/>
                <a:gd name="connsiteX4" fmla="*/ 59871 w 59745"/>
                <a:gd name="connsiteY4" fmla="*/ 27011 h 194172"/>
                <a:gd name="connsiteX5" fmla="*/ 27011 w 59745"/>
                <a:gd name="connsiteY5" fmla="*/ 126 h 194172"/>
                <a:gd name="connsiteX6" fmla="*/ 27011 w 59745"/>
                <a:gd name="connsiteY6" fmla="*/ 126 h 194172"/>
                <a:gd name="connsiteX7" fmla="*/ 126 w 59745"/>
                <a:gd name="connsiteY7" fmla="*/ 32986 h 194172"/>
                <a:gd name="connsiteX8" fmla="*/ 13569 w 59745"/>
                <a:gd name="connsiteY8" fmla="*/ 174881 h 194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94172">
                  <a:moveTo>
                    <a:pt x="13569" y="174881"/>
                  </a:moveTo>
                  <a:cubicBezTo>
                    <a:pt x="15062" y="191311"/>
                    <a:pt x="29999" y="203260"/>
                    <a:pt x="46428" y="201767"/>
                  </a:cubicBezTo>
                  <a:lnTo>
                    <a:pt x="46428" y="201767"/>
                  </a:lnTo>
                  <a:cubicBezTo>
                    <a:pt x="62858" y="200273"/>
                    <a:pt x="74808" y="185337"/>
                    <a:pt x="73314" y="168907"/>
                  </a:cubicBezTo>
                  <a:lnTo>
                    <a:pt x="59871" y="27011"/>
                  </a:lnTo>
                  <a:cubicBezTo>
                    <a:pt x="58378" y="10582"/>
                    <a:pt x="43441" y="-1368"/>
                    <a:pt x="27011" y="126"/>
                  </a:cubicBezTo>
                  <a:lnTo>
                    <a:pt x="27011" y="126"/>
                  </a:lnTo>
                  <a:cubicBezTo>
                    <a:pt x="10581" y="1620"/>
                    <a:pt x="-1368" y="16556"/>
                    <a:pt x="126" y="32986"/>
                  </a:cubicBezTo>
                  <a:lnTo>
                    <a:pt x="13569" y="174881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5" name="任意多边形: 形状 10614"/>
            <p:cNvSpPr/>
            <p:nvPr/>
          </p:nvSpPr>
          <p:spPr>
            <a:xfrm>
              <a:off x="7388588" y="434707"/>
              <a:ext cx="14936" cy="14936"/>
            </a:xfrm>
            <a:custGeom>
              <a:avLst/>
              <a:gdLst>
                <a:gd name="connsiteX0" fmla="*/ 0 w 14936"/>
                <a:gd name="connsiteY0" fmla="*/ 22405 h 14936"/>
                <a:gd name="connsiteX1" fmla="*/ 10455 w 14936"/>
                <a:gd name="connsiteY1" fmla="*/ 28379 h 14936"/>
                <a:gd name="connsiteX2" fmla="*/ 17924 w 14936"/>
                <a:gd name="connsiteY2" fmla="*/ 5975 h 14936"/>
                <a:gd name="connsiteX3" fmla="*/ 0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22405"/>
                  </a:moveTo>
                  <a:lnTo>
                    <a:pt x="10455" y="28379"/>
                  </a:lnTo>
                  <a:lnTo>
                    <a:pt x="17924" y="59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42423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6" name="任意多边形: 形状 10615"/>
            <p:cNvSpPr/>
            <p:nvPr/>
          </p:nvSpPr>
          <p:spPr>
            <a:xfrm>
              <a:off x="7372158" y="457111"/>
              <a:ext cx="14936" cy="134427"/>
            </a:xfrm>
            <a:custGeom>
              <a:avLst/>
              <a:gdLst>
                <a:gd name="connsiteX0" fmla="*/ 25392 w 14936"/>
                <a:gd name="connsiteY0" fmla="*/ 123972 h 134427"/>
                <a:gd name="connsiteX1" fmla="*/ 26885 w 14936"/>
                <a:gd name="connsiteY1" fmla="*/ 5975 h 134427"/>
                <a:gd name="connsiteX2" fmla="*/ 16430 w 14936"/>
                <a:gd name="connsiteY2" fmla="*/ 0 h 134427"/>
                <a:gd name="connsiteX3" fmla="*/ 0 w 14936"/>
                <a:gd name="connsiteY3" fmla="*/ 112023 h 134427"/>
                <a:gd name="connsiteX4" fmla="*/ 10455 w 14936"/>
                <a:gd name="connsiteY4" fmla="*/ 134427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34427">
                  <a:moveTo>
                    <a:pt x="25392" y="123972"/>
                  </a:moveTo>
                  <a:lnTo>
                    <a:pt x="26885" y="5975"/>
                  </a:lnTo>
                  <a:lnTo>
                    <a:pt x="16430" y="0"/>
                  </a:lnTo>
                  <a:lnTo>
                    <a:pt x="0" y="112023"/>
                  </a:lnTo>
                  <a:lnTo>
                    <a:pt x="10455" y="134427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7" name="任意多边形: 形状 10616"/>
            <p:cNvSpPr/>
            <p:nvPr/>
          </p:nvSpPr>
          <p:spPr>
            <a:xfrm>
              <a:off x="7375518" y="395872"/>
              <a:ext cx="74682" cy="74682"/>
            </a:xfrm>
            <a:custGeom>
              <a:avLst/>
              <a:gdLst>
                <a:gd name="connsiteX0" fmla="*/ 72815 w 74681"/>
                <a:gd name="connsiteY0" fmla="*/ 4481 h 74681"/>
                <a:gd name="connsiteX1" fmla="*/ 86258 w 74681"/>
                <a:gd name="connsiteY1" fmla="*/ 22405 h 74681"/>
                <a:gd name="connsiteX2" fmla="*/ 86258 w 74681"/>
                <a:gd name="connsiteY2" fmla="*/ 31366 h 74681"/>
                <a:gd name="connsiteX3" fmla="*/ 71321 w 74681"/>
                <a:gd name="connsiteY3" fmla="*/ 52277 h 74681"/>
                <a:gd name="connsiteX4" fmla="*/ 36967 w 74681"/>
                <a:gd name="connsiteY4" fmla="*/ 77669 h 74681"/>
                <a:gd name="connsiteX5" fmla="*/ 20538 w 74681"/>
                <a:gd name="connsiteY5" fmla="*/ 43315 h 74681"/>
                <a:gd name="connsiteX6" fmla="*/ 1120 w 74681"/>
                <a:gd name="connsiteY6" fmla="*/ 61239 h 74681"/>
                <a:gd name="connsiteX7" fmla="*/ 1120 w 74681"/>
                <a:gd name="connsiteY7" fmla="*/ 31366 h 74681"/>
                <a:gd name="connsiteX8" fmla="*/ 16057 w 74681"/>
                <a:gd name="connsiteY8" fmla="*/ 5975 h 74681"/>
                <a:gd name="connsiteX9" fmla="*/ 41448 w 74681"/>
                <a:gd name="connsiteY9" fmla="*/ 0 h 74681"/>
                <a:gd name="connsiteX10" fmla="*/ 66840 w 74681"/>
                <a:gd name="connsiteY10" fmla="*/ 5975 h 74681"/>
                <a:gd name="connsiteX11" fmla="*/ 72815 w 74681"/>
                <a:gd name="connsiteY11" fmla="*/ 448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74681">
                  <a:moveTo>
                    <a:pt x="72815" y="4481"/>
                  </a:moveTo>
                  <a:cubicBezTo>
                    <a:pt x="75802" y="10455"/>
                    <a:pt x="83270" y="17924"/>
                    <a:pt x="86258" y="22405"/>
                  </a:cubicBezTo>
                  <a:cubicBezTo>
                    <a:pt x="87751" y="25392"/>
                    <a:pt x="87751" y="28379"/>
                    <a:pt x="86258" y="31366"/>
                  </a:cubicBezTo>
                  <a:cubicBezTo>
                    <a:pt x="83270" y="40328"/>
                    <a:pt x="78789" y="44809"/>
                    <a:pt x="71321" y="52277"/>
                  </a:cubicBezTo>
                  <a:cubicBezTo>
                    <a:pt x="63853" y="58252"/>
                    <a:pt x="51904" y="68707"/>
                    <a:pt x="36967" y="77669"/>
                  </a:cubicBezTo>
                  <a:cubicBezTo>
                    <a:pt x="30993" y="67214"/>
                    <a:pt x="25019" y="55264"/>
                    <a:pt x="20538" y="43315"/>
                  </a:cubicBezTo>
                  <a:cubicBezTo>
                    <a:pt x="14563" y="49290"/>
                    <a:pt x="8588" y="55264"/>
                    <a:pt x="1120" y="61239"/>
                  </a:cubicBezTo>
                  <a:cubicBezTo>
                    <a:pt x="-373" y="50784"/>
                    <a:pt x="-373" y="41822"/>
                    <a:pt x="1120" y="31366"/>
                  </a:cubicBezTo>
                  <a:cubicBezTo>
                    <a:pt x="2614" y="20911"/>
                    <a:pt x="8588" y="11949"/>
                    <a:pt x="16057" y="5975"/>
                  </a:cubicBezTo>
                  <a:cubicBezTo>
                    <a:pt x="23525" y="1494"/>
                    <a:pt x="32487" y="0"/>
                    <a:pt x="41448" y="0"/>
                  </a:cubicBezTo>
                  <a:cubicBezTo>
                    <a:pt x="50410" y="0"/>
                    <a:pt x="57878" y="2987"/>
                    <a:pt x="66840" y="5975"/>
                  </a:cubicBezTo>
                  <a:cubicBezTo>
                    <a:pt x="71321" y="5975"/>
                    <a:pt x="71321" y="2987"/>
                    <a:pt x="72815" y="4481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8" name="任意多边形: 形状 10617"/>
            <p:cNvSpPr/>
            <p:nvPr/>
          </p:nvSpPr>
          <p:spPr>
            <a:xfrm>
              <a:off x="7241974" y="627898"/>
              <a:ext cx="44809" cy="74682"/>
            </a:xfrm>
            <a:custGeom>
              <a:avLst/>
              <a:gdLst>
                <a:gd name="connsiteX0" fmla="*/ 43553 w 44809"/>
                <a:gd name="connsiteY0" fmla="*/ 2475 h 74681"/>
                <a:gd name="connsiteX1" fmla="*/ 51021 w 44809"/>
                <a:gd name="connsiteY1" fmla="*/ 23386 h 74681"/>
                <a:gd name="connsiteX2" fmla="*/ 40566 w 44809"/>
                <a:gd name="connsiteY2" fmla="*/ 44296 h 74681"/>
                <a:gd name="connsiteX3" fmla="*/ 33098 w 44809"/>
                <a:gd name="connsiteY3" fmla="*/ 60726 h 74681"/>
                <a:gd name="connsiteX4" fmla="*/ 31604 w 44809"/>
                <a:gd name="connsiteY4" fmla="*/ 71182 h 74681"/>
                <a:gd name="connsiteX5" fmla="*/ 21149 w 44809"/>
                <a:gd name="connsiteY5" fmla="*/ 72676 h 74681"/>
                <a:gd name="connsiteX6" fmla="*/ 12187 w 44809"/>
                <a:gd name="connsiteY6" fmla="*/ 69688 h 74681"/>
                <a:gd name="connsiteX7" fmla="*/ 6212 w 44809"/>
                <a:gd name="connsiteY7" fmla="*/ 62220 h 74681"/>
                <a:gd name="connsiteX8" fmla="*/ 238 w 44809"/>
                <a:gd name="connsiteY8" fmla="*/ 54752 h 74681"/>
                <a:gd name="connsiteX9" fmla="*/ 9200 w 44809"/>
                <a:gd name="connsiteY9" fmla="*/ 15917 h 74681"/>
                <a:gd name="connsiteX10" fmla="*/ 22642 w 44809"/>
                <a:gd name="connsiteY10" fmla="*/ 981 h 74681"/>
                <a:gd name="connsiteX11" fmla="*/ 43553 w 44809"/>
                <a:gd name="connsiteY11" fmla="*/ 2475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809" h="74681">
                  <a:moveTo>
                    <a:pt x="43553" y="2475"/>
                  </a:moveTo>
                  <a:cubicBezTo>
                    <a:pt x="49528" y="6956"/>
                    <a:pt x="52515" y="15917"/>
                    <a:pt x="51021" y="23386"/>
                  </a:cubicBezTo>
                  <a:cubicBezTo>
                    <a:pt x="49528" y="30854"/>
                    <a:pt x="45047" y="38322"/>
                    <a:pt x="40566" y="44296"/>
                  </a:cubicBezTo>
                  <a:cubicBezTo>
                    <a:pt x="36085" y="51765"/>
                    <a:pt x="36085" y="53258"/>
                    <a:pt x="33098" y="60726"/>
                  </a:cubicBezTo>
                  <a:cubicBezTo>
                    <a:pt x="31604" y="65207"/>
                    <a:pt x="31604" y="68195"/>
                    <a:pt x="31604" y="71182"/>
                  </a:cubicBezTo>
                  <a:cubicBezTo>
                    <a:pt x="30110" y="81637"/>
                    <a:pt x="19655" y="81637"/>
                    <a:pt x="21149" y="72676"/>
                  </a:cubicBezTo>
                  <a:cubicBezTo>
                    <a:pt x="21149" y="81637"/>
                    <a:pt x="10693" y="81637"/>
                    <a:pt x="12187" y="69688"/>
                  </a:cubicBezTo>
                  <a:cubicBezTo>
                    <a:pt x="10693" y="75663"/>
                    <a:pt x="3225" y="77156"/>
                    <a:pt x="6212" y="62220"/>
                  </a:cubicBezTo>
                  <a:cubicBezTo>
                    <a:pt x="4719" y="68195"/>
                    <a:pt x="-1256" y="63714"/>
                    <a:pt x="238" y="54752"/>
                  </a:cubicBezTo>
                  <a:cubicBezTo>
                    <a:pt x="1731" y="44296"/>
                    <a:pt x="4719" y="26373"/>
                    <a:pt x="9200" y="15917"/>
                  </a:cubicBezTo>
                  <a:cubicBezTo>
                    <a:pt x="12187" y="9943"/>
                    <a:pt x="16668" y="3968"/>
                    <a:pt x="22642" y="981"/>
                  </a:cubicBezTo>
                  <a:cubicBezTo>
                    <a:pt x="30110" y="-513"/>
                    <a:pt x="37579" y="-513"/>
                    <a:pt x="43553" y="2475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9" name="任意多边形: 形状 10618"/>
            <p:cNvSpPr/>
            <p:nvPr/>
          </p:nvSpPr>
          <p:spPr>
            <a:xfrm>
              <a:off x="7278659" y="645309"/>
              <a:ext cx="14936" cy="44809"/>
            </a:xfrm>
            <a:custGeom>
              <a:avLst/>
              <a:gdLst>
                <a:gd name="connsiteX0" fmla="*/ 11349 w 0"/>
                <a:gd name="connsiteY0" fmla="*/ 41822 h 44809"/>
                <a:gd name="connsiteX1" fmla="*/ 9855 w 0"/>
                <a:gd name="connsiteY1" fmla="*/ 47796 h 44809"/>
                <a:gd name="connsiteX2" fmla="*/ 3881 w 0"/>
                <a:gd name="connsiteY2" fmla="*/ 46303 h 44809"/>
                <a:gd name="connsiteX3" fmla="*/ 893 w 0"/>
                <a:gd name="connsiteY3" fmla="*/ 26885 h 44809"/>
                <a:gd name="connsiteX4" fmla="*/ 5374 w 0"/>
                <a:gd name="connsiteY4" fmla="*/ 14936 h 44809"/>
                <a:gd name="connsiteX5" fmla="*/ 14336 w 0"/>
                <a:gd name="connsiteY5" fmla="*/ 0 h 44809"/>
                <a:gd name="connsiteX6" fmla="*/ 11349 w 0"/>
                <a:gd name="connsiteY6" fmla="*/ 41822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44809">
                  <a:moveTo>
                    <a:pt x="11349" y="41822"/>
                  </a:moveTo>
                  <a:cubicBezTo>
                    <a:pt x="11349" y="43315"/>
                    <a:pt x="11349" y="46303"/>
                    <a:pt x="9855" y="47796"/>
                  </a:cubicBezTo>
                  <a:cubicBezTo>
                    <a:pt x="8362" y="49290"/>
                    <a:pt x="5374" y="47796"/>
                    <a:pt x="3881" y="46303"/>
                  </a:cubicBezTo>
                  <a:cubicBezTo>
                    <a:pt x="-600" y="43315"/>
                    <a:pt x="-600" y="32860"/>
                    <a:pt x="893" y="26885"/>
                  </a:cubicBezTo>
                  <a:cubicBezTo>
                    <a:pt x="893" y="20911"/>
                    <a:pt x="2387" y="19417"/>
                    <a:pt x="5374" y="14936"/>
                  </a:cubicBezTo>
                  <a:cubicBezTo>
                    <a:pt x="8362" y="10455"/>
                    <a:pt x="11349" y="5975"/>
                    <a:pt x="14336" y="0"/>
                  </a:cubicBezTo>
                  <a:cubicBezTo>
                    <a:pt x="11349" y="16430"/>
                    <a:pt x="9855" y="29873"/>
                    <a:pt x="11349" y="41822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0" name="任意多边形: 形状 10619"/>
            <p:cNvSpPr/>
            <p:nvPr/>
          </p:nvSpPr>
          <p:spPr>
            <a:xfrm>
              <a:off x="7390956" y="398860"/>
              <a:ext cx="59745" cy="29873"/>
            </a:xfrm>
            <a:custGeom>
              <a:avLst/>
              <a:gdLst>
                <a:gd name="connsiteX0" fmla="*/ 2112 w 59745"/>
                <a:gd name="connsiteY0" fmla="*/ 28379 h 29872"/>
                <a:gd name="connsiteX1" fmla="*/ 11074 w 59745"/>
                <a:gd name="connsiteY1" fmla="*/ 34354 h 29872"/>
                <a:gd name="connsiteX2" fmla="*/ 55883 w 59745"/>
                <a:gd name="connsiteY2" fmla="*/ 28379 h 29872"/>
                <a:gd name="connsiteX3" fmla="*/ 52896 w 59745"/>
                <a:gd name="connsiteY3" fmla="*/ 2987 h 29872"/>
                <a:gd name="connsiteX4" fmla="*/ 42440 w 59745"/>
                <a:gd name="connsiteY4" fmla="*/ 0 h 29872"/>
                <a:gd name="connsiteX5" fmla="*/ 36466 w 59745"/>
                <a:gd name="connsiteY5" fmla="*/ 0 h 29872"/>
                <a:gd name="connsiteX6" fmla="*/ 8087 w 59745"/>
                <a:gd name="connsiteY6" fmla="*/ 8962 h 29872"/>
                <a:gd name="connsiteX7" fmla="*/ 619 w 59745"/>
                <a:gd name="connsiteY7" fmla="*/ 17924 h 29872"/>
                <a:gd name="connsiteX8" fmla="*/ 2112 w 59745"/>
                <a:gd name="connsiteY8" fmla="*/ 28379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9872">
                  <a:moveTo>
                    <a:pt x="2112" y="28379"/>
                  </a:moveTo>
                  <a:cubicBezTo>
                    <a:pt x="3606" y="31366"/>
                    <a:pt x="6593" y="32860"/>
                    <a:pt x="11074" y="34354"/>
                  </a:cubicBezTo>
                  <a:cubicBezTo>
                    <a:pt x="24517" y="40328"/>
                    <a:pt x="43934" y="37341"/>
                    <a:pt x="55883" y="28379"/>
                  </a:cubicBezTo>
                  <a:cubicBezTo>
                    <a:pt x="67832" y="19417"/>
                    <a:pt x="66339" y="8962"/>
                    <a:pt x="52896" y="2987"/>
                  </a:cubicBezTo>
                  <a:cubicBezTo>
                    <a:pt x="49908" y="1494"/>
                    <a:pt x="46921" y="1494"/>
                    <a:pt x="42440" y="0"/>
                  </a:cubicBezTo>
                  <a:cubicBezTo>
                    <a:pt x="40947" y="0"/>
                    <a:pt x="39453" y="0"/>
                    <a:pt x="36466" y="0"/>
                  </a:cubicBezTo>
                  <a:cubicBezTo>
                    <a:pt x="26010" y="0"/>
                    <a:pt x="15555" y="2987"/>
                    <a:pt x="8087" y="8962"/>
                  </a:cubicBezTo>
                  <a:cubicBezTo>
                    <a:pt x="3606" y="11949"/>
                    <a:pt x="2112" y="14936"/>
                    <a:pt x="619" y="17924"/>
                  </a:cubicBezTo>
                  <a:cubicBezTo>
                    <a:pt x="-875" y="22405"/>
                    <a:pt x="619" y="25392"/>
                    <a:pt x="2112" y="2837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1" name="任意多边形: 形状 10620"/>
            <p:cNvSpPr/>
            <p:nvPr/>
          </p:nvSpPr>
          <p:spPr>
            <a:xfrm>
              <a:off x="7380821" y="334049"/>
              <a:ext cx="59745" cy="74682"/>
            </a:xfrm>
            <a:custGeom>
              <a:avLst/>
              <a:gdLst>
                <a:gd name="connsiteX0" fmla="*/ 0 w 59745"/>
                <a:gd name="connsiteY0" fmla="*/ 7597 h 74681"/>
                <a:gd name="connsiteX1" fmla="*/ 62269 w 59745"/>
                <a:gd name="connsiteY1" fmla="*/ 0 h 74681"/>
                <a:gd name="connsiteX2" fmla="*/ 72217 w 59745"/>
                <a:gd name="connsiteY2" fmla="*/ 81542 h 74681"/>
                <a:gd name="connsiteX3" fmla="*/ 9949 w 59745"/>
                <a:gd name="connsiteY3" fmla="*/ 89139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74681">
                  <a:moveTo>
                    <a:pt x="0" y="7597"/>
                  </a:moveTo>
                  <a:lnTo>
                    <a:pt x="62269" y="0"/>
                  </a:lnTo>
                  <a:lnTo>
                    <a:pt x="72217" y="81542"/>
                  </a:lnTo>
                  <a:lnTo>
                    <a:pt x="9949" y="89139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2" name="任意多边形: 形状 10621"/>
            <p:cNvSpPr/>
            <p:nvPr/>
          </p:nvSpPr>
          <p:spPr>
            <a:xfrm>
              <a:off x="7354234" y="279625"/>
              <a:ext cx="74682" cy="119491"/>
            </a:xfrm>
            <a:custGeom>
              <a:avLst/>
              <a:gdLst>
                <a:gd name="connsiteX0" fmla="*/ 79162 w 74681"/>
                <a:gd name="connsiteY0" fmla="*/ 59489 h 119490"/>
                <a:gd name="connsiteX1" fmla="*/ 79162 w 74681"/>
                <a:gd name="connsiteY1" fmla="*/ 86375 h 119490"/>
                <a:gd name="connsiteX2" fmla="*/ 70201 w 74681"/>
                <a:gd name="connsiteY2" fmla="*/ 111766 h 119490"/>
                <a:gd name="connsiteX3" fmla="*/ 35847 w 74681"/>
                <a:gd name="connsiteY3" fmla="*/ 128196 h 119490"/>
                <a:gd name="connsiteX4" fmla="*/ 26885 w 74681"/>
                <a:gd name="connsiteY4" fmla="*/ 125209 h 119490"/>
                <a:gd name="connsiteX5" fmla="*/ 16430 w 74681"/>
                <a:gd name="connsiteY5" fmla="*/ 110273 h 119490"/>
                <a:gd name="connsiteX6" fmla="*/ 0 w 74681"/>
                <a:gd name="connsiteY6" fmla="*/ 35591 h 119490"/>
                <a:gd name="connsiteX7" fmla="*/ 0 w 74681"/>
                <a:gd name="connsiteY7" fmla="*/ 23642 h 119490"/>
                <a:gd name="connsiteX8" fmla="*/ 22405 w 74681"/>
                <a:gd name="connsiteY8" fmla="*/ 1237 h 119490"/>
                <a:gd name="connsiteX9" fmla="*/ 55264 w 74681"/>
                <a:gd name="connsiteY9" fmla="*/ 4225 h 119490"/>
                <a:gd name="connsiteX10" fmla="*/ 64226 w 74681"/>
                <a:gd name="connsiteY10" fmla="*/ 8706 h 119490"/>
                <a:gd name="connsiteX11" fmla="*/ 70201 w 74681"/>
                <a:gd name="connsiteY11" fmla="*/ 14680 h 119490"/>
                <a:gd name="connsiteX12" fmla="*/ 79162 w 74681"/>
                <a:gd name="connsiteY12" fmla="*/ 59489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79162" y="59489"/>
                  </a:moveTo>
                  <a:cubicBezTo>
                    <a:pt x="79162" y="68451"/>
                    <a:pt x="80656" y="77413"/>
                    <a:pt x="79162" y="86375"/>
                  </a:cubicBezTo>
                  <a:cubicBezTo>
                    <a:pt x="77669" y="95336"/>
                    <a:pt x="76175" y="104298"/>
                    <a:pt x="70201" y="111766"/>
                  </a:cubicBezTo>
                  <a:cubicBezTo>
                    <a:pt x="62733" y="122222"/>
                    <a:pt x="49290" y="128196"/>
                    <a:pt x="35847" y="128196"/>
                  </a:cubicBezTo>
                  <a:cubicBezTo>
                    <a:pt x="32860" y="128196"/>
                    <a:pt x="29873" y="126703"/>
                    <a:pt x="26885" y="125209"/>
                  </a:cubicBezTo>
                  <a:cubicBezTo>
                    <a:pt x="20911" y="122222"/>
                    <a:pt x="17924" y="116247"/>
                    <a:pt x="16430" y="110273"/>
                  </a:cubicBezTo>
                  <a:cubicBezTo>
                    <a:pt x="5974" y="86375"/>
                    <a:pt x="1494" y="60983"/>
                    <a:pt x="0" y="35591"/>
                  </a:cubicBezTo>
                  <a:cubicBezTo>
                    <a:pt x="0" y="31110"/>
                    <a:pt x="0" y="28123"/>
                    <a:pt x="0" y="23642"/>
                  </a:cubicBezTo>
                  <a:cubicBezTo>
                    <a:pt x="1494" y="13186"/>
                    <a:pt x="11949" y="4225"/>
                    <a:pt x="22405" y="1237"/>
                  </a:cubicBezTo>
                  <a:cubicBezTo>
                    <a:pt x="32860" y="-1750"/>
                    <a:pt x="44809" y="1237"/>
                    <a:pt x="55264" y="4225"/>
                  </a:cubicBezTo>
                  <a:cubicBezTo>
                    <a:pt x="58252" y="5718"/>
                    <a:pt x="61239" y="5718"/>
                    <a:pt x="64226" y="8706"/>
                  </a:cubicBezTo>
                  <a:cubicBezTo>
                    <a:pt x="67214" y="10199"/>
                    <a:pt x="68707" y="13186"/>
                    <a:pt x="70201" y="14680"/>
                  </a:cubicBezTo>
                  <a:cubicBezTo>
                    <a:pt x="74682" y="19161"/>
                    <a:pt x="79162" y="46046"/>
                    <a:pt x="79162" y="5948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3" name="任意多边形: 形状 10622"/>
            <p:cNvSpPr/>
            <p:nvPr/>
          </p:nvSpPr>
          <p:spPr>
            <a:xfrm>
              <a:off x="7355728" y="290081"/>
              <a:ext cx="74682" cy="119491"/>
            </a:xfrm>
            <a:custGeom>
              <a:avLst/>
              <a:gdLst>
                <a:gd name="connsiteX0" fmla="*/ 79162 w 74681"/>
                <a:gd name="connsiteY0" fmla="*/ 59489 h 119490"/>
                <a:gd name="connsiteX1" fmla="*/ 79162 w 74681"/>
                <a:gd name="connsiteY1" fmla="*/ 86375 h 119490"/>
                <a:gd name="connsiteX2" fmla="*/ 70201 w 74681"/>
                <a:gd name="connsiteY2" fmla="*/ 111766 h 119490"/>
                <a:gd name="connsiteX3" fmla="*/ 35847 w 74681"/>
                <a:gd name="connsiteY3" fmla="*/ 128196 h 119490"/>
                <a:gd name="connsiteX4" fmla="*/ 26885 w 74681"/>
                <a:gd name="connsiteY4" fmla="*/ 125209 h 119490"/>
                <a:gd name="connsiteX5" fmla="*/ 16430 w 74681"/>
                <a:gd name="connsiteY5" fmla="*/ 110273 h 119490"/>
                <a:gd name="connsiteX6" fmla="*/ 0 w 74681"/>
                <a:gd name="connsiteY6" fmla="*/ 35591 h 119490"/>
                <a:gd name="connsiteX7" fmla="*/ 0 w 74681"/>
                <a:gd name="connsiteY7" fmla="*/ 23642 h 119490"/>
                <a:gd name="connsiteX8" fmla="*/ 22405 w 74681"/>
                <a:gd name="connsiteY8" fmla="*/ 1237 h 119490"/>
                <a:gd name="connsiteX9" fmla="*/ 55264 w 74681"/>
                <a:gd name="connsiteY9" fmla="*/ 4225 h 119490"/>
                <a:gd name="connsiteX10" fmla="*/ 64226 w 74681"/>
                <a:gd name="connsiteY10" fmla="*/ 8706 h 119490"/>
                <a:gd name="connsiteX11" fmla="*/ 70201 w 74681"/>
                <a:gd name="connsiteY11" fmla="*/ 14680 h 119490"/>
                <a:gd name="connsiteX12" fmla="*/ 79162 w 74681"/>
                <a:gd name="connsiteY12" fmla="*/ 59489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79162" y="59489"/>
                  </a:moveTo>
                  <a:cubicBezTo>
                    <a:pt x="79162" y="68451"/>
                    <a:pt x="80656" y="77413"/>
                    <a:pt x="79162" y="86375"/>
                  </a:cubicBezTo>
                  <a:cubicBezTo>
                    <a:pt x="77669" y="95336"/>
                    <a:pt x="76175" y="104298"/>
                    <a:pt x="70201" y="111766"/>
                  </a:cubicBezTo>
                  <a:cubicBezTo>
                    <a:pt x="62733" y="122222"/>
                    <a:pt x="49290" y="128196"/>
                    <a:pt x="35847" y="128196"/>
                  </a:cubicBezTo>
                  <a:cubicBezTo>
                    <a:pt x="32860" y="128196"/>
                    <a:pt x="29873" y="126703"/>
                    <a:pt x="26885" y="125209"/>
                  </a:cubicBezTo>
                  <a:cubicBezTo>
                    <a:pt x="20911" y="122222"/>
                    <a:pt x="17924" y="116247"/>
                    <a:pt x="16430" y="110273"/>
                  </a:cubicBezTo>
                  <a:cubicBezTo>
                    <a:pt x="5974" y="86375"/>
                    <a:pt x="1493" y="60983"/>
                    <a:pt x="0" y="35591"/>
                  </a:cubicBezTo>
                  <a:cubicBezTo>
                    <a:pt x="0" y="31110"/>
                    <a:pt x="0" y="28123"/>
                    <a:pt x="0" y="23642"/>
                  </a:cubicBezTo>
                  <a:cubicBezTo>
                    <a:pt x="1493" y="13186"/>
                    <a:pt x="11949" y="4225"/>
                    <a:pt x="22405" y="1237"/>
                  </a:cubicBezTo>
                  <a:cubicBezTo>
                    <a:pt x="32860" y="-1750"/>
                    <a:pt x="44809" y="1237"/>
                    <a:pt x="55264" y="4225"/>
                  </a:cubicBezTo>
                  <a:cubicBezTo>
                    <a:pt x="58252" y="5718"/>
                    <a:pt x="61239" y="5718"/>
                    <a:pt x="64226" y="8706"/>
                  </a:cubicBezTo>
                  <a:cubicBezTo>
                    <a:pt x="67214" y="10199"/>
                    <a:pt x="68707" y="13186"/>
                    <a:pt x="70201" y="14680"/>
                  </a:cubicBezTo>
                  <a:cubicBezTo>
                    <a:pt x="74682" y="17667"/>
                    <a:pt x="79162" y="44553"/>
                    <a:pt x="79162" y="5948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4" name="任意多边形: 形状 10623"/>
            <p:cNvSpPr/>
            <p:nvPr/>
          </p:nvSpPr>
          <p:spPr>
            <a:xfrm>
              <a:off x="7390956" y="342101"/>
              <a:ext cx="44809" cy="74682"/>
            </a:xfrm>
            <a:custGeom>
              <a:avLst/>
              <a:gdLst>
                <a:gd name="connsiteX0" fmla="*/ 2112 w 44809"/>
                <a:gd name="connsiteY0" fmla="*/ 85137 h 74681"/>
                <a:gd name="connsiteX1" fmla="*/ 36466 w 44809"/>
                <a:gd name="connsiteY1" fmla="*/ 68707 h 74681"/>
                <a:gd name="connsiteX2" fmla="*/ 42440 w 44809"/>
                <a:gd name="connsiteY2" fmla="*/ 58252 h 74681"/>
                <a:gd name="connsiteX3" fmla="*/ 45428 w 44809"/>
                <a:gd name="connsiteY3" fmla="*/ 43315 h 74681"/>
                <a:gd name="connsiteX4" fmla="*/ 45428 w 44809"/>
                <a:gd name="connsiteY4" fmla="*/ 16430 h 74681"/>
                <a:gd name="connsiteX5" fmla="*/ 43934 w 44809"/>
                <a:gd name="connsiteY5" fmla="*/ 0 h 74681"/>
                <a:gd name="connsiteX6" fmla="*/ 43934 w 44809"/>
                <a:gd name="connsiteY6" fmla="*/ 5975 h 74681"/>
                <a:gd name="connsiteX7" fmla="*/ 43934 w 44809"/>
                <a:gd name="connsiteY7" fmla="*/ 32860 h 74681"/>
                <a:gd name="connsiteX8" fmla="*/ 36466 w 44809"/>
                <a:gd name="connsiteY8" fmla="*/ 56758 h 74681"/>
                <a:gd name="connsiteX9" fmla="*/ 34972 w 44809"/>
                <a:gd name="connsiteY9" fmla="*/ 58252 h 74681"/>
                <a:gd name="connsiteX10" fmla="*/ 619 w 44809"/>
                <a:gd name="connsiteY10" fmla="*/ 74682 h 74681"/>
                <a:gd name="connsiteX11" fmla="*/ 619 w 44809"/>
                <a:gd name="connsiteY11" fmla="*/ 74682 h 74681"/>
                <a:gd name="connsiteX12" fmla="*/ 2112 w 44809"/>
                <a:gd name="connsiteY12" fmla="*/ 8513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09" h="74681">
                  <a:moveTo>
                    <a:pt x="2112" y="85137"/>
                  </a:moveTo>
                  <a:cubicBezTo>
                    <a:pt x="15555" y="86631"/>
                    <a:pt x="28998" y="79163"/>
                    <a:pt x="36466" y="68707"/>
                  </a:cubicBezTo>
                  <a:cubicBezTo>
                    <a:pt x="39453" y="65720"/>
                    <a:pt x="40947" y="61239"/>
                    <a:pt x="42440" y="58252"/>
                  </a:cubicBezTo>
                  <a:cubicBezTo>
                    <a:pt x="43934" y="53771"/>
                    <a:pt x="45428" y="49290"/>
                    <a:pt x="45428" y="43315"/>
                  </a:cubicBezTo>
                  <a:cubicBezTo>
                    <a:pt x="46921" y="34354"/>
                    <a:pt x="45428" y="25392"/>
                    <a:pt x="45428" y="16430"/>
                  </a:cubicBezTo>
                  <a:cubicBezTo>
                    <a:pt x="45428" y="11949"/>
                    <a:pt x="43934" y="5975"/>
                    <a:pt x="43934" y="0"/>
                  </a:cubicBezTo>
                  <a:cubicBezTo>
                    <a:pt x="43934" y="2987"/>
                    <a:pt x="43934" y="4481"/>
                    <a:pt x="43934" y="5975"/>
                  </a:cubicBezTo>
                  <a:cubicBezTo>
                    <a:pt x="43934" y="14936"/>
                    <a:pt x="45428" y="23898"/>
                    <a:pt x="43934" y="32860"/>
                  </a:cubicBezTo>
                  <a:cubicBezTo>
                    <a:pt x="42440" y="41822"/>
                    <a:pt x="40947" y="49290"/>
                    <a:pt x="36466" y="56758"/>
                  </a:cubicBezTo>
                  <a:cubicBezTo>
                    <a:pt x="36466" y="56758"/>
                    <a:pt x="36466" y="58252"/>
                    <a:pt x="34972" y="58252"/>
                  </a:cubicBezTo>
                  <a:cubicBezTo>
                    <a:pt x="27504" y="68707"/>
                    <a:pt x="14061" y="74682"/>
                    <a:pt x="619" y="74682"/>
                  </a:cubicBezTo>
                  <a:cubicBezTo>
                    <a:pt x="619" y="74682"/>
                    <a:pt x="619" y="74682"/>
                    <a:pt x="619" y="74682"/>
                  </a:cubicBezTo>
                  <a:cubicBezTo>
                    <a:pt x="-875" y="79163"/>
                    <a:pt x="619" y="82150"/>
                    <a:pt x="2112" y="85137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5" name="任意多边形: 形状 10624"/>
            <p:cNvSpPr/>
            <p:nvPr/>
          </p:nvSpPr>
          <p:spPr>
            <a:xfrm>
              <a:off x="7358210" y="272501"/>
              <a:ext cx="89618" cy="104554"/>
            </a:xfrm>
            <a:custGeom>
              <a:avLst/>
              <a:gdLst>
                <a:gd name="connsiteX0" fmla="*/ 70705 w 89618"/>
                <a:gd name="connsiteY0" fmla="*/ 74081 h 104554"/>
                <a:gd name="connsiteX1" fmla="*/ 78174 w 89618"/>
                <a:gd name="connsiteY1" fmla="*/ 68107 h 104554"/>
                <a:gd name="connsiteX2" fmla="*/ 78174 w 89618"/>
                <a:gd name="connsiteY2" fmla="*/ 112916 h 104554"/>
                <a:gd name="connsiteX3" fmla="*/ 81161 w 89618"/>
                <a:gd name="connsiteY3" fmla="*/ 118890 h 104554"/>
                <a:gd name="connsiteX4" fmla="*/ 91616 w 89618"/>
                <a:gd name="connsiteY4" fmla="*/ 109929 h 104554"/>
                <a:gd name="connsiteX5" fmla="*/ 96097 w 89618"/>
                <a:gd name="connsiteY5" fmla="*/ 26285 h 104554"/>
                <a:gd name="connsiteX6" fmla="*/ 70705 w 89618"/>
                <a:gd name="connsiteY6" fmla="*/ 3881 h 104554"/>
                <a:gd name="connsiteX7" fmla="*/ 34858 w 89618"/>
                <a:gd name="connsiteY7" fmla="*/ 893 h 104554"/>
                <a:gd name="connsiteX8" fmla="*/ 9466 w 89618"/>
                <a:gd name="connsiteY8" fmla="*/ 12842 h 104554"/>
                <a:gd name="connsiteX9" fmla="*/ 505 w 89618"/>
                <a:gd name="connsiteY9" fmla="*/ 30766 h 104554"/>
                <a:gd name="connsiteX10" fmla="*/ 12454 w 89618"/>
                <a:gd name="connsiteY10" fmla="*/ 47196 h 104554"/>
                <a:gd name="connsiteX11" fmla="*/ 69212 w 89618"/>
                <a:gd name="connsiteY11" fmla="*/ 44209 h 104554"/>
                <a:gd name="connsiteX12" fmla="*/ 70705 w 89618"/>
                <a:gd name="connsiteY12" fmla="*/ 74081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618" h="104554">
                  <a:moveTo>
                    <a:pt x="70705" y="74081"/>
                  </a:moveTo>
                  <a:cubicBezTo>
                    <a:pt x="70705" y="74081"/>
                    <a:pt x="75186" y="69600"/>
                    <a:pt x="78174" y="68107"/>
                  </a:cubicBezTo>
                  <a:cubicBezTo>
                    <a:pt x="76680" y="83043"/>
                    <a:pt x="76680" y="97980"/>
                    <a:pt x="78174" y="112916"/>
                  </a:cubicBezTo>
                  <a:cubicBezTo>
                    <a:pt x="78174" y="114410"/>
                    <a:pt x="79667" y="117397"/>
                    <a:pt x="81161" y="118890"/>
                  </a:cubicBezTo>
                  <a:cubicBezTo>
                    <a:pt x="82654" y="120384"/>
                    <a:pt x="88629" y="114410"/>
                    <a:pt x="91616" y="109929"/>
                  </a:cubicBezTo>
                  <a:cubicBezTo>
                    <a:pt x="103566" y="84537"/>
                    <a:pt x="103566" y="39728"/>
                    <a:pt x="96097" y="26285"/>
                  </a:cubicBezTo>
                  <a:cubicBezTo>
                    <a:pt x="90122" y="15830"/>
                    <a:pt x="81161" y="8361"/>
                    <a:pt x="70705" y="3881"/>
                  </a:cubicBezTo>
                  <a:cubicBezTo>
                    <a:pt x="60250" y="-600"/>
                    <a:pt x="46807" y="-600"/>
                    <a:pt x="34858" y="893"/>
                  </a:cubicBezTo>
                  <a:cubicBezTo>
                    <a:pt x="24403" y="2387"/>
                    <a:pt x="16934" y="5374"/>
                    <a:pt x="9466" y="12842"/>
                  </a:cubicBezTo>
                  <a:cubicBezTo>
                    <a:pt x="505" y="20311"/>
                    <a:pt x="-989" y="27779"/>
                    <a:pt x="505" y="30766"/>
                  </a:cubicBezTo>
                  <a:cubicBezTo>
                    <a:pt x="1998" y="38234"/>
                    <a:pt x="3492" y="45702"/>
                    <a:pt x="12454" y="47196"/>
                  </a:cubicBezTo>
                  <a:cubicBezTo>
                    <a:pt x="46807" y="50183"/>
                    <a:pt x="57263" y="17323"/>
                    <a:pt x="69212" y="44209"/>
                  </a:cubicBezTo>
                  <a:cubicBezTo>
                    <a:pt x="72199" y="56158"/>
                    <a:pt x="69212" y="71094"/>
                    <a:pt x="70705" y="7408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6" name="任意多边形: 形状 10625"/>
            <p:cNvSpPr/>
            <p:nvPr/>
          </p:nvSpPr>
          <p:spPr>
            <a:xfrm>
              <a:off x="7428916" y="334633"/>
              <a:ext cx="14936" cy="29873"/>
            </a:xfrm>
            <a:custGeom>
              <a:avLst/>
              <a:gdLst>
                <a:gd name="connsiteX0" fmla="*/ 8962 w 14936"/>
                <a:gd name="connsiteY0" fmla="*/ 0 h 29872"/>
                <a:gd name="connsiteX1" fmla="*/ 1494 w 14936"/>
                <a:gd name="connsiteY1" fmla="*/ 5975 h 29872"/>
                <a:gd name="connsiteX2" fmla="*/ 0 w 14936"/>
                <a:gd name="connsiteY2" fmla="*/ 17924 h 29872"/>
                <a:gd name="connsiteX3" fmla="*/ 2987 w 14936"/>
                <a:gd name="connsiteY3" fmla="*/ 32860 h 29872"/>
                <a:gd name="connsiteX4" fmla="*/ 5974 w 14936"/>
                <a:gd name="connsiteY4" fmla="*/ 35847 h 29872"/>
                <a:gd name="connsiteX5" fmla="*/ 11949 w 14936"/>
                <a:gd name="connsiteY5" fmla="*/ 34354 h 29872"/>
                <a:gd name="connsiteX6" fmla="*/ 14936 w 14936"/>
                <a:gd name="connsiteY6" fmla="*/ 28379 h 29872"/>
                <a:gd name="connsiteX7" fmla="*/ 16430 w 14936"/>
                <a:gd name="connsiteY7" fmla="*/ 10455 h 29872"/>
                <a:gd name="connsiteX8" fmla="*/ 14936 w 14936"/>
                <a:gd name="connsiteY8" fmla="*/ 2987 h 29872"/>
                <a:gd name="connsiteX9" fmla="*/ 8962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8962" y="0"/>
                  </a:moveTo>
                  <a:cubicBezTo>
                    <a:pt x="5974" y="0"/>
                    <a:pt x="2987" y="2987"/>
                    <a:pt x="1494" y="5975"/>
                  </a:cubicBezTo>
                  <a:cubicBezTo>
                    <a:pt x="0" y="10455"/>
                    <a:pt x="0" y="13443"/>
                    <a:pt x="0" y="17924"/>
                  </a:cubicBezTo>
                  <a:cubicBezTo>
                    <a:pt x="0" y="22405"/>
                    <a:pt x="0" y="28379"/>
                    <a:pt x="2987" y="32860"/>
                  </a:cubicBezTo>
                  <a:cubicBezTo>
                    <a:pt x="2987" y="34354"/>
                    <a:pt x="4481" y="35847"/>
                    <a:pt x="5974" y="35847"/>
                  </a:cubicBezTo>
                  <a:cubicBezTo>
                    <a:pt x="7468" y="37341"/>
                    <a:pt x="10456" y="35847"/>
                    <a:pt x="11949" y="34354"/>
                  </a:cubicBezTo>
                  <a:cubicBezTo>
                    <a:pt x="13443" y="32860"/>
                    <a:pt x="13443" y="31366"/>
                    <a:pt x="14936" y="28379"/>
                  </a:cubicBezTo>
                  <a:cubicBezTo>
                    <a:pt x="16430" y="22405"/>
                    <a:pt x="16430" y="16430"/>
                    <a:pt x="16430" y="10455"/>
                  </a:cubicBezTo>
                  <a:cubicBezTo>
                    <a:pt x="16430" y="7468"/>
                    <a:pt x="16430" y="5975"/>
                    <a:pt x="14936" y="2987"/>
                  </a:cubicBezTo>
                  <a:cubicBezTo>
                    <a:pt x="13443" y="1494"/>
                    <a:pt x="11949" y="0"/>
                    <a:pt x="8962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7" name="任意多边形: 形状 10626"/>
            <p:cNvSpPr/>
            <p:nvPr/>
          </p:nvSpPr>
          <p:spPr>
            <a:xfrm>
              <a:off x="7348867" y="276382"/>
              <a:ext cx="74682" cy="44809"/>
            </a:xfrm>
            <a:custGeom>
              <a:avLst/>
              <a:gdLst>
                <a:gd name="connsiteX0" fmla="*/ 80049 w 74681"/>
                <a:gd name="connsiteY0" fmla="*/ 32860 h 44809"/>
                <a:gd name="connsiteX1" fmla="*/ 81543 w 74681"/>
                <a:gd name="connsiteY1" fmla="*/ 26885 h 44809"/>
                <a:gd name="connsiteX2" fmla="*/ 78555 w 74681"/>
                <a:gd name="connsiteY2" fmla="*/ 20911 h 44809"/>
                <a:gd name="connsiteX3" fmla="*/ 57645 w 74681"/>
                <a:gd name="connsiteY3" fmla="*/ 8962 h 44809"/>
                <a:gd name="connsiteX4" fmla="*/ 26278 w 74681"/>
                <a:gd name="connsiteY4" fmla="*/ 0 h 44809"/>
                <a:gd name="connsiteX5" fmla="*/ 6861 w 74681"/>
                <a:gd name="connsiteY5" fmla="*/ 49290 h 44809"/>
                <a:gd name="connsiteX6" fmla="*/ 80049 w 74681"/>
                <a:gd name="connsiteY6" fmla="*/ 32860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681" h="44809">
                  <a:moveTo>
                    <a:pt x="80049" y="32860"/>
                  </a:moveTo>
                  <a:cubicBezTo>
                    <a:pt x="83037" y="32860"/>
                    <a:pt x="83037" y="28379"/>
                    <a:pt x="81543" y="26885"/>
                  </a:cubicBezTo>
                  <a:cubicBezTo>
                    <a:pt x="81543" y="23898"/>
                    <a:pt x="80049" y="22405"/>
                    <a:pt x="78555" y="20911"/>
                  </a:cubicBezTo>
                  <a:cubicBezTo>
                    <a:pt x="72581" y="14936"/>
                    <a:pt x="65113" y="11949"/>
                    <a:pt x="57645" y="8962"/>
                  </a:cubicBezTo>
                  <a:cubicBezTo>
                    <a:pt x="50176" y="7468"/>
                    <a:pt x="30759" y="0"/>
                    <a:pt x="26278" y="0"/>
                  </a:cubicBezTo>
                  <a:cubicBezTo>
                    <a:pt x="18810" y="1494"/>
                    <a:pt x="-14050" y="26885"/>
                    <a:pt x="6861" y="49290"/>
                  </a:cubicBezTo>
                  <a:cubicBezTo>
                    <a:pt x="32253" y="74682"/>
                    <a:pt x="45695" y="25392"/>
                    <a:pt x="80049" y="32860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8" name="任意多边形: 形状 10627"/>
            <p:cNvSpPr/>
            <p:nvPr/>
          </p:nvSpPr>
          <p:spPr>
            <a:xfrm>
              <a:off x="7306438" y="782724"/>
              <a:ext cx="14936" cy="14936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9" name="任意多边形: 形状 10628"/>
            <p:cNvSpPr/>
            <p:nvPr/>
          </p:nvSpPr>
          <p:spPr>
            <a:xfrm>
              <a:off x="7164543" y="647176"/>
              <a:ext cx="238981" cy="134427"/>
            </a:xfrm>
            <a:custGeom>
              <a:avLst/>
              <a:gdLst>
                <a:gd name="connsiteX0" fmla="*/ 1493 w 238981"/>
                <a:gd name="connsiteY0" fmla="*/ 54891 h 134427"/>
                <a:gd name="connsiteX1" fmla="*/ 2987 w 238981"/>
                <a:gd name="connsiteY1" fmla="*/ 56385 h 134427"/>
                <a:gd name="connsiteX2" fmla="*/ 25392 w 238981"/>
                <a:gd name="connsiteY2" fmla="*/ 69827 h 134427"/>
                <a:gd name="connsiteX3" fmla="*/ 26885 w 238981"/>
                <a:gd name="connsiteY3" fmla="*/ 68334 h 134427"/>
                <a:gd name="connsiteX4" fmla="*/ 40328 w 238981"/>
                <a:gd name="connsiteY4" fmla="*/ 75802 h 134427"/>
                <a:gd name="connsiteX5" fmla="*/ 38834 w 238981"/>
                <a:gd name="connsiteY5" fmla="*/ 77296 h 134427"/>
                <a:gd name="connsiteX6" fmla="*/ 109035 w 238981"/>
                <a:gd name="connsiteY6" fmla="*/ 117624 h 134427"/>
                <a:gd name="connsiteX7" fmla="*/ 110529 w 238981"/>
                <a:gd name="connsiteY7" fmla="*/ 116130 h 134427"/>
                <a:gd name="connsiteX8" fmla="*/ 123972 w 238981"/>
                <a:gd name="connsiteY8" fmla="*/ 123598 h 134427"/>
                <a:gd name="connsiteX9" fmla="*/ 122478 w 238981"/>
                <a:gd name="connsiteY9" fmla="*/ 125092 h 134427"/>
                <a:gd name="connsiteX10" fmla="*/ 137414 w 238981"/>
                <a:gd name="connsiteY10" fmla="*/ 134054 h 134427"/>
                <a:gd name="connsiteX11" fmla="*/ 138908 w 238981"/>
                <a:gd name="connsiteY11" fmla="*/ 135547 h 134427"/>
                <a:gd name="connsiteX12" fmla="*/ 138908 w 238981"/>
                <a:gd name="connsiteY12" fmla="*/ 135547 h 134427"/>
                <a:gd name="connsiteX13" fmla="*/ 138908 w 238981"/>
                <a:gd name="connsiteY13" fmla="*/ 135547 h 134427"/>
                <a:gd name="connsiteX14" fmla="*/ 149363 w 238981"/>
                <a:gd name="connsiteY14" fmla="*/ 135547 h 134427"/>
                <a:gd name="connsiteX15" fmla="*/ 235994 w 238981"/>
                <a:gd name="connsiteY15" fmla="*/ 84764 h 134427"/>
                <a:gd name="connsiteX16" fmla="*/ 238982 w 238981"/>
                <a:gd name="connsiteY16" fmla="*/ 81776 h 134427"/>
                <a:gd name="connsiteX17" fmla="*/ 235994 w 238981"/>
                <a:gd name="connsiteY17" fmla="*/ 78789 h 134427"/>
                <a:gd name="connsiteX18" fmla="*/ 97086 w 238981"/>
                <a:gd name="connsiteY18" fmla="*/ 1120 h 134427"/>
                <a:gd name="connsiteX19" fmla="*/ 86631 w 238981"/>
                <a:gd name="connsiteY19" fmla="*/ 1120 h 134427"/>
                <a:gd name="connsiteX20" fmla="*/ 0 w 238981"/>
                <a:gd name="connsiteY20" fmla="*/ 51904 h 134427"/>
                <a:gd name="connsiteX21" fmla="*/ 1493 w 238981"/>
                <a:gd name="connsiteY21" fmla="*/ 54891 h 134427"/>
                <a:gd name="connsiteX22" fmla="*/ 1493 w 238981"/>
                <a:gd name="connsiteY22" fmla="*/ 54891 h 134427"/>
                <a:gd name="connsiteX23" fmla="*/ 183717 w 238981"/>
                <a:gd name="connsiteY23" fmla="*/ 53397 h 134427"/>
                <a:gd name="connsiteX24" fmla="*/ 161313 w 238981"/>
                <a:gd name="connsiteY24" fmla="*/ 66840 h 134427"/>
                <a:gd name="connsiteX25" fmla="*/ 123972 w 238981"/>
                <a:gd name="connsiteY25" fmla="*/ 45929 h 134427"/>
                <a:gd name="connsiteX26" fmla="*/ 146376 w 238981"/>
                <a:gd name="connsiteY26" fmla="*/ 32487 h 134427"/>
                <a:gd name="connsiteX27" fmla="*/ 183717 w 238981"/>
                <a:gd name="connsiteY27" fmla="*/ 53397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38981" h="134427">
                  <a:moveTo>
                    <a:pt x="1493" y="54891"/>
                  </a:moveTo>
                  <a:cubicBezTo>
                    <a:pt x="1493" y="54891"/>
                    <a:pt x="1493" y="56385"/>
                    <a:pt x="2987" y="56385"/>
                  </a:cubicBezTo>
                  <a:lnTo>
                    <a:pt x="25392" y="69827"/>
                  </a:lnTo>
                  <a:lnTo>
                    <a:pt x="26885" y="68334"/>
                  </a:lnTo>
                  <a:lnTo>
                    <a:pt x="40328" y="75802"/>
                  </a:lnTo>
                  <a:lnTo>
                    <a:pt x="38834" y="77296"/>
                  </a:lnTo>
                  <a:lnTo>
                    <a:pt x="109035" y="117624"/>
                  </a:lnTo>
                  <a:lnTo>
                    <a:pt x="110529" y="116130"/>
                  </a:lnTo>
                  <a:lnTo>
                    <a:pt x="123972" y="123598"/>
                  </a:lnTo>
                  <a:lnTo>
                    <a:pt x="122478" y="125092"/>
                  </a:lnTo>
                  <a:lnTo>
                    <a:pt x="137414" y="134054"/>
                  </a:lnTo>
                  <a:cubicBezTo>
                    <a:pt x="137414" y="134054"/>
                    <a:pt x="138908" y="134054"/>
                    <a:pt x="138908" y="135547"/>
                  </a:cubicBezTo>
                  <a:cubicBezTo>
                    <a:pt x="138908" y="135547"/>
                    <a:pt x="138908" y="135547"/>
                    <a:pt x="138908" y="135547"/>
                  </a:cubicBezTo>
                  <a:lnTo>
                    <a:pt x="138908" y="135547"/>
                  </a:lnTo>
                  <a:cubicBezTo>
                    <a:pt x="141895" y="137041"/>
                    <a:pt x="146376" y="137041"/>
                    <a:pt x="149363" y="135547"/>
                  </a:cubicBezTo>
                  <a:lnTo>
                    <a:pt x="235994" y="84764"/>
                  </a:lnTo>
                  <a:cubicBezTo>
                    <a:pt x="237488" y="83270"/>
                    <a:pt x="238982" y="83270"/>
                    <a:pt x="238982" y="81776"/>
                  </a:cubicBezTo>
                  <a:cubicBezTo>
                    <a:pt x="238982" y="80283"/>
                    <a:pt x="237488" y="78789"/>
                    <a:pt x="235994" y="78789"/>
                  </a:cubicBezTo>
                  <a:lnTo>
                    <a:pt x="97086" y="1120"/>
                  </a:lnTo>
                  <a:cubicBezTo>
                    <a:pt x="94099" y="-373"/>
                    <a:pt x="89618" y="-373"/>
                    <a:pt x="86631" y="1120"/>
                  </a:cubicBezTo>
                  <a:lnTo>
                    <a:pt x="0" y="51904"/>
                  </a:lnTo>
                  <a:cubicBezTo>
                    <a:pt x="2987" y="51904"/>
                    <a:pt x="1493" y="53397"/>
                    <a:pt x="1493" y="54891"/>
                  </a:cubicBezTo>
                  <a:cubicBezTo>
                    <a:pt x="1493" y="54891"/>
                    <a:pt x="1493" y="54891"/>
                    <a:pt x="1493" y="54891"/>
                  </a:cubicBezTo>
                  <a:close/>
                  <a:moveTo>
                    <a:pt x="183717" y="53397"/>
                  </a:moveTo>
                  <a:lnTo>
                    <a:pt x="161313" y="66840"/>
                  </a:lnTo>
                  <a:lnTo>
                    <a:pt x="123972" y="45929"/>
                  </a:lnTo>
                  <a:lnTo>
                    <a:pt x="146376" y="32487"/>
                  </a:lnTo>
                  <a:lnTo>
                    <a:pt x="183717" y="53397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0" name="任意多边形: 形状 10629"/>
            <p:cNvSpPr/>
            <p:nvPr/>
          </p:nvSpPr>
          <p:spPr>
            <a:xfrm>
              <a:off x="7288514" y="679663"/>
              <a:ext cx="59745" cy="29873"/>
            </a:xfrm>
            <a:custGeom>
              <a:avLst/>
              <a:gdLst>
                <a:gd name="connsiteX0" fmla="*/ 0 w 59745"/>
                <a:gd name="connsiteY0" fmla="*/ 13443 h 29872"/>
                <a:gd name="connsiteX1" fmla="*/ 20911 w 59745"/>
                <a:gd name="connsiteY1" fmla="*/ 0 h 29872"/>
                <a:gd name="connsiteX2" fmla="*/ 59745 w 59745"/>
                <a:gd name="connsiteY2" fmla="*/ 20911 h 29872"/>
                <a:gd name="connsiteX3" fmla="*/ 37341 w 59745"/>
                <a:gd name="connsiteY3" fmla="*/ 34354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29872">
                  <a:moveTo>
                    <a:pt x="0" y="13443"/>
                  </a:moveTo>
                  <a:lnTo>
                    <a:pt x="20911" y="0"/>
                  </a:lnTo>
                  <a:lnTo>
                    <a:pt x="59745" y="20911"/>
                  </a:lnTo>
                  <a:lnTo>
                    <a:pt x="37341" y="34354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1" name="任意多边形: 形状 10630"/>
            <p:cNvSpPr/>
            <p:nvPr/>
          </p:nvSpPr>
          <p:spPr>
            <a:xfrm>
              <a:off x="7161555" y="702067"/>
              <a:ext cx="238981" cy="89618"/>
            </a:xfrm>
            <a:custGeom>
              <a:avLst/>
              <a:gdLst>
                <a:gd name="connsiteX0" fmla="*/ 7468 w 238981"/>
                <a:gd name="connsiteY0" fmla="*/ 2987 h 89618"/>
                <a:gd name="connsiteX1" fmla="*/ 146376 w 238981"/>
                <a:gd name="connsiteY1" fmla="*/ 80656 h 89618"/>
                <a:gd name="connsiteX2" fmla="*/ 156832 w 238981"/>
                <a:gd name="connsiteY2" fmla="*/ 80656 h 89618"/>
                <a:gd name="connsiteX3" fmla="*/ 243462 w 238981"/>
                <a:gd name="connsiteY3" fmla="*/ 29873 h 89618"/>
                <a:gd name="connsiteX4" fmla="*/ 244956 w 238981"/>
                <a:gd name="connsiteY4" fmla="*/ 26885 h 89618"/>
                <a:gd name="connsiteX5" fmla="*/ 244956 w 238981"/>
                <a:gd name="connsiteY5" fmla="*/ 26885 h 89618"/>
                <a:gd name="connsiteX6" fmla="*/ 244956 w 238981"/>
                <a:gd name="connsiteY6" fmla="*/ 34354 h 89618"/>
                <a:gd name="connsiteX7" fmla="*/ 241969 w 238981"/>
                <a:gd name="connsiteY7" fmla="*/ 37341 h 89618"/>
                <a:gd name="connsiteX8" fmla="*/ 224045 w 238981"/>
                <a:gd name="connsiteY8" fmla="*/ 47796 h 89618"/>
                <a:gd name="connsiteX9" fmla="*/ 221058 w 238981"/>
                <a:gd name="connsiteY9" fmla="*/ 49290 h 89618"/>
                <a:gd name="connsiteX10" fmla="*/ 221058 w 238981"/>
                <a:gd name="connsiteY10" fmla="*/ 49290 h 89618"/>
                <a:gd name="connsiteX11" fmla="*/ 153844 w 238981"/>
                <a:gd name="connsiteY11" fmla="*/ 88124 h 89618"/>
                <a:gd name="connsiteX12" fmla="*/ 147870 w 238981"/>
                <a:gd name="connsiteY12" fmla="*/ 89618 h 89618"/>
                <a:gd name="connsiteX13" fmla="*/ 141895 w 238981"/>
                <a:gd name="connsiteY13" fmla="*/ 88124 h 89618"/>
                <a:gd name="connsiteX14" fmla="*/ 2987 w 238981"/>
                <a:gd name="connsiteY14" fmla="*/ 10455 h 89618"/>
                <a:gd name="connsiteX15" fmla="*/ 0 w 238981"/>
                <a:gd name="connsiteY15" fmla="*/ 7468 h 89618"/>
                <a:gd name="connsiteX16" fmla="*/ 0 w 238981"/>
                <a:gd name="connsiteY16" fmla="*/ 7468 h 89618"/>
                <a:gd name="connsiteX17" fmla="*/ 0 w 238981"/>
                <a:gd name="connsiteY17" fmla="*/ 0 h 89618"/>
                <a:gd name="connsiteX18" fmla="*/ 7468 w 238981"/>
                <a:gd name="connsiteY18" fmla="*/ 2987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8981" h="89618">
                  <a:moveTo>
                    <a:pt x="7468" y="2987"/>
                  </a:moveTo>
                  <a:lnTo>
                    <a:pt x="146376" y="80656"/>
                  </a:lnTo>
                  <a:cubicBezTo>
                    <a:pt x="149363" y="82150"/>
                    <a:pt x="153844" y="82150"/>
                    <a:pt x="156832" y="80656"/>
                  </a:cubicBezTo>
                  <a:lnTo>
                    <a:pt x="243462" y="29873"/>
                  </a:lnTo>
                  <a:cubicBezTo>
                    <a:pt x="244956" y="28379"/>
                    <a:pt x="244956" y="28379"/>
                    <a:pt x="244956" y="26885"/>
                  </a:cubicBezTo>
                  <a:lnTo>
                    <a:pt x="244956" y="26885"/>
                  </a:lnTo>
                  <a:lnTo>
                    <a:pt x="244956" y="34354"/>
                  </a:lnTo>
                  <a:cubicBezTo>
                    <a:pt x="244956" y="35847"/>
                    <a:pt x="244956" y="37341"/>
                    <a:pt x="241969" y="37341"/>
                  </a:cubicBezTo>
                  <a:lnTo>
                    <a:pt x="224045" y="47796"/>
                  </a:lnTo>
                  <a:lnTo>
                    <a:pt x="221058" y="49290"/>
                  </a:lnTo>
                  <a:lnTo>
                    <a:pt x="221058" y="49290"/>
                  </a:lnTo>
                  <a:lnTo>
                    <a:pt x="153844" y="88124"/>
                  </a:lnTo>
                  <a:cubicBezTo>
                    <a:pt x="152351" y="89618"/>
                    <a:pt x="150857" y="89618"/>
                    <a:pt x="147870" y="89618"/>
                  </a:cubicBezTo>
                  <a:cubicBezTo>
                    <a:pt x="146376" y="89618"/>
                    <a:pt x="143389" y="89618"/>
                    <a:pt x="141895" y="88124"/>
                  </a:cubicBezTo>
                  <a:lnTo>
                    <a:pt x="2987" y="10455"/>
                  </a:lnTo>
                  <a:cubicBezTo>
                    <a:pt x="1493" y="8962"/>
                    <a:pt x="0" y="8962"/>
                    <a:pt x="0" y="7468"/>
                  </a:cubicBezTo>
                  <a:lnTo>
                    <a:pt x="0" y="7468"/>
                  </a:lnTo>
                  <a:lnTo>
                    <a:pt x="0" y="0"/>
                  </a:lnTo>
                  <a:cubicBezTo>
                    <a:pt x="4481" y="0"/>
                    <a:pt x="5974" y="1494"/>
                    <a:pt x="7468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2" name="任意多边形: 形状 10631"/>
            <p:cNvSpPr/>
            <p:nvPr/>
          </p:nvSpPr>
          <p:spPr>
            <a:xfrm>
              <a:off x="7185453" y="696093"/>
              <a:ext cx="14936" cy="14936"/>
            </a:xfrm>
            <a:custGeom>
              <a:avLst/>
              <a:gdLst>
                <a:gd name="connsiteX0" fmla="*/ 11949 w 14936"/>
                <a:gd name="connsiteY0" fmla="*/ 0 h 0"/>
                <a:gd name="connsiteX1" fmla="*/ 25392 w 14936"/>
                <a:gd name="connsiteY1" fmla="*/ 7468 h 0"/>
                <a:gd name="connsiteX2" fmla="*/ 13443 w 14936"/>
                <a:gd name="connsiteY2" fmla="*/ 13443 h 0"/>
                <a:gd name="connsiteX3" fmla="*/ 0 w 14936"/>
                <a:gd name="connsiteY3" fmla="*/ 597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25392" y="7468"/>
                  </a:lnTo>
                  <a:lnTo>
                    <a:pt x="13443" y="13443"/>
                  </a:lnTo>
                  <a:lnTo>
                    <a:pt x="0" y="5975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3" name="任意多边形: 形状 10632"/>
            <p:cNvSpPr/>
            <p:nvPr/>
          </p:nvSpPr>
          <p:spPr>
            <a:xfrm>
              <a:off x="7201884" y="705055"/>
              <a:ext cx="14936" cy="14936"/>
            </a:xfrm>
            <a:custGeom>
              <a:avLst/>
              <a:gdLst>
                <a:gd name="connsiteX0" fmla="*/ 23898 w 14936"/>
                <a:gd name="connsiteY0" fmla="*/ 7468 h 0"/>
                <a:gd name="connsiteX1" fmla="*/ 13443 w 14936"/>
                <a:gd name="connsiteY1" fmla="*/ 13443 h 0"/>
                <a:gd name="connsiteX2" fmla="*/ 0 w 14936"/>
                <a:gd name="connsiteY2" fmla="*/ 5975 h 0"/>
                <a:gd name="connsiteX3" fmla="*/ 10455 w 14936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23898" y="7468"/>
                  </a:moveTo>
                  <a:lnTo>
                    <a:pt x="13443" y="13443"/>
                  </a:lnTo>
                  <a:lnTo>
                    <a:pt x="0" y="5975"/>
                  </a:lnTo>
                  <a:lnTo>
                    <a:pt x="10455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4" name="任意多边形: 形状 10633"/>
            <p:cNvSpPr/>
            <p:nvPr/>
          </p:nvSpPr>
          <p:spPr>
            <a:xfrm>
              <a:off x="7216820" y="714016"/>
              <a:ext cx="14936" cy="14936"/>
            </a:xfrm>
            <a:custGeom>
              <a:avLst/>
              <a:gdLst>
                <a:gd name="connsiteX0" fmla="*/ 25392 w 14936"/>
                <a:gd name="connsiteY0" fmla="*/ 7468 h 0"/>
                <a:gd name="connsiteX1" fmla="*/ 13443 w 14936"/>
                <a:gd name="connsiteY1" fmla="*/ 13443 h 0"/>
                <a:gd name="connsiteX2" fmla="*/ 13443 w 14936"/>
                <a:gd name="connsiteY2" fmla="*/ 13443 h 0"/>
                <a:gd name="connsiteX3" fmla="*/ 0 w 14936"/>
                <a:gd name="connsiteY3" fmla="*/ 5975 h 0"/>
                <a:gd name="connsiteX4" fmla="*/ 10455 w 14936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>
                  <a:moveTo>
                    <a:pt x="25392" y="7468"/>
                  </a:moveTo>
                  <a:lnTo>
                    <a:pt x="13443" y="13443"/>
                  </a:lnTo>
                  <a:lnTo>
                    <a:pt x="13443" y="13443"/>
                  </a:lnTo>
                  <a:lnTo>
                    <a:pt x="0" y="5975"/>
                  </a:lnTo>
                  <a:lnTo>
                    <a:pt x="10455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5" name="任意多边形: 形状 10634"/>
            <p:cNvSpPr/>
            <p:nvPr/>
          </p:nvSpPr>
          <p:spPr>
            <a:xfrm>
              <a:off x="7231756" y="721485"/>
              <a:ext cx="14936" cy="14936"/>
            </a:xfrm>
            <a:custGeom>
              <a:avLst/>
              <a:gdLst>
                <a:gd name="connsiteX0" fmla="*/ 11949 w 14936"/>
                <a:gd name="connsiteY0" fmla="*/ 0 h 14936"/>
                <a:gd name="connsiteX1" fmla="*/ 25392 w 14936"/>
                <a:gd name="connsiteY1" fmla="*/ 7468 h 14936"/>
                <a:gd name="connsiteX2" fmla="*/ 13443 w 14936"/>
                <a:gd name="connsiteY2" fmla="*/ 14936 h 14936"/>
                <a:gd name="connsiteX3" fmla="*/ 0 w 14936"/>
                <a:gd name="connsiteY3" fmla="*/ 7468 h 14936"/>
                <a:gd name="connsiteX4" fmla="*/ 0 w 14936"/>
                <a:gd name="connsiteY4" fmla="*/ 7468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11949" y="0"/>
                  </a:moveTo>
                  <a:lnTo>
                    <a:pt x="25392" y="7468"/>
                  </a:lnTo>
                  <a:lnTo>
                    <a:pt x="13443" y="14936"/>
                  </a:lnTo>
                  <a:lnTo>
                    <a:pt x="0" y="7468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6" name="任意多边形: 形状 10635"/>
            <p:cNvSpPr/>
            <p:nvPr/>
          </p:nvSpPr>
          <p:spPr>
            <a:xfrm>
              <a:off x="7246693" y="730446"/>
              <a:ext cx="14936" cy="14936"/>
            </a:xfrm>
            <a:custGeom>
              <a:avLst/>
              <a:gdLst>
                <a:gd name="connsiteX0" fmla="*/ 25392 w 14936"/>
                <a:gd name="connsiteY0" fmla="*/ 7468 h 14936"/>
                <a:gd name="connsiteX1" fmla="*/ 14936 w 14936"/>
                <a:gd name="connsiteY1" fmla="*/ 14936 h 14936"/>
                <a:gd name="connsiteX2" fmla="*/ 1493 w 14936"/>
                <a:gd name="connsiteY2" fmla="*/ 7468 h 14936"/>
                <a:gd name="connsiteX3" fmla="*/ 0 w 14936"/>
                <a:gd name="connsiteY3" fmla="*/ 7468 h 14936"/>
                <a:gd name="connsiteX4" fmla="*/ 11949 w 14936"/>
                <a:gd name="connsiteY4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25392" y="7468"/>
                  </a:moveTo>
                  <a:lnTo>
                    <a:pt x="14936" y="14936"/>
                  </a:lnTo>
                  <a:lnTo>
                    <a:pt x="1493" y="7468"/>
                  </a:lnTo>
                  <a:lnTo>
                    <a:pt x="0" y="7468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7" name="任意多边形: 形状 10636"/>
            <p:cNvSpPr/>
            <p:nvPr/>
          </p:nvSpPr>
          <p:spPr>
            <a:xfrm>
              <a:off x="7263122" y="739408"/>
              <a:ext cx="14936" cy="14936"/>
            </a:xfrm>
            <a:custGeom>
              <a:avLst/>
              <a:gdLst>
                <a:gd name="connsiteX0" fmla="*/ 23898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5975 h 14936"/>
                <a:gd name="connsiteX3" fmla="*/ 10456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3898" y="7468"/>
                  </a:moveTo>
                  <a:lnTo>
                    <a:pt x="13443" y="14936"/>
                  </a:lnTo>
                  <a:lnTo>
                    <a:pt x="0" y="5975"/>
                  </a:lnTo>
                  <a:lnTo>
                    <a:pt x="10456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8" name="任意多边形: 形状 10637"/>
            <p:cNvSpPr/>
            <p:nvPr/>
          </p:nvSpPr>
          <p:spPr>
            <a:xfrm>
              <a:off x="7278059" y="748370"/>
              <a:ext cx="14936" cy="14936"/>
            </a:xfrm>
            <a:custGeom>
              <a:avLst/>
              <a:gdLst>
                <a:gd name="connsiteX0" fmla="*/ 25392 w 14936"/>
                <a:gd name="connsiteY0" fmla="*/ 7468 h 0"/>
                <a:gd name="connsiteX1" fmla="*/ 13443 w 14936"/>
                <a:gd name="connsiteY1" fmla="*/ 13443 h 0"/>
                <a:gd name="connsiteX2" fmla="*/ 0 w 14936"/>
                <a:gd name="connsiteY2" fmla="*/ 5975 h 0"/>
                <a:gd name="connsiteX3" fmla="*/ 11949 w 14936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25392" y="7468"/>
                  </a:moveTo>
                  <a:lnTo>
                    <a:pt x="13443" y="13443"/>
                  </a:lnTo>
                  <a:lnTo>
                    <a:pt x="0" y="5975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9" name="任意多边形: 形状 10638"/>
            <p:cNvSpPr/>
            <p:nvPr/>
          </p:nvSpPr>
          <p:spPr>
            <a:xfrm>
              <a:off x="7292995" y="757332"/>
              <a:ext cx="14936" cy="14936"/>
            </a:xfrm>
            <a:custGeom>
              <a:avLst/>
              <a:gdLst>
                <a:gd name="connsiteX0" fmla="*/ 11949 w 14936"/>
                <a:gd name="connsiteY0" fmla="*/ 0 h 0"/>
                <a:gd name="connsiteX1" fmla="*/ 25392 w 14936"/>
                <a:gd name="connsiteY1" fmla="*/ 7468 h 0"/>
                <a:gd name="connsiteX2" fmla="*/ 14936 w 14936"/>
                <a:gd name="connsiteY2" fmla="*/ 13443 h 0"/>
                <a:gd name="connsiteX3" fmla="*/ 0 w 14936"/>
                <a:gd name="connsiteY3" fmla="*/ 5975 h 0"/>
                <a:gd name="connsiteX4" fmla="*/ 0 w 14936"/>
                <a:gd name="connsiteY4" fmla="*/ 597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25392" y="7468"/>
                  </a:lnTo>
                  <a:lnTo>
                    <a:pt x="14936" y="13443"/>
                  </a:lnTo>
                  <a:lnTo>
                    <a:pt x="0" y="5975"/>
                  </a:lnTo>
                  <a:lnTo>
                    <a:pt x="0" y="5975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40" name="任意多边形: 形状 10639"/>
            <p:cNvSpPr/>
            <p:nvPr/>
          </p:nvSpPr>
          <p:spPr>
            <a:xfrm>
              <a:off x="7198896" y="688625"/>
              <a:ext cx="14936" cy="14936"/>
            </a:xfrm>
            <a:custGeom>
              <a:avLst/>
              <a:gdLst>
                <a:gd name="connsiteX0" fmla="*/ 13443 w 14936"/>
                <a:gd name="connsiteY0" fmla="*/ 13443 h 0"/>
                <a:gd name="connsiteX1" fmla="*/ 0 w 14936"/>
                <a:gd name="connsiteY1" fmla="*/ 5975 h 0"/>
                <a:gd name="connsiteX2" fmla="*/ 11949 w 14936"/>
                <a:gd name="connsiteY2" fmla="*/ 0 h 0"/>
                <a:gd name="connsiteX3" fmla="*/ 25392 w 14936"/>
                <a:gd name="connsiteY3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3443" y="13443"/>
                  </a:moveTo>
                  <a:lnTo>
                    <a:pt x="0" y="5975"/>
                  </a:lnTo>
                  <a:lnTo>
                    <a:pt x="11949" y="0"/>
                  </a:lnTo>
                  <a:lnTo>
                    <a:pt x="25392" y="7468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41" name="任意多边形: 形状 10640"/>
            <p:cNvSpPr/>
            <p:nvPr/>
          </p:nvSpPr>
          <p:spPr>
            <a:xfrm>
              <a:off x="7213833" y="697586"/>
              <a:ext cx="14936" cy="14936"/>
            </a:xfrm>
            <a:custGeom>
              <a:avLst/>
              <a:gdLst>
                <a:gd name="connsiteX0" fmla="*/ 0 w 14936"/>
                <a:gd name="connsiteY0" fmla="*/ 5975 h 0"/>
                <a:gd name="connsiteX1" fmla="*/ 11949 w 14936"/>
                <a:gd name="connsiteY1" fmla="*/ 0 h 0"/>
                <a:gd name="connsiteX2" fmla="*/ 25392 w 14936"/>
                <a:gd name="connsiteY2" fmla="*/ 7468 h 0"/>
                <a:gd name="connsiteX3" fmla="*/ 13443 w 14936"/>
                <a:gd name="connsiteY3" fmla="*/ 13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0" y="5975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3443" y="13443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42" name="任意多边形: 形状 10641"/>
            <p:cNvSpPr/>
            <p:nvPr/>
          </p:nvSpPr>
          <p:spPr>
            <a:xfrm>
              <a:off x="7230262" y="705055"/>
              <a:ext cx="14936" cy="14936"/>
            </a:xfrm>
            <a:custGeom>
              <a:avLst/>
              <a:gdLst>
                <a:gd name="connsiteX0" fmla="*/ 0 w 14936"/>
                <a:gd name="connsiteY0" fmla="*/ 7468 h 14936"/>
                <a:gd name="connsiteX1" fmla="*/ 10455 w 14936"/>
                <a:gd name="connsiteY1" fmla="*/ 0 h 14936"/>
                <a:gd name="connsiteX2" fmla="*/ 23898 w 14936"/>
                <a:gd name="connsiteY2" fmla="*/ 7468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0455" y="0"/>
                  </a:lnTo>
                  <a:lnTo>
                    <a:pt x="23898" y="7468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43" name="任意多边形: 形状 10642"/>
            <p:cNvSpPr/>
            <p:nvPr/>
          </p:nvSpPr>
          <p:spPr>
            <a:xfrm>
              <a:off x="7245199" y="714016"/>
              <a:ext cx="14936" cy="14936"/>
            </a:xfrm>
            <a:custGeom>
              <a:avLst/>
              <a:gdLst>
                <a:gd name="connsiteX0" fmla="*/ 0 w 14936"/>
                <a:gd name="connsiteY0" fmla="*/ 7468 h 14936"/>
                <a:gd name="connsiteX1" fmla="*/ 10455 w 14936"/>
                <a:gd name="connsiteY1" fmla="*/ 0 h 14936"/>
                <a:gd name="connsiteX2" fmla="*/ 23898 w 14936"/>
                <a:gd name="connsiteY2" fmla="*/ 7468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0455" y="0"/>
                  </a:lnTo>
                  <a:lnTo>
                    <a:pt x="23898" y="7468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44" name="任意多边形: 形状 10643"/>
            <p:cNvSpPr/>
            <p:nvPr/>
          </p:nvSpPr>
          <p:spPr>
            <a:xfrm>
              <a:off x="7260135" y="722978"/>
              <a:ext cx="14936" cy="14936"/>
            </a:xfrm>
            <a:custGeom>
              <a:avLst/>
              <a:gdLst>
                <a:gd name="connsiteX0" fmla="*/ 0 w 14936"/>
                <a:gd name="connsiteY0" fmla="*/ 5975 h 14936"/>
                <a:gd name="connsiteX1" fmla="*/ 11949 w 14936"/>
                <a:gd name="connsiteY1" fmla="*/ 0 h 14936"/>
                <a:gd name="connsiteX2" fmla="*/ 25392 w 14936"/>
                <a:gd name="connsiteY2" fmla="*/ 7468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5975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45" name="任意多边形: 形状 10644"/>
            <p:cNvSpPr/>
            <p:nvPr/>
          </p:nvSpPr>
          <p:spPr>
            <a:xfrm>
              <a:off x="7276565" y="731940"/>
              <a:ext cx="14936" cy="14936"/>
            </a:xfrm>
            <a:custGeom>
              <a:avLst/>
              <a:gdLst>
                <a:gd name="connsiteX0" fmla="*/ 0 w 14936"/>
                <a:gd name="connsiteY0" fmla="*/ 5975 h 0"/>
                <a:gd name="connsiteX1" fmla="*/ 10455 w 14936"/>
                <a:gd name="connsiteY1" fmla="*/ 0 h 0"/>
                <a:gd name="connsiteX2" fmla="*/ 23898 w 14936"/>
                <a:gd name="connsiteY2" fmla="*/ 7468 h 0"/>
                <a:gd name="connsiteX3" fmla="*/ 13443 w 14936"/>
                <a:gd name="connsiteY3" fmla="*/ 13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0" y="5975"/>
                  </a:moveTo>
                  <a:lnTo>
                    <a:pt x="10455" y="0"/>
                  </a:lnTo>
                  <a:lnTo>
                    <a:pt x="23898" y="7468"/>
                  </a:lnTo>
                  <a:lnTo>
                    <a:pt x="13443" y="13443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46" name="任意多边形: 形状 10645"/>
            <p:cNvSpPr/>
            <p:nvPr/>
          </p:nvSpPr>
          <p:spPr>
            <a:xfrm>
              <a:off x="7291502" y="740902"/>
              <a:ext cx="14936" cy="14936"/>
            </a:xfrm>
            <a:custGeom>
              <a:avLst/>
              <a:gdLst>
                <a:gd name="connsiteX0" fmla="*/ 13443 w 14936"/>
                <a:gd name="connsiteY0" fmla="*/ 13443 h 0"/>
                <a:gd name="connsiteX1" fmla="*/ 0 w 14936"/>
                <a:gd name="connsiteY1" fmla="*/ 5975 h 0"/>
                <a:gd name="connsiteX2" fmla="*/ 10455 w 14936"/>
                <a:gd name="connsiteY2" fmla="*/ 0 h 0"/>
                <a:gd name="connsiteX3" fmla="*/ 25392 w 14936"/>
                <a:gd name="connsiteY3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3443" y="13443"/>
                  </a:moveTo>
                  <a:lnTo>
                    <a:pt x="0" y="5975"/>
                  </a:lnTo>
                  <a:lnTo>
                    <a:pt x="10455" y="0"/>
                  </a:lnTo>
                  <a:lnTo>
                    <a:pt x="25392" y="7468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47" name="任意多边形: 形状 10646"/>
            <p:cNvSpPr/>
            <p:nvPr/>
          </p:nvSpPr>
          <p:spPr>
            <a:xfrm>
              <a:off x="7212339" y="681156"/>
              <a:ext cx="14936" cy="14936"/>
            </a:xfrm>
            <a:custGeom>
              <a:avLst/>
              <a:gdLst>
                <a:gd name="connsiteX0" fmla="*/ 13443 w 14936"/>
                <a:gd name="connsiteY0" fmla="*/ 13443 h 0"/>
                <a:gd name="connsiteX1" fmla="*/ 0 w 14936"/>
                <a:gd name="connsiteY1" fmla="*/ 5975 h 0"/>
                <a:gd name="connsiteX2" fmla="*/ 10455 w 14936"/>
                <a:gd name="connsiteY2" fmla="*/ 0 h 0"/>
                <a:gd name="connsiteX3" fmla="*/ 23898 w 14936"/>
                <a:gd name="connsiteY3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3443" y="13443"/>
                  </a:moveTo>
                  <a:lnTo>
                    <a:pt x="0" y="5975"/>
                  </a:lnTo>
                  <a:lnTo>
                    <a:pt x="10455" y="0"/>
                  </a:lnTo>
                  <a:lnTo>
                    <a:pt x="23898" y="7468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48" name="任意多边形: 形状 10647"/>
            <p:cNvSpPr/>
            <p:nvPr/>
          </p:nvSpPr>
          <p:spPr>
            <a:xfrm>
              <a:off x="7227275" y="688625"/>
              <a:ext cx="14936" cy="14936"/>
            </a:xfrm>
            <a:custGeom>
              <a:avLst/>
              <a:gdLst>
                <a:gd name="connsiteX0" fmla="*/ 0 w 14936"/>
                <a:gd name="connsiteY0" fmla="*/ 7468 h 14936"/>
                <a:gd name="connsiteX1" fmla="*/ 10455 w 14936"/>
                <a:gd name="connsiteY1" fmla="*/ 0 h 14936"/>
                <a:gd name="connsiteX2" fmla="*/ 25392 w 14936"/>
                <a:gd name="connsiteY2" fmla="*/ 7468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0455" y="0"/>
                  </a:lnTo>
                  <a:lnTo>
                    <a:pt x="25392" y="7468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49" name="任意多边形: 形状 10648"/>
            <p:cNvSpPr/>
            <p:nvPr/>
          </p:nvSpPr>
          <p:spPr>
            <a:xfrm>
              <a:off x="7242212" y="697586"/>
              <a:ext cx="14936" cy="14936"/>
            </a:xfrm>
            <a:custGeom>
              <a:avLst/>
              <a:gdLst>
                <a:gd name="connsiteX0" fmla="*/ 25392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7468 h 14936"/>
                <a:gd name="connsiteX3" fmla="*/ 11949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5392" y="7468"/>
                  </a:moveTo>
                  <a:lnTo>
                    <a:pt x="13443" y="14936"/>
                  </a:lnTo>
                  <a:lnTo>
                    <a:pt x="0" y="7468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50" name="任意多边形: 形状 10649"/>
            <p:cNvSpPr/>
            <p:nvPr/>
          </p:nvSpPr>
          <p:spPr>
            <a:xfrm>
              <a:off x="7258642" y="706548"/>
              <a:ext cx="14936" cy="14936"/>
            </a:xfrm>
            <a:custGeom>
              <a:avLst/>
              <a:gdLst>
                <a:gd name="connsiteX0" fmla="*/ 23898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5975 h 14936"/>
                <a:gd name="connsiteX3" fmla="*/ 10455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3898" y="7468"/>
                  </a:moveTo>
                  <a:lnTo>
                    <a:pt x="13443" y="14936"/>
                  </a:lnTo>
                  <a:lnTo>
                    <a:pt x="0" y="5975"/>
                  </a:lnTo>
                  <a:lnTo>
                    <a:pt x="10455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51" name="任意多边形: 形状 10650"/>
            <p:cNvSpPr/>
            <p:nvPr/>
          </p:nvSpPr>
          <p:spPr>
            <a:xfrm>
              <a:off x="7273578" y="715510"/>
              <a:ext cx="14936" cy="14936"/>
            </a:xfrm>
            <a:custGeom>
              <a:avLst/>
              <a:gdLst>
                <a:gd name="connsiteX0" fmla="*/ 25392 w 14936"/>
                <a:gd name="connsiteY0" fmla="*/ 7468 h 0"/>
                <a:gd name="connsiteX1" fmla="*/ 13443 w 14936"/>
                <a:gd name="connsiteY1" fmla="*/ 13443 h 0"/>
                <a:gd name="connsiteX2" fmla="*/ 0 w 14936"/>
                <a:gd name="connsiteY2" fmla="*/ 5975 h 0"/>
                <a:gd name="connsiteX3" fmla="*/ 11949 w 14936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25392" y="7468"/>
                  </a:moveTo>
                  <a:lnTo>
                    <a:pt x="13443" y="13443"/>
                  </a:lnTo>
                  <a:lnTo>
                    <a:pt x="0" y="5975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52" name="任意多边形: 形状 10651"/>
            <p:cNvSpPr/>
            <p:nvPr/>
          </p:nvSpPr>
          <p:spPr>
            <a:xfrm>
              <a:off x="7288514" y="724472"/>
              <a:ext cx="14936" cy="14936"/>
            </a:xfrm>
            <a:custGeom>
              <a:avLst/>
              <a:gdLst>
                <a:gd name="connsiteX0" fmla="*/ 25392 w 14936"/>
                <a:gd name="connsiteY0" fmla="*/ 7468 h 0"/>
                <a:gd name="connsiteX1" fmla="*/ 13443 w 14936"/>
                <a:gd name="connsiteY1" fmla="*/ 13443 h 0"/>
                <a:gd name="connsiteX2" fmla="*/ 0 w 14936"/>
                <a:gd name="connsiteY2" fmla="*/ 5975 h 0"/>
                <a:gd name="connsiteX3" fmla="*/ 11949 w 14936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25392" y="7468"/>
                  </a:moveTo>
                  <a:lnTo>
                    <a:pt x="13443" y="13443"/>
                  </a:lnTo>
                  <a:lnTo>
                    <a:pt x="0" y="5975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53" name="任意多边形: 形状 10652"/>
            <p:cNvSpPr/>
            <p:nvPr/>
          </p:nvSpPr>
          <p:spPr>
            <a:xfrm>
              <a:off x="7304944" y="731940"/>
              <a:ext cx="29873" cy="29873"/>
            </a:xfrm>
            <a:custGeom>
              <a:avLst/>
              <a:gdLst>
                <a:gd name="connsiteX0" fmla="*/ 14936 w 29872"/>
                <a:gd name="connsiteY0" fmla="*/ 16430 h 29872"/>
                <a:gd name="connsiteX1" fmla="*/ 0 w 29872"/>
                <a:gd name="connsiteY1" fmla="*/ 7468 h 29872"/>
                <a:gd name="connsiteX2" fmla="*/ 10455 w 29872"/>
                <a:gd name="connsiteY2" fmla="*/ 0 h 29872"/>
                <a:gd name="connsiteX3" fmla="*/ 26885 w 29872"/>
                <a:gd name="connsiteY3" fmla="*/ 8962 h 29872"/>
                <a:gd name="connsiteX4" fmla="*/ 29873 w 29872"/>
                <a:gd name="connsiteY4" fmla="*/ 11949 h 29872"/>
                <a:gd name="connsiteX5" fmla="*/ 40328 w 29872"/>
                <a:gd name="connsiteY5" fmla="*/ 16430 h 29872"/>
                <a:gd name="connsiteX6" fmla="*/ 40328 w 29872"/>
                <a:gd name="connsiteY6" fmla="*/ 17924 h 29872"/>
                <a:gd name="connsiteX7" fmla="*/ 31366 w 29872"/>
                <a:gd name="connsiteY7" fmla="*/ 22405 h 29872"/>
                <a:gd name="connsiteX8" fmla="*/ 28379 w 29872"/>
                <a:gd name="connsiteY8" fmla="*/ 23898 h 29872"/>
                <a:gd name="connsiteX9" fmla="*/ 14936 w 29872"/>
                <a:gd name="connsiteY9" fmla="*/ 31366 h 29872"/>
                <a:gd name="connsiteX10" fmla="*/ 1494 w 29872"/>
                <a:gd name="connsiteY10" fmla="*/ 23898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872" h="29872">
                  <a:moveTo>
                    <a:pt x="14936" y="16430"/>
                  </a:moveTo>
                  <a:lnTo>
                    <a:pt x="0" y="7468"/>
                  </a:lnTo>
                  <a:lnTo>
                    <a:pt x="10455" y="0"/>
                  </a:lnTo>
                  <a:lnTo>
                    <a:pt x="26885" y="8962"/>
                  </a:lnTo>
                  <a:lnTo>
                    <a:pt x="29873" y="11949"/>
                  </a:lnTo>
                  <a:lnTo>
                    <a:pt x="40328" y="16430"/>
                  </a:lnTo>
                  <a:lnTo>
                    <a:pt x="40328" y="17924"/>
                  </a:lnTo>
                  <a:lnTo>
                    <a:pt x="31366" y="22405"/>
                  </a:lnTo>
                  <a:lnTo>
                    <a:pt x="28379" y="23898"/>
                  </a:lnTo>
                  <a:lnTo>
                    <a:pt x="14936" y="31366"/>
                  </a:lnTo>
                  <a:lnTo>
                    <a:pt x="1494" y="23898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54" name="任意多边形: 形状 10653"/>
            <p:cNvSpPr/>
            <p:nvPr/>
          </p:nvSpPr>
          <p:spPr>
            <a:xfrm>
              <a:off x="7224288" y="672195"/>
              <a:ext cx="14936" cy="14936"/>
            </a:xfrm>
            <a:custGeom>
              <a:avLst/>
              <a:gdLst>
                <a:gd name="connsiteX0" fmla="*/ 0 w 14936"/>
                <a:gd name="connsiteY0" fmla="*/ 7468 h 14936"/>
                <a:gd name="connsiteX1" fmla="*/ 11949 w 14936"/>
                <a:gd name="connsiteY1" fmla="*/ 0 h 14936"/>
                <a:gd name="connsiteX2" fmla="*/ 25392 w 14936"/>
                <a:gd name="connsiteY2" fmla="*/ 7468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55" name="任意多边形: 形状 10654"/>
            <p:cNvSpPr/>
            <p:nvPr/>
          </p:nvSpPr>
          <p:spPr>
            <a:xfrm>
              <a:off x="7240718" y="681156"/>
              <a:ext cx="14936" cy="14936"/>
            </a:xfrm>
            <a:custGeom>
              <a:avLst/>
              <a:gdLst>
                <a:gd name="connsiteX0" fmla="*/ 0 w 14936"/>
                <a:gd name="connsiteY0" fmla="*/ 7468 h 14936"/>
                <a:gd name="connsiteX1" fmla="*/ 10456 w 14936"/>
                <a:gd name="connsiteY1" fmla="*/ 0 h 14936"/>
                <a:gd name="connsiteX2" fmla="*/ 23898 w 14936"/>
                <a:gd name="connsiteY2" fmla="*/ 7468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0456" y="0"/>
                  </a:lnTo>
                  <a:lnTo>
                    <a:pt x="23898" y="7468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56" name="任意多边形: 形状 10655"/>
            <p:cNvSpPr/>
            <p:nvPr/>
          </p:nvSpPr>
          <p:spPr>
            <a:xfrm>
              <a:off x="7255654" y="690118"/>
              <a:ext cx="59745" cy="29873"/>
            </a:xfrm>
            <a:custGeom>
              <a:avLst/>
              <a:gdLst>
                <a:gd name="connsiteX0" fmla="*/ 50784 w 59745"/>
                <a:gd name="connsiteY0" fmla="*/ 34354 h 29872"/>
                <a:gd name="connsiteX1" fmla="*/ 46303 w 59745"/>
                <a:gd name="connsiteY1" fmla="*/ 32860 h 29872"/>
                <a:gd name="connsiteX2" fmla="*/ 44809 w 59745"/>
                <a:gd name="connsiteY2" fmla="*/ 31366 h 29872"/>
                <a:gd name="connsiteX3" fmla="*/ 31366 w 59745"/>
                <a:gd name="connsiteY3" fmla="*/ 23898 h 29872"/>
                <a:gd name="connsiteX4" fmla="*/ 28379 w 59745"/>
                <a:gd name="connsiteY4" fmla="*/ 22405 h 29872"/>
                <a:gd name="connsiteX5" fmla="*/ 14936 w 59745"/>
                <a:gd name="connsiteY5" fmla="*/ 14936 h 29872"/>
                <a:gd name="connsiteX6" fmla="*/ 0 w 59745"/>
                <a:gd name="connsiteY6" fmla="*/ 5975 h 29872"/>
                <a:gd name="connsiteX7" fmla="*/ 11949 w 59745"/>
                <a:gd name="connsiteY7" fmla="*/ 0 h 29872"/>
                <a:gd name="connsiteX8" fmla="*/ 26885 w 59745"/>
                <a:gd name="connsiteY8" fmla="*/ 8962 h 29872"/>
                <a:gd name="connsiteX9" fmla="*/ 40328 w 59745"/>
                <a:gd name="connsiteY9" fmla="*/ 16430 h 29872"/>
                <a:gd name="connsiteX10" fmla="*/ 41822 w 59745"/>
                <a:gd name="connsiteY10" fmla="*/ 17924 h 29872"/>
                <a:gd name="connsiteX11" fmla="*/ 55265 w 59745"/>
                <a:gd name="connsiteY11" fmla="*/ 25392 h 29872"/>
                <a:gd name="connsiteX12" fmla="*/ 58252 w 59745"/>
                <a:gd name="connsiteY12" fmla="*/ 25392 h 29872"/>
                <a:gd name="connsiteX13" fmla="*/ 61239 w 59745"/>
                <a:gd name="connsiteY13" fmla="*/ 28379 h 29872"/>
                <a:gd name="connsiteX14" fmla="*/ 71694 w 59745"/>
                <a:gd name="connsiteY14" fmla="*/ 34354 h 29872"/>
                <a:gd name="connsiteX15" fmla="*/ 59745 w 59745"/>
                <a:gd name="connsiteY15" fmla="*/ 40328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745" h="29872">
                  <a:moveTo>
                    <a:pt x="50784" y="34354"/>
                  </a:moveTo>
                  <a:lnTo>
                    <a:pt x="46303" y="32860"/>
                  </a:lnTo>
                  <a:lnTo>
                    <a:pt x="44809" y="31366"/>
                  </a:lnTo>
                  <a:lnTo>
                    <a:pt x="31366" y="23898"/>
                  </a:lnTo>
                  <a:lnTo>
                    <a:pt x="28379" y="22405"/>
                  </a:lnTo>
                  <a:lnTo>
                    <a:pt x="14936" y="14936"/>
                  </a:lnTo>
                  <a:lnTo>
                    <a:pt x="0" y="5975"/>
                  </a:lnTo>
                  <a:lnTo>
                    <a:pt x="11949" y="0"/>
                  </a:lnTo>
                  <a:lnTo>
                    <a:pt x="26885" y="8962"/>
                  </a:lnTo>
                  <a:lnTo>
                    <a:pt x="40328" y="16430"/>
                  </a:lnTo>
                  <a:lnTo>
                    <a:pt x="41822" y="17924"/>
                  </a:lnTo>
                  <a:lnTo>
                    <a:pt x="55265" y="25392"/>
                  </a:lnTo>
                  <a:lnTo>
                    <a:pt x="58252" y="25392"/>
                  </a:lnTo>
                  <a:lnTo>
                    <a:pt x="61239" y="28379"/>
                  </a:lnTo>
                  <a:lnTo>
                    <a:pt x="71694" y="34354"/>
                  </a:lnTo>
                  <a:lnTo>
                    <a:pt x="59745" y="40328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57" name="任意多边形: 形状 10656"/>
            <p:cNvSpPr/>
            <p:nvPr/>
          </p:nvSpPr>
          <p:spPr>
            <a:xfrm>
              <a:off x="7316893" y="724472"/>
              <a:ext cx="14936" cy="14936"/>
            </a:xfrm>
            <a:custGeom>
              <a:avLst/>
              <a:gdLst>
                <a:gd name="connsiteX0" fmla="*/ 0 w 14936"/>
                <a:gd name="connsiteY0" fmla="*/ 7468 h 14936"/>
                <a:gd name="connsiteX1" fmla="*/ 11949 w 14936"/>
                <a:gd name="connsiteY1" fmla="*/ 0 h 14936"/>
                <a:gd name="connsiteX2" fmla="*/ 25392 w 14936"/>
                <a:gd name="connsiteY2" fmla="*/ 7468 h 14936"/>
                <a:gd name="connsiteX3" fmla="*/ 14936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4936" y="14936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58" name="任意多边形: 形状 10657"/>
            <p:cNvSpPr/>
            <p:nvPr/>
          </p:nvSpPr>
          <p:spPr>
            <a:xfrm>
              <a:off x="7333323" y="733434"/>
              <a:ext cx="14936" cy="14936"/>
            </a:xfrm>
            <a:custGeom>
              <a:avLst/>
              <a:gdLst>
                <a:gd name="connsiteX0" fmla="*/ 10455 w 14936"/>
                <a:gd name="connsiteY0" fmla="*/ 0 h 14936"/>
                <a:gd name="connsiteX1" fmla="*/ 23898 w 14936"/>
                <a:gd name="connsiteY1" fmla="*/ 7468 h 14936"/>
                <a:gd name="connsiteX2" fmla="*/ 13443 w 14936"/>
                <a:gd name="connsiteY2" fmla="*/ 14936 h 14936"/>
                <a:gd name="connsiteX3" fmla="*/ 0 w 14936"/>
                <a:gd name="connsiteY3" fmla="*/ 7468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0455" y="0"/>
                  </a:moveTo>
                  <a:lnTo>
                    <a:pt x="23898" y="7468"/>
                  </a:lnTo>
                  <a:lnTo>
                    <a:pt x="13443" y="14936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59" name="任意多边形: 形状 10658"/>
            <p:cNvSpPr/>
            <p:nvPr/>
          </p:nvSpPr>
          <p:spPr>
            <a:xfrm>
              <a:off x="7185453" y="670701"/>
              <a:ext cx="164300" cy="89618"/>
            </a:xfrm>
            <a:custGeom>
              <a:avLst/>
              <a:gdLst>
                <a:gd name="connsiteX0" fmla="*/ 122478 w 164299"/>
                <a:gd name="connsiteY0" fmla="*/ 100074 h 89618"/>
                <a:gd name="connsiteX1" fmla="*/ 171768 w 164299"/>
                <a:gd name="connsiteY1" fmla="*/ 70201 h 89618"/>
                <a:gd name="connsiteX2" fmla="*/ 171768 w 164299"/>
                <a:gd name="connsiteY2" fmla="*/ 68707 h 89618"/>
                <a:gd name="connsiteX3" fmla="*/ 50784 w 164299"/>
                <a:gd name="connsiteY3" fmla="*/ 0 h 89618"/>
                <a:gd name="connsiteX4" fmla="*/ 0 w 164299"/>
                <a:gd name="connsiteY4" fmla="*/ 29873 h 89618"/>
                <a:gd name="connsiteX5" fmla="*/ 0 w 164299"/>
                <a:gd name="connsiteY5" fmla="*/ 31366 h 89618"/>
                <a:gd name="connsiteX6" fmla="*/ 106048 w 164299"/>
                <a:gd name="connsiteY6" fmla="*/ 91112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299" h="89618">
                  <a:moveTo>
                    <a:pt x="122478" y="100074"/>
                  </a:moveTo>
                  <a:lnTo>
                    <a:pt x="171768" y="70201"/>
                  </a:lnTo>
                  <a:lnTo>
                    <a:pt x="171768" y="68707"/>
                  </a:lnTo>
                  <a:lnTo>
                    <a:pt x="50784" y="0"/>
                  </a:lnTo>
                  <a:lnTo>
                    <a:pt x="0" y="29873"/>
                  </a:lnTo>
                  <a:lnTo>
                    <a:pt x="0" y="31366"/>
                  </a:lnTo>
                  <a:lnTo>
                    <a:pt x="106048" y="91112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60" name="任意多边形: 形状 10659"/>
            <p:cNvSpPr/>
            <p:nvPr/>
          </p:nvSpPr>
          <p:spPr>
            <a:xfrm>
              <a:off x="7185453" y="693105"/>
              <a:ext cx="14936" cy="14936"/>
            </a:xfrm>
            <a:custGeom>
              <a:avLst/>
              <a:gdLst>
                <a:gd name="connsiteX0" fmla="*/ 11949 w 14936"/>
                <a:gd name="connsiteY0" fmla="*/ 0 h 14936"/>
                <a:gd name="connsiteX1" fmla="*/ 25392 w 14936"/>
                <a:gd name="connsiteY1" fmla="*/ 7468 h 14936"/>
                <a:gd name="connsiteX2" fmla="*/ 13443 w 14936"/>
                <a:gd name="connsiteY2" fmla="*/ 14936 h 14936"/>
                <a:gd name="connsiteX3" fmla="*/ 0 w 14936"/>
                <a:gd name="connsiteY3" fmla="*/ 7468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1949" y="0"/>
                  </a:moveTo>
                  <a:lnTo>
                    <a:pt x="25392" y="7468"/>
                  </a:lnTo>
                  <a:lnTo>
                    <a:pt x="13443" y="14936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61" name="任意多边形: 形状 10660"/>
            <p:cNvSpPr/>
            <p:nvPr/>
          </p:nvSpPr>
          <p:spPr>
            <a:xfrm>
              <a:off x="7201884" y="702067"/>
              <a:ext cx="14936" cy="14936"/>
            </a:xfrm>
            <a:custGeom>
              <a:avLst/>
              <a:gdLst>
                <a:gd name="connsiteX0" fmla="*/ 23898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5975 h 14936"/>
                <a:gd name="connsiteX3" fmla="*/ 10455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3898" y="7468"/>
                  </a:moveTo>
                  <a:lnTo>
                    <a:pt x="13443" y="14936"/>
                  </a:lnTo>
                  <a:lnTo>
                    <a:pt x="0" y="5975"/>
                  </a:lnTo>
                  <a:lnTo>
                    <a:pt x="10455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62" name="任意多边形: 形状 10661"/>
            <p:cNvSpPr/>
            <p:nvPr/>
          </p:nvSpPr>
          <p:spPr>
            <a:xfrm>
              <a:off x="7216820" y="711029"/>
              <a:ext cx="14936" cy="14936"/>
            </a:xfrm>
            <a:custGeom>
              <a:avLst/>
              <a:gdLst>
                <a:gd name="connsiteX0" fmla="*/ 23898 w 14936"/>
                <a:gd name="connsiteY0" fmla="*/ 7468 h 0"/>
                <a:gd name="connsiteX1" fmla="*/ 13443 w 14936"/>
                <a:gd name="connsiteY1" fmla="*/ 13443 h 0"/>
                <a:gd name="connsiteX2" fmla="*/ 13443 w 14936"/>
                <a:gd name="connsiteY2" fmla="*/ 13443 h 0"/>
                <a:gd name="connsiteX3" fmla="*/ 0 w 14936"/>
                <a:gd name="connsiteY3" fmla="*/ 5975 h 0"/>
                <a:gd name="connsiteX4" fmla="*/ 10455 w 14936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>
                  <a:moveTo>
                    <a:pt x="23898" y="7468"/>
                  </a:moveTo>
                  <a:lnTo>
                    <a:pt x="13443" y="13443"/>
                  </a:lnTo>
                  <a:lnTo>
                    <a:pt x="13443" y="13443"/>
                  </a:lnTo>
                  <a:lnTo>
                    <a:pt x="0" y="5975"/>
                  </a:lnTo>
                  <a:lnTo>
                    <a:pt x="10455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63" name="任意多边形: 形状 10662"/>
            <p:cNvSpPr/>
            <p:nvPr/>
          </p:nvSpPr>
          <p:spPr>
            <a:xfrm>
              <a:off x="7231756" y="719991"/>
              <a:ext cx="14936" cy="14936"/>
            </a:xfrm>
            <a:custGeom>
              <a:avLst/>
              <a:gdLst>
                <a:gd name="connsiteX0" fmla="*/ 11949 w 14936"/>
                <a:gd name="connsiteY0" fmla="*/ 0 h 0"/>
                <a:gd name="connsiteX1" fmla="*/ 25392 w 14936"/>
                <a:gd name="connsiteY1" fmla="*/ 7468 h 0"/>
                <a:gd name="connsiteX2" fmla="*/ 13443 w 14936"/>
                <a:gd name="connsiteY2" fmla="*/ 13443 h 0"/>
                <a:gd name="connsiteX3" fmla="*/ 0 w 14936"/>
                <a:gd name="connsiteY3" fmla="*/ 5975 h 0"/>
                <a:gd name="connsiteX4" fmla="*/ 0 w 14936"/>
                <a:gd name="connsiteY4" fmla="*/ 597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25392" y="7468"/>
                  </a:lnTo>
                  <a:lnTo>
                    <a:pt x="13443" y="13443"/>
                  </a:lnTo>
                  <a:lnTo>
                    <a:pt x="0" y="5975"/>
                  </a:lnTo>
                  <a:lnTo>
                    <a:pt x="0" y="5975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64" name="任意多边形: 形状 10663"/>
            <p:cNvSpPr/>
            <p:nvPr/>
          </p:nvSpPr>
          <p:spPr>
            <a:xfrm>
              <a:off x="7246693" y="727459"/>
              <a:ext cx="14936" cy="14936"/>
            </a:xfrm>
            <a:custGeom>
              <a:avLst/>
              <a:gdLst>
                <a:gd name="connsiteX0" fmla="*/ 25392 w 14936"/>
                <a:gd name="connsiteY0" fmla="*/ 8962 h 14936"/>
                <a:gd name="connsiteX1" fmla="*/ 13443 w 14936"/>
                <a:gd name="connsiteY1" fmla="*/ 14936 h 14936"/>
                <a:gd name="connsiteX2" fmla="*/ 1493 w 14936"/>
                <a:gd name="connsiteY2" fmla="*/ 7468 h 14936"/>
                <a:gd name="connsiteX3" fmla="*/ 0 w 14936"/>
                <a:gd name="connsiteY3" fmla="*/ 7468 h 14936"/>
                <a:gd name="connsiteX4" fmla="*/ 11949 w 14936"/>
                <a:gd name="connsiteY4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25392" y="8962"/>
                  </a:moveTo>
                  <a:lnTo>
                    <a:pt x="13443" y="14936"/>
                  </a:lnTo>
                  <a:lnTo>
                    <a:pt x="1493" y="7468"/>
                  </a:lnTo>
                  <a:lnTo>
                    <a:pt x="0" y="7468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65" name="任意多边形: 形状 10664"/>
            <p:cNvSpPr/>
            <p:nvPr/>
          </p:nvSpPr>
          <p:spPr>
            <a:xfrm>
              <a:off x="7263122" y="736421"/>
              <a:ext cx="14936" cy="14936"/>
            </a:xfrm>
            <a:custGeom>
              <a:avLst/>
              <a:gdLst>
                <a:gd name="connsiteX0" fmla="*/ 23898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7468 h 14936"/>
                <a:gd name="connsiteX3" fmla="*/ 10456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3898" y="7468"/>
                  </a:moveTo>
                  <a:lnTo>
                    <a:pt x="13443" y="14936"/>
                  </a:lnTo>
                  <a:lnTo>
                    <a:pt x="0" y="7468"/>
                  </a:lnTo>
                  <a:lnTo>
                    <a:pt x="10456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66" name="任意多边形: 形状 10665"/>
            <p:cNvSpPr/>
            <p:nvPr/>
          </p:nvSpPr>
          <p:spPr>
            <a:xfrm>
              <a:off x="7278059" y="745383"/>
              <a:ext cx="14936" cy="14936"/>
            </a:xfrm>
            <a:custGeom>
              <a:avLst/>
              <a:gdLst>
                <a:gd name="connsiteX0" fmla="*/ 25392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7468 h 14936"/>
                <a:gd name="connsiteX3" fmla="*/ 11949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5392" y="7468"/>
                  </a:moveTo>
                  <a:lnTo>
                    <a:pt x="13443" y="14936"/>
                  </a:lnTo>
                  <a:lnTo>
                    <a:pt x="0" y="7468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67" name="任意多边形: 形状 10666"/>
            <p:cNvSpPr/>
            <p:nvPr/>
          </p:nvSpPr>
          <p:spPr>
            <a:xfrm>
              <a:off x="7292995" y="754345"/>
              <a:ext cx="14936" cy="14936"/>
            </a:xfrm>
            <a:custGeom>
              <a:avLst/>
              <a:gdLst>
                <a:gd name="connsiteX0" fmla="*/ 11949 w 14936"/>
                <a:gd name="connsiteY0" fmla="*/ 0 h 14936"/>
                <a:gd name="connsiteX1" fmla="*/ 25392 w 14936"/>
                <a:gd name="connsiteY1" fmla="*/ 7468 h 14936"/>
                <a:gd name="connsiteX2" fmla="*/ 14936 w 14936"/>
                <a:gd name="connsiteY2" fmla="*/ 14936 h 14936"/>
                <a:gd name="connsiteX3" fmla="*/ 0 w 14936"/>
                <a:gd name="connsiteY3" fmla="*/ 5975 h 14936"/>
                <a:gd name="connsiteX4" fmla="*/ 0 w 14936"/>
                <a:gd name="connsiteY4" fmla="*/ 5975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11949" y="0"/>
                  </a:moveTo>
                  <a:lnTo>
                    <a:pt x="25392" y="7468"/>
                  </a:lnTo>
                  <a:lnTo>
                    <a:pt x="14936" y="14936"/>
                  </a:lnTo>
                  <a:lnTo>
                    <a:pt x="0" y="5975"/>
                  </a:lnTo>
                  <a:lnTo>
                    <a:pt x="0" y="5975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68" name="任意多边形: 形状 10667"/>
            <p:cNvSpPr/>
            <p:nvPr/>
          </p:nvSpPr>
          <p:spPr>
            <a:xfrm>
              <a:off x="7198896" y="685637"/>
              <a:ext cx="14936" cy="14936"/>
            </a:xfrm>
            <a:custGeom>
              <a:avLst/>
              <a:gdLst>
                <a:gd name="connsiteX0" fmla="*/ 13443 w 14936"/>
                <a:gd name="connsiteY0" fmla="*/ 14936 h 14936"/>
                <a:gd name="connsiteX1" fmla="*/ 0 w 14936"/>
                <a:gd name="connsiteY1" fmla="*/ 5975 h 14936"/>
                <a:gd name="connsiteX2" fmla="*/ 10455 w 14936"/>
                <a:gd name="connsiteY2" fmla="*/ 0 h 14936"/>
                <a:gd name="connsiteX3" fmla="*/ 25392 w 14936"/>
                <a:gd name="connsiteY3" fmla="*/ 7468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3443" y="14936"/>
                  </a:moveTo>
                  <a:lnTo>
                    <a:pt x="0" y="5975"/>
                  </a:lnTo>
                  <a:lnTo>
                    <a:pt x="10455" y="0"/>
                  </a:lnTo>
                  <a:lnTo>
                    <a:pt x="25392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69" name="任意多边形: 形状 10668"/>
            <p:cNvSpPr/>
            <p:nvPr/>
          </p:nvSpPr>
          <p:spPr>
            <a:xfrm>
              <a:off x="7213833" y="694599"/>
              <a:ext cx="14936" cy="14936"/>
            </a:xfrm>
            <a:custGeom>
              <a:avLst/>
              <a:gdLst>
                <a:gd name="connsiteX0" fmla="*/ 0 w 14936"/>
                <a:gd name="connsiteY0" fmla="*/ 5975 h 0"/>
                <a:gd name="connsiteX1" fmla="*/ 11949 w 14936"/>
                <a:gd name="connsiteY1" fmla="*/ 0 h 0"/>
                <a:gd name="connsiteX2" fmla="*/ 25392 w 14936"/>
                <a:gd name="connsiteY2" fmla="*/ 7468 h 0"/>
                <a:gd name="connsiteX3" fmla="*/ 13443 w 14936"/>
                <a:gd name="connsiteY3" fmla="*/ 13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0" y="5975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3443" y="13443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70" name="任意多边形: 形状 10669"/>
            <p:cNvSpPr/>
            <p:nvPr/>
          </p:nvSpPr>
          <p:spPr>
            <a:xfrm>
              <a:off x="7228769" y="703561"/>
              <a:ext cx="14936" cy="14936"/>
            </a:xfrm>
            <a:custGeom>
              <a:avLst/>
              <a:gdLst>
                <a:gd name="connsiteX0" fmla="*/ 0 w 14936"/>
                <a:gd name="connsiteY0" fmla="*/ 5975 h 0"/>
                <a:gd name="connsiteX1" fmla="*/ 11949 w 14936"/>
                <a:gd name="connsiteY1" fmla="*/ 0 h 0"/>
                <a:gd name="connsiteX2" fmla="*/ 25392 w 14936"/>
                <a:gd name="connsiteY2" fmla="*/ 7468 h 0"/>
                <a:gd name="connsiteX3" fmla="*/ 14936 w 14936"/>
                <a:gd name="connsiteY3" fmla="*/ 13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0" y="5975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4936" y="13443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71" name="任意多边形: 形状 10670"/>
            <p:cNvSpPr/>
            <p:nvPr/>
          </p:nvSpPr>
          <p:spPr>
            <a:xfrm>
              <a:off x="7245199" y="711029"/>
              <a:ext cx="14936" cy="14936"/>
            </a:xfrm>
            <a:custGeom>
              <a:avLst/>
              <a:gdLst>
                <a:gd name="connsiteX0" fmla="*/ 0 w 14936"/>
                <a:gd name="connsiteY0" fmla="*/ 7468 h 14936"/>
                <a:gd name="connsiteX1" fmla="*/ 10455 w 14936"/>
                <a:gd name="connsiteY1" fmla="*/ 0 h 14936"/>
                <a:gd name="connsiteX2" fmla="*/ 23898 w 14936"/>
                <a:gd name="connsiteY2" fmla="*/ 8962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0455" y="0"/>
                  </a:lnTo>
                  <a:lnTo>
                    <a:pt x="23898" y="8962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72" name="任意多边形: 形状 10671"/>
            <p:cNvSpPr/>
            <p:nvPr/>
          </p:nvSpPr>
          <p:spPr>
            <a:xfrm>
              <a:off x="7260135" y="719991"/>
              <a:ext cx="14936" cy="14936"/>
            </a:xfrm>
            <a:custGeom>
              <a:avLst/>
              <a:gdLst>
                <a:gd name="connsiteX0" fmla="*/ 0 w 14936"/>
                <a:gd name="connsiteY0" fmla="*/ 7468 h 14936"/>
                <a:gd name="connsiteX1" fmla="*/ 11949 w 14936"/>
                <a:gd name="connsiteY1" fmla="*/ 0 h 14936"/>
                <a:gd name="connsiteX2" fmla="*/ 25392 w 14936"/>
                <a:gd name="connsiteY2" fmla="*/ 7468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73" name="任意多边形: 形状 10672"/>
            <p:cNvSpPr/>
            <p:nvPr/>
          </p:nvSpPr>
          <p:spPr>
            <a:xfrm>
              <a:off x="7276565" y="728953"/>
              <a:ext cx="14936" cy="14936"/>
            </a:xfrm>
            <a:custGeom>
              <a:avLst/>
              <a:gdLst>
                <a:gd name="connsiteX0" fmla="*/ 0 w 14936"/>
                <a:gd name="connsiteY0" fmla="*/ 7468 h 14936"/>
                <a:gd name="connsiteX1" fmla="*/ 10455 w 14936"/>
                <a:gd name="connsiteY1" fmla="*/ 0 h 14936"/>
                <a:gd name="connsiteX2" fmla="*/ 23898 w 14936"/>
                <a:gd name="connsiteY2" fmla="*/ 7468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0455" y="0"/>
                  </a:lnTo>
                  <a:lnTo>
                    <a:pt x="23898" y="7468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74" name="任意多边形: 形状 10673"/>
            <p:cNvSpPr/>
            <p:nvPr/>
          </p:nvSpPr>
          <p:spPr>
            <a:xfrm>
              <a:off x="7291502" y="737914"/>
              <a:ext cx="14936" cy="14936"/>
            </a:xfrm>
            <a:custGeom>
              <a:avLst/>
              <a:gdLst>
                <a:gd name="connsiteX0" fmla="*/ 13443 w 14936"/>
                <a:gd name="connsiteY0" fmla="*/ 14936 h 14936"/>
                <a:gd name="connsiteX1" fmla="*/ 0 w 14936"/>
                <a:gd name="connsiteY1" fmla="*/ 5975 h 14936"/>
                <a:gd name="connsiteX2" fmla="*/ 10455 w 14936"/>
                <a:gd name="connsiteY2" fmla="*/ 0 h 14936"/>
                <a:gd name="connsiteX3" fmla="*/ 23898 w 14936"/>
                <a:gd name="connsiteY3" fmla="*/ 7468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3443" y="14936"/>
                  </a:moveTo>
                  <a:lnTo>
                    <a:pt x="0" y="5975"/>
                  </a:lnTo>
                  <a:lnTo>
                    <a:pt x="10455" y="0"/>
                  </a:lnTo>
                  <a:lnTo>
                    <a:pt x="23898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75" name="任意多边形: 形状 10674"/>
            <p:cNvSpPr/>
            <p:nvPr/>
          </p:nvSpPr>
          <p:spPr>
            <a:xfrm>
              <a:off x="7212339" y="678169"/>
              <a:ext cx="14936" cy="14936"/>
            </a:xfrm>
            <a:custGeom>
              <a:avLst/>
              <a:gdLst>
                <a:gd name="connsiteX0" fmla="*/ 13443 w 14936"/>
                <a:gd name="connsiteY0" fmla="*/ 13443 h 0"/>
                <a:gd name="connsiteX1" fmla="*/ 0 w 14936"/>
                <a:gd name="connsiteY1" fmla="*/ 5975 h 0"/>
                <a:gd name="connsiteX2" fmla="*/ 10455 w 14936"/>
                <a:gd name="connsiteY2" fmla="*/ 0 h 0"/>
                <a:gd name="connsiteX3" fmla="*/ 23898 w 14936"/>
                <a:gd name="connsiteY3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3443" y="13443"/>
                  </a:moveTo>
                  <a:lnTo>
                    <a:pt x="0" y="5975"/>
                  </a:lnTo>
                  <a:lnTo>
                    <a:pt x="10455" y="0"/>
                  </a:lnTo>
                  <a:lnTo>
                    <a:pt x="23898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76" name="任意多边形: 形状 10675"/>
            <p:cNvSpPr/>
            <p:nvPr/>
          </p:nvSpPr>
          <p:spPr>
            <a:xfrm>
              <a:off x="7227275" y="687131"/>
              <a:ext cx="14936" cy="14936"/>
            </a:xfrm>
            <a:custGeom>
              <a:avLst/>
              <a:gdLst>
                <a:gd name="connsiteX0" fmla="*/ 0 w 14936"/>
                <a:gd name="connsiteY0" fmla="*/ 5975 h 0"/>
                <a:gd name="connsiteX1" fmla="*/ 10455 w 14936"/>
                <a:gd name="connsiteY1" fmla="*/ 0 h 0"/>
                <a:gd name="connsiteX2" fmla="*/ 25392 w 14936"/>
                <a:gd name="connsiteY2" fmla="*/ 7468 h 0"/>
                <a:gd name="connsiteX3" fmla="*/ 13443 w 14936"/>
                <a:gd name="connsiteY3" fmla="*/ 13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0" y="5975"/>
                  </a:moveTo>
                  <a:lnTo>
                    <a:pt x="10455" y="0"/>
                  </a:lnTo>
                  <a:lnTo>
                    <a:pt x="25392" y="7468"/>
                  </a:lnTo>
                  <a:lnTo>
                    <a:pt x="13443" y="13443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77" name="任意多边形: 形状 10676"/>
            <p:cNvSpPr/>
            <p:nvPr/>
          </p:nvSpPr>
          <p:spPr>
            <a:xfrm>
              <a:off x="7242212" y="694599"/>
              <a:ext cx="14936" cy="14936"/>
            </a:xfrm>
            <a:custGeom>
              <a:avLst/>
              <a:gdLst>
                <a:gd name="connsiteX0" fmla="*/ 25392 w 14936"/>
                <a:gd name="connsiteY0" fmla="*/ 8962 h 14936"/>
                <a:gd name="connsiteX1" fmla="*/ 13443 w 14936"/>
                <a:gd name="connsiteY1" fmla="*/ 14936 h 14936"/>
                <a:gd name="connsiteX2" fmla="*/ 0 w 14936"/>
                <a:gd name="connsiteY2" fmla="*/ 7468 h 14936"/>
                <a:gd name="connsiteX3" fmla="*/ 11949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5392" y="8962"/>
                  </a:moveTo>
                  <a:lnTo>
                    <a:pt x="13443" y="14936"/>
                  </a:lnTo>
                  <a:lnTo>
                    <a:pt x="0" y="7468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78" name="任意多边形: 形状 10677"/>
            <p:cNvSpPr/>
            <p:nvPr/>
          </p:nvSpPr>
          <p:spPr>
            <a:xfrm>
              <a:off x="7258642" y="703561"/>
              <a:ext cx="14936" cy="14936"/>
            </a:xfrm>
            <a:custGeom>
              <a:avLst/>
              <a:gdLst>
                <a:gd name="connsiteX0" fmla="*/ 23898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7468 h 14936"/>
                <a:gd name="connsiteX3" fmla="*/ 10455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3898" y="7468"/>
                  </a:moveTo>
                  <a:lnTo>
                    <a:pt x="13443" y="14936"/>
                  </a:lnTo>
                  <a:lnTo>
                    <a:pt x="0" y="7468"/>
                  </a:lnTo>
                  <a:lnTo>
                    <a:pt x="10455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79" name="任意多边形: 形状 10678"/>
            <p:cNvSpPr/>
            <p:nvPr/>
          </p:nvSpPr>
          <p:spPr>
            <a:xfrm>
              <a:off x="7273578" y="712523"/>
              <a:ext cx="14936" cy="14936"/>
            </a:xfrm>
            <a:custGeom>
              <a:avLst/>
              <a:gdLst>
                <a:gd name="connsiteX0" fmla="*/ 25392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7468 h 14936"/>
                <a:gd name="connsiteX3" fmla="*/ 10455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5392" y="7468"/>
                  </a:moveTo>
                  <a:lnTo>
                    <a:pt x="13443" y="14936"/>
                  </a:lnTo>
                  <a:lnTo>
                    <a:pt x="0" y="7468"/>
                  </a:lnTo>
                  <a:lnTo>
                    <a:pt x="10455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80" name="任意多边形: 形状 10679"/>
            <p:cNvSpPr/>
            <p:nvPr/>
          </p:nvSpPr>
          <p:spPr>
            <a:xfrm>
              <a:off x="7288514" y="721485"/>
              <a:ext cx="14936" cy="14936"/>
            </a:xfrm>
            <a:custGeom>
              <a:avLst/>
              <a:gdLst>
                <a:gd name="connsiteX0" fmla="*/ 25392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5975 h 14936"/>
                <a:gd name="connsiteX3" fmla="*/ 11949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5392" y="7468"/>
                  </a:moveTo>
                  <a:lnTo>
                    <a:pt x="13443" y="14936"/>
                  </a:lnTo>
                  <a:lnTo>
                    <a:pt x="0" y="5975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81" name="任意多边形: 形状 10680"/>
            <p:cNvSpPr/>
            <p:nvPr/>
          </p:nvSpPr>
          <p:spPr>
            <a:xfrm>
              <a:off x="7304944" y="730446"/>
              <a:ext cx="29873" cy="29873"/>
            </a:xfrm>
            <a:custGeom>
              <a:avLst/>
              <a:gdLst>
                <a:gd name="connsiteX0" fmla="*/ 14936 w 29872"/>
                <a:gd name="connsiteY0" fmla="*/ 14936 h 29872"/>
                <a:gd name="connsiteX1" fmla="*/ 0 w 29872"/>
                <a:gd name="connsiteY1" fmla="*/ 5975 h 29872"/>
                <a:gd name="connsiteX2" fmla="*/ 10455 w 29872"/>
                <a:gd name="connsiteY2" fmla="*/ 0 h 29872"/>
                <a:gd name="connsiteX3" fmla="*/ 26885 w 29872"/>
                <a:gd name="connsiteY3" fmla="*/ 8962 h 29872"/>
                <a:gd name="connsiteX4" fmla="*/ 29873 w 29872"/>
                <a:gd name="connsiteY4" fmla="*/ 10455 h 29872"/>
                <a:gd name="connsiteX5" fmla="*/ 40328 w 29872"/>
                <a:gd name="connsiteY5" fmla="*/ 16430 h 29872"/>
                <a:gd name="connsiteX6" fmla="*/ 38835 w 29872"/>
                <a:gd name="connsiteY6" fmla="*/ 16430 h 29872"/>
                <a:gd name="connsiteX7" fmla="*/ 31366 w 29872"/>
                <a:gd name="connsiteY7" fmla="*/ 20911 h 29872"/>
                <a:gd name="connsiteX8" fmla="*/ 28379 w 29872"/>
                <a:gd name="connsiteY8" fmla="*/ 22405 h 29872"/>
                <a:gd name="connsiteX9" fmla="*/ 14936 w 29872"/>
                <a:gd name="connsiteY9" fmla="*/ 29873 h 29872"/>
                <a:gd name="connsiteX10" fmla="*/ 1494 w 29872"/>
                <a:gd name="connsiteY10" fmla="*/ 22405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872" h="29872">
                  <a:moveTo>
                    <a:pt x="14936" y="14936"/>
                  </a:moveTo>
                  <a:lnTo>
                    <a:pt x="0" y="5975"/>
                  </a:lnTo>
                  <a:lnTo>
                    <a:pt x="10455" y="0"/>
                  </a:lnTo>
                  <a:lnTo>
                    <a:pt x="26885" y="8962"/>
                  </a:lnTo>
                  <a:lnTo>
                    <a:pt x="29873" y="10455"/>
                  </a:lnTo>
                  <a:lnTo>
                    <a:pt x="40328" y="16430"/>
                  </a:lnTo>
                  <a:lnTo>
                    <a:pt x="38835" y="16430"/>
                  </a:lnTo>
                  <a:lnTo>
                    <a:pt x="31366" y="20911"/>
                  </a:lnTo>
                  <a:lnTo>
                    <a:pt x="28379" y="22405"/>
                  </a:lnTo>
                  <a:lnTo>
                    <a:pt x="14936" y="29873"/>
                  </a:lnTo>
                  <a:lnTo>
                    <a:pt x="1494" y="22405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82" name="任意多边形: 形状 10681"/>
            <p:cNvSpPr/>
            <p:nvPr/>
          </p:nvSpPr>
          <p:spPr>
            <a:xfrm>
              <a:off x="7224288" y="670701"/>
              <a:ext cx="14936" cy="14936"/>
            </a:xfrm>
            <a:custGeom>
              <a:avLst/>
              <a:gdLst>
                <a:gd name="connsiteX0" fmla="*/ 0 w 14936"/>
                <a:gd name="connsiteY0" fmla="*/ 5975 h 0"/>
                <a:gd name="connsiteX1" fmla="*/ 11949 w 14936"/>
                <a:gd name="connsiteY1" fmla="*/ 0 h 0"/>
                <a:gd name="connsiteX2" fmla="*/ 25392 w 14936"/>
                <a:gd name="connsiteY2" fmla="*/ 7468 h 0"/>
                <a:gd name="connsiteX3" fmla="*/ 13443 w 14936"/>
                <a:gd name="connsiteY3" fmla="*/ 13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0" y="5975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3443" y="13443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83" name="任意多边形: 形状 10682"/>
            <p:cNvSpPr/>
            <p:nvPr/>
          </p:nvSpPr>
          <p:spPr>
            <a:xfrm>
              <a:off x="7240718" y="678169"/>
              <a:ext cx="14936" cy="14936"/>
            </a:xfrm>
            <a:custGeom>
              <a:avLst/>
              <a:gdLst>
                <a:gd name="connsiteX0" fmla="*/ 0 w 14936"/>
                <a:gd name="connsiteY0" fmla="*/ 7468 h 14936"/>
                <a:gd name="connsiteX1" fmla="*/ 10456 w 14936"/>
                <a:gd name="connsiteY1" fmla="*/ 0 h 14936"/>
                <a:gd name="connsiteX2" fmla="*/ 23898 w 14936"/>
                <a:gd name="connsiteY2" fmla="*/ 8962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0456" y="0"/>
                  </a:lnTo>
                  <a:lnTo>
                    <a:pt x="23898" y="8962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84" name="任意多边形: 形状 10683"/>
            <p:cNvSpPr/>
            <p:nvPr/>
          </p:nvSpPr>
          <p:spPr>
            <a:xfrm>
              <a:off x="7255654" y="687131"/>
              <a:ext cx="59745" cy="29873"/>
            </a:xfrm>
            <a:custGeom>
              <a:avLst/>
              <a:gdLst>
                <a:gd name="connsiteX0" fmla="*/ 50784 w 59745"/>
                <a:gd name="connsiteY0" fmla="*/ 35847 h 29872"/>
                <a:gd name="connsiteX1" fmla="*/ 46303 w 59745"/>
                <a:gd name="connsiteY1" fmla="*/ 32860 h 29872"/>
                <a:gd name="connsiteX2" fmla="*/ 44809 w 59745"/>
                <a:gd name="connsiteY2" fmla="*/ 31366 h 29872"/>
                <a:gd name="connsiteX3" fmla="*/ 31366 w 59745"/>
                <a:gd name="connsiteY3" fmla="*/ 23898 h 29872"/>
                <a:gd name="connsiteX4" fmla="*/ 28379 w 59745"/>
                <a:gd name="connsiteY4" fmla="*/ 23898 h 29872"/>
                <a:gd name="connsiteX5" fmla="*/ 14936 w 59745"/>
                <a:gd name="connsiteY5" fmla="*/ 16430 h 29872"/>
                <a:gd name="connsiteX6" fmla="*/ 0 w 59745"/>
                <a:gd name="connsiteY6" fmla="*/ 7468 h 29872"/>
                <a:gd name="connsiteX7" fmla="*/ 11949 w 59745"/>
                <a:gd name="connsiteY7" fmla="*/ 0 h 29872"/>
                <a:gd name="connsiteX8" fmla="*/ 26885 w 59745"/>
                <a:gd name="connsiteY8" fmla="*/ 8962 h 29872"/>
                <a:gd name="connsiteX9" fmla="*/ 40328 w 59745"/>
                <a:gd name="connsiteY9" fmla="*/ 16430 h 29872"/>
                <a:gd name="connsiteX10" fmla="*/ 41822 w 59745"/>
                <a:gd name="connsiteY10" fmla="*/ 17924 h 29872"/>
                <a:gd name="connsiteX11" fmla="*/ 55265 w 59745"/>
                <a:gd name="connsiteY11" fmla="*/ 25392 h 29872"/>
                <a:gd name="connsiteX12" fmla="*/ 58252 w 59745"/>
                <a:gd name="connsiteY12" fmla="*/ 26885 h 29872"/>
                <a:gd name="connsiteX13" fmla="*/ 61239 w 59745"/>
                <a:gd name="connsiteY13" fmla="*/ 28379 h 29872"/>
                <a:gd name="connsiteX14" fmla="*/ 71694 w 59745"/>
                <a:gd name="connsiteY14" fmla="*/ 34354 h 29872"/>
                <a:gd name="connsiteX15" fmla="*/ 59745 w 59745"/>
                <a:gd name="connsiteY15" fmla="*/ 40328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745" h="29872">
                  <a:moveTo>
                    <a:pt x="50784" y="35847"/>
                  </a:moveTo>
                  <a:lnTo>
                    <a:pt x="46303" y="32860"/>
                  </a:lnTo>
                  <a:lnTo>
                    <a:pt x="44809" y="31366"/>
                  </a:lnTo>
                  <a:lnTo>
                    <a:pt x="31366" y="23898"/>
                  </a:lnTo>
                  <a:lnTo>
                    <a:pt x="28379" y="23898"/>
                  </a:lnTo>
                  <a:lnTo>
                    <a:pt x="14936" y="16430"/>
                  </a:lnTo>
                  <a:lnTo>
                    <a:pt x="0" y="7468"/>
                  </a:lnTo>
                  <a:lnTo>
                    <a:pt x="11949" y="0"/>
                  </a:lnTo>
                  <a:lnTo>
                    <a:pt x="26885" y="8962"/>
                  </a:lnTo>
                  <a:lnTo>
                    <a:pt x="40328" y="16430"/>
                  </a:lnTo>
                  <a:lnTo>
                    <a:pt x="41822" y="17924"/>
                  </a:lnTo>
                  <a:lnTo>
                    <a:pt x="55265" y="25392"/>
                  </a:lnTo>
                  <a:lnTo>
                    <a:pt x="58252" y="26885"/>
                  </a:lnTo>
                  <a:lnTo>
                    <a:pt x="61239" y="28379"/>
                  </a:lnTo>
                  <a:lnTo>
                    <a:pt x="71694" y="34354"/>
                  </a:lnTo>
                  <a:lnTo>
                    <a:pt x="59745" y="4032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85" name="任意多边形: 形状 10684"/>
            <p:cNvSpPr/>
            <p:nvPr/>
          </p:nvSpPr>
          <p:spPr>
            <a:xfrm>
              <a:off x="7316893" y="722978"/>
              <a:ext cx="14936" cy="14936"/>
            </a:xfrm>
            <a:custGeom>
              <a:avLst/>
              <a:gdLst>
                <a:gd name="connsiteX0" fmla="*/ 0 w 14936"/>
                <a:gd name="connsiteY0" fmla="*/ 5975 h 0"/>
                <a:gd name="connsiteX1" fmla="*/ 11949 w 14936"/>
                <a:gd name="connsiteY1" fmla="*/ 0 h 0"/>
                <a:gd name="connsiteX2" fmla="*/ 25392 w 14936"/>
                <a:gd name="connsiteY2" fmla="*/ 7468 h 0"/>
                <a:gd name="connsiteX3" fmla="*/ 14936 w 14936"/>
                <a:gd name="connsiteY3" fmla="*/ 13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0" y="5975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4936" y="13443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86" name="任意多边形: 形状 10685"/>
            <p:cNvSpPr/>
            <p:nvPr/>
          </p:nvSpPr>
          <p:spPr>
            <a:xfrm>
              <a:off x="7333323" y="730446"/>
              <a:ext cx="14936" cy="14936"/>
            </a:xfrm>
            <a:custGeom>
              <a:avLst/>
              <a:gdLst>
                <a:gd name="connsiteX0" fmla="*/ 10455 w 14936"/>
                <a:gd name="connsiteY0" fmla="*/ 0 h 14936"/>
                <a:gd name="connsiteX1" fmla="*/ 23898 w 14936"/>
                <a:gd name="connsiteY1" fmla="*/ 8962 h 14936"/>
                <a:gd name="connsiteX2" fmla="*/ 13443 w 14936"/>
                <a:gd name="connsiteY2" fmla="*/ 14936 h 14936"/>
                <a:gd name="connsiteX3" fmla="*/ 0 w 14936"/>
                <a:gd name="connsiteY3" fmla="*/ 7468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0455" y="0"/>
                  </a:moveTo>
                  <a:lnTo>
                    <a:pt x="23898" y="8962"/>
                  </a:lnTo>
                  <a:lnTo>
                    <a:pt x="13443" y="14936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87" name="任意多边形: 形状 10686"/>
            <p:cNvSpPr/>
            <p:nvPr/>
          </p:nvSpPr>
          <p:spPr>
            <a:xfrm>
              <a:off x="7163049" y="593032"/>
              <a:ext cx="149363" cy="194172"/>
            </a:xfrm>
            <a:custGeom>
              <a:avLst/>
              <a:gdLst>
                <a:gd name="connsiteX0" fmla="*/ 149363 w 149363"/>
                <a:gd name="connsiteY0" fmla="*/ 191185 h 194172"/>
                <a:gd name="connsiteX1" fmla="*/ 147870 w 149363"/>
                <a:gd name="connsiteY1" fmla="*/ 91112 h 194172"/>
                <a:gd name="connsiteX2" fmla="*/ 147870 w 149363"/>
                <a:gd name="connsiteY2" fmla="*/ 88124 h 194172"/>
                <a:gd name="connsiteX3" fmla="*/ 144882 w 149363"/>
                <a:gd name="connsiteY3" fmla="*/ 83643 h 194172"/>
                <a:gd name="connsiteX4" fmla="*/ 143389 w 149363"/>
                <a:gd name="connsiteY4" fmla="*/ 82150 h 194172"/>
                <a:gd name="connsiteX5" fmla="*/ 4481 w 149363"/>
                <a:gd name="connsiteY5" fmla="*/ 4481 h 194172"/>
                <a:gd name="connsiteX6" fmla="*/ 1494 w 149363"/>
                <a:gd name="connsiteY6" fmla="*/ 4481 h 194172"/>
                <a:gd name="connsiteX7" fmla="*/ 0 w 149363"/>
                <a:gd name="connsiteY7" fmla="*/ 4481 h 194172"/>
                <a:gd name="connsiteX8" fmla="*/ 5975 w 149363"/>
                <a:gd name="connsiteY8" fmla="*/ 0 h 194172"/>
                <a:gd name="connsiteX9" fmla="*/ 5975 w 149363"/>
                <a:gd name="connsiteY9" fmla="*/ 0 h 194172"/>
                <a:gd name="connsiteX10" fmla="*/ 10455 w 149363"/>
                <a:gd name="connsiteY10" fmla="*/ 0 h 194172"/>
                <a:gd name="connsiteX11" fmla="*/ 149363 w 149363"/>
                <a:gd name="connsiteY11" fmla="*/ 77669 h 194172"/>
                <a:gd name="connsiteX12" fmla="*/ 155338 w 149363"/>
                <a:gd name="connsiteY12" fmla="*/ 86631 h 194172"/>
                <a:gd name="connsiteX13" fmla="*/ 155338 w 149363"/>
                <a:gd name="connsiteY13" fmla="*/ 88124 h 194172"/>
                <a:gd name="connsiteX14" fmla="*/ 156832 w 149363"/>
                <a:gd name="connsiteY14" fmla="*/ 174755 h 194172"/>
                <a:gd name="connsiteX15" fmla="*/ 156832 w 149363"/>
                <a:gd name="connsiteY15" fmla="*/ 174755 h 194172"/>
                <a:gd name="connsiteX16" fmla="*/ 156832 w 149363"/>
                <a:gd name="connsiteY16" fmla="*/ 174755 h 194172"/>
                <a:gd name="connsiteX17" fmla="*/ 156832 w 149363"/>
                <a:gd name="connsiteY17" fmla="*/ 189692 h 194172"/>
                <a:gd name="connsiteX18" fmla="*/ 155338 w 149363"/>
                <a:gd name="connsiteY18" fmla="*/ 192679 h 194172"/>
                <a:gd name="connsiteX19" fmla="*/ 155338 w 149363"/>
                <a:gd name="connsiteY19" fmla="*/ 192679 h 194172"/>
                <a:gd name="connsiteX20" fmla="*/ 149363 w 149363"/>
                <a:gd name="connsiteY20" fmla="*/ 197160 h 194172"/>
                <a:gd name="connsiteX21" fmla="*/ 149363 w 149363"/>
                <a:gd name="connsiteY21" fmla="*/ 197160 h 194172"/>
                <a:gd name="connsiteX22" fmla="*/ 149363 w 149363"/>
                <a:gd name="connsiteY22" fmla="*/ 191185 h 194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9363" h="194172">
                  <a:moveTo>
                    <a:pt x="149363" y="191185"/>
                  </a:moveTo>
                  <a:lnTo>
                    <a:pt x="147870" y="91112"/>
                  </a:lnTo>
                  <a:cubicBezTo>
                    <a:pt x="147870" y="89618"/>
                    <a:pt x="147870" y="89618"/>
                    <a:pt x="147870" y="88124"/>
                  </a:cubicBezTo>
                  <a:cubicBezTo>
                    <a:pt x="147870" y="86631"/>
                    <a:pt x="146376" y="85137"/>
                    <a:pt x="144882" y="83643"/>
                  </a:cubicBezTo>
                  <a:cubicBezTo>
                    <a:pt x="144882" y="83643"/>
                    <a:pt x="143389" y="82150"/>
                    <a:pt x="143389" y="82150"/>
                  </a:cubicBezTo>
                  <a:lnTo>
                    <a:pt x="4481" y="4481"/>
                  </a:lnTo>
                  <a:cubicBezTo>
                    <a:pt x="2987" y="4481"/>
                    <a:pt x="2987" y="2987"/>
                    <a:pt x="1494" y="4481"/>
                  </a:cubicBezTo>
                  <a:cubicBezTo>
                    <a:pt x="1494" y="4481"/>
                    <a:pt x="1494" y="4481"/>
                    <a:pt x="0" y="4481"/>
                  </a:cubicBezTo>
                  <a:lnTo>
                    <a:pt x="5975" y="0"/>
                  </a:lnTo>
                  <a:lnTo>
                    <a:pt x="5975" y="0"/>
                  </a:lnTo>
                  <a:cubicBezTo>
                    <a:pt x="7468" y="0"/>
                    <a:pt x="8962" y="0"/>
                    <a:pt x="10455" y="0"/>
                  </a:cubicBezTo>
                  <a:lnTo>
                    <a:pt x="149363" y="77669"/>
                  </a:lnTo>
                  <a:cubicBezTo>
                    <a:pt x="152351" y="79163"/>
                    <a:pt x="153844" y="82150"/>
                    <a:pt x="155338" y="86631"/>
                  </a:cubicBezTo>
                  <a:cubicBezTo>
                    <a:pt x="155338" y="86631"/>
                    <a:pt x="155338" y="88124"/>
                    <a:pt x="155338" y="88124"/>
                  </a:cubicBezTo>
                  <a:lnTo>
                    <a:pt x="156832" y="174755"/>
                  </a:lnTo>
                  <a:lnTo>
                    <a:pt x="156832" y="174755"/>
                  </a:lnTo>
                  <a:lnTo>
                    <a:pt x="156832" y="174755"/>
                  </a:lnTo>
                  <a:lnTo>
                    <a:pt x="156832" y="189692"/>
                  </a:lnTo>
                  <a:cubicBezTo>
                    <a:pt x="156832" y="191185"/>
                    <a:pt x="156832" y="192679"/>
                    <a:pt x="155338" y="192679"/>
                  </a:cubicBezTo>
                  <a:cubicBezTo>
                    <a:pt x="155338" y="192679"/>
                    <a:pt x="155338" y="192679"/>
                    <a:pt x="155338" y="192679"/>
                  </a:cubicBezTo>
                  <a:lnTo>
                    <a:pt x="149363" y="197160"/>
                  </a:lnTo>
                  <a:lnTo>
                    <a:pt x="149363" y="197160"/>
                  </a:lnTo>
                  <a:cubicBezTo>
                    <a:pt x="147870" y="194172"/>
                    <a:pt x="149363" y="192679"/>
                    <a:pt x="149363" y="191185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88" name="任意多边形: 形状 10687"/>
            <p:cNvSpPr/>
            <p:nvPr/>
          </p:nvSpPr>
          <p:spPr>
            <a:xfrm>
              <a:off x="7161555" y="596019"/>
              <a:ext cx="149363" cy="179236"/>
            </a:xfrm>
            <a:custGeom>
              <a:avLst/>
              <a:gdLst>
                <a:gd name="connsiteX0" fmla="*/ 0 w 149363"/>
                <a:gd name="connsiteY0" fmla="*/ 2987 h 179236"/>
                <a:gd name="connsiteX1" fmla="*/ 0 w 149363"/>
                <a:gd name="connsiteY1" fmla="*/ 2987 h 179236"/>
                <a:gd name="connsiteX2" fmla="*/ 1493 w 149363"/>
                <a:gd name="connsiteY2" fmla="*/ 0 h 179236"/>
                <a:gd name="connsiteX3" fmla="*/ 1493 w 149363"/>
                <a:gd name="connsiteY3" fmla="*/ 0 h 179236"/>
                <a:gd name="connsiteX4" fmla="*/ 1493 w 149363"/>
                <a:gd name="connsiteY4" fmla="*/ 0 h 179236"/>
                <a:gd name="connsiteX5" fmla="*/ 2987 w 149363"/>
                <a:gd name="connsiteY5" fmla="*/ 0 h 179236"/>
                <a:gd name="connsiteX6" fmla="*/ 5974 w 149363"/>
                <a:gd name="connsiteY6" fmla="*/ 0 h 179236"/>
                <a:gd name="connsiteX7" fmla="*/ 144882 w 149363"/>
                <a:gd name="connsiteY7" fmla="*/ 77669 h 179236"/>
                <a:gd name="connsiteX8" fmla="*/ 146376 w 149363"/>
                <a:gd name="connsiteY8" fmla="*/ 79163 h 179236"/>
                <a:gd name="connsiteX9" fmla="*/ 149363 w 149363"/>
                <a:gd name="connsiteY9" fmla="*/ 83644 h 179236"/>
                <a:gd name="connsiteX10" fmla="*/ 149363 w 149363"/>
                <a:gd name="connsiteY10" fmla="*/ 86631 h 179236"/>
                <a:gd name="connsiteX11" fmla="*/ 150857 w 149363"/>
                <a:gd name="connsiteY11" fmla="*/ 186704 h 179236"/>
                <a:gd name="connsiteX12" fmla="*/ 149363 w 149363"/>
                <a:gd name="connsiteY12" fmla="*/ 189692 h 179236"/>
                <a:gd name="connsiteX13" fmla="*/ 144882 w 149363"/>
                <a:gd name="connsiteY13" fmla="*/ 189692 h 179236"/>
                <a:gd name="connsiteX14" fmla="*/ 143389 w 149363"/>
                <a:gd name="connsiteY14" fmla="*/ 189692 h 179236"/>
                <a:gd name="connsiteX15" fmla="*/ 120984 w 149363"/>
                <a:gd name="connsiteY15" fmla="*/ 176249 h 179236"/>
                <a:gd name="connsiteX16" fmla="*/ 107542 w 149363"/>
                <a:gd name="connsiteY16" fmla="*/ 168781 h 179236"/>
                <a:gd name="connsiteX17" fmla="*/ 37341 w 149363"/>
                <a:gd name="connsiteY17" fmla="*/ 128453 h 179236"/>
                <a:gd name="connsiteX18" fmla="*/ 23898 w 149363"/>
                <a:gd name="connsiteY18" fmla="*/ 120984 h 179236"/>
                <a:gd name="connsiteX19" fmla="*/ 8962 w 149363"/>
                <a:gd name="connsiteY19" fmla="*/ 112023 h 179236"/>
                <a:gd name="connsiteX20" fmla="*/ 7468 w 149363"/>
                <a:gd name="connsiteY20" fmla="*/ 110529 h 179236"/>
                <a:gd name="connsiteX21" fmla="*/ 5974 w 149363"/>
                <a:gd name="connsiteY21" fmla="*/ 109035 h 179236"/>
                <a:gd name="connsiteX22" fmla="*/ 4481 w 149363"/>
                <a:gd name="connsiteY22" fmla="*/ 106048 h 179236"/>
                <a:gd name="connsiteX23" fmla="*/ 2987 w 149363"/>
                <a:gd name="connsiteY23" fmla="*/ 103061 h 179236"/>
                <a:gd name="connsiteX24" fmla="*/ 2987 w 149363"/>
                <a:gd name="connsiteY24" fmla="*/ 101567 h 179236"/>
                <a:gd name="connsiteX25" fmla="*/ 0 w 149363"/>
                <a:gd name="connsiteY25" fmla="*/ 2987 h 17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9363" h="179236">
                  <a:moveTo>
                    <a:pt x="0" y="2987"/>
                  </a:moveTo>
                  <a:cubicBezTo>
                    <a:pt x="0" y="2987"/>
                    <a:pt x="0" y="1494"/>
                    <a:pt x="0" y="2987"/>
                  </a:cubicBezTo>
                  <a:cubicBezTo>
                    <a:pt x="0" y="0"/>
                    <a:pt x="1493" y="0"/>
                    <a:pt x="1493" y="0"/>
                  </a:cubicBezTo>
                  <a:cubicBezTo>
                    <a:pt x="1493" y="0"/>
                    <a:pt x="1493" y="0"/>
                    <a:pt x="1493" y="0"/>
                  </a:cubicBezTo>
                  <a:cubicBezTo>
                    <a:pt x="1493" y="0"/>
                    <a:pt x="1493" y="0"/>
                    <a:pt x="1493" y="0"/>
                  </a:cubicBezTo>
                  <a:cubicBezTo>
                    <a:pt x="1493" y="0"/>
                    <a:pt x="1493" y="0"/>
                    <a:pt x="2987" y="0"/>
                  </a:cubicBezTo>
                  <a:cubicBezTo>
                    <a:pt x="4481" y="0"/>
                    <a:pt x="4481" y="0"/>
                    <a:pt x="5974" y="0"/>
                  </a:cubicBezTo>
                  <a:lnTo>
                    <a:pt x="144882" y="77669"/>
                  </a:lnTo>
                  <a:cubicBezTo>
                    <a:pt x="146376" y="77669"/>
                    <a:pt x="146376" y="79163"/>
                    <a:pt x="146376" y="79163"/>
                  </a:cubicBezTo>
                  <a:cubicBezTo>
                    <a:pt x="147870" y="80656"/>
                    <a:pt x="149363" y="82150"/>
                    <a:pt x="149363" y="83644"/>
                  </a:cubicBezTo>
                  <a:cubicBezTo>
                    <a:pt x="149363" y="85137"/>
                    <a:pt x="149363" y="85137"/>
                    <a:pt x="149363" y="86631"/>
                  </a:cubicBezTo>
                  <a:lnTo>
                    <a:pt x="150857" y="186704"/>
                  </a:lnTo>
                  <a:cubicBezTo>
                    <a:pt x="150857" y="188198"/>
                    <a:pt x="150857" y="189692"/>
                    <a:pt x="149363" y="189692"/>
                  </a:cubicBezTo>
                  <a:cubicBezTo>
                    <a:pt x="147870" y="189692"/>
                    <a:pt x="146376" y="189692"/>
                    <a:pt x="144882" y="189692"/>
                  </a:cubicBezTo>
                  <a:lnTo>
                    <a:pt x="143389" y="189692"/>
                  </a:lnTo>
                  <a:lnTo>
                    <a:pt x="120984" y="176249"/>
                  </a:lnTo>
                  <a:lnTo>
                    <a:pt x="107542" y="168781"/>
                  </a:lnTo>
                  <a:lnTo>
                    <a:pt x="37341" y="128453"/>
                  </a:lnTo>
                  <a:lnTo>
                    <a:pt x="23898" y="120984"/>
                  </a:lnTo>
                  <a:lnTo>
                    <a:pt x="8962" y="112023"/>
                  </a:lnTo>
                  <a:cubicBezTo>
                    <a:pt x="8962" y="112023"/>
                    <a:pt x="7468" y="112023"/>
                    <a:pt x="7468" y="110529"/>
                  </a:cubicBezTo>
                  <a:cubicBezTo>
                    <a:pt x="7468" y="110529"/>
                    <a:pt x="5974" y="109035"/>
                    <a:pt x="5974" y="109035"/>
                  </a:cubicBezTo>
                  <a:cubicBezTo>
                    <a:pt x="5974" y="107542"/>
                    <a:pt x="4481" y="107542"/>
                    <a:pt x="4481" y="106048"/>
                  </a:cubicBezTo>
                  <a:cubicBezTo>
                    <a:pt x="4481" y="104554"/>
                    <a:pt x="4481" y="104554"/>
                    <a:pt x="2987" y="103061"/>
                  </a:cubicBezTo>
                  <a:cubicBezTo>
                    <a:pt x="2987" y="103061"/>
                    <a:pt x="2987" y="101567"/>
                    <a:pt x="2987" y="101567"/>
                  </a:cubicBezTo>
                  <a:lnTo>
                    <a:pt x="0" y="2987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89" name="任意多边形: 形状 10688"/>
            <p:cNvSpPr/>
            <p:nvPr/>
          </p:nvSpPr>
          <p:spPr>
            <a:xfrm>
              <a:off x="7218081" y="678491"/>
              <a:ext cx="14936" cy="14936"/>
            </a:xfrm>
            <a:custGeom>
              <a:avLst/>
              <a:gdLst>
                <a:gd name="connsiteX0" fmla="*/ 232 w 14936"/>
                <a:gd name="connsiteY0" fmla="*/ 7146 h 14936"/>
                <a:gd name="connsiteX1" fmla="*/ 10688 w 14936"/>
                <a:gd name="connsiteY1" fmla="*/ 25070 h 14936"/>
                <a:gd name="connsiteX2" fmla="*/ 21143 w 14936"/>
                <a:gd name="connsiteY2" fmla="*/ 19096 h 14936"/>
                <a:gd name="connsiteX3" fmla="*/ 10688 w 14936"/>
                <a:gd name="connsiteY3" fmla="*/ 1172 h 14936"/>
                <a:gd name="connsiteX4" fmla="*/ 232 w 14936"/>
                <a:gd name="connsiteY4" fmla="*/ 714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232" y="7146"/>
                  </a:moveTo>
                  <a:cubicBezTo>
                    <a:pt x="232" y="13121"/>
                    <a:pt x="4713" y="22083"/>
                    <a:pt x="10688" y="25070"/>
                  </a:cubicBezTo>
                  <a:cubicBezTo>
                    <a:pt x="16662" y="28057"/>
                    <a:pt x="21143" y="25070"/>
                    <a:pt x="21143" y="19096"/>
                  </a:cubicBezTo>
                  <a:cubicBezTo>
                    <a:pt x="21143" y="13121"/>
                    <a:pt x="16662" y="4159"/>
                    <a:pt x="10688" y="1172"/>
                  </a:cubicBezTo>
                  <a:cubicBezTo>
                    <a:pt x="4713" y="-1815"/>
                    <a:pt x="-1261" y="1172"/>
                    <a:pt x="232" y="7146"/>
                  </a:cubicBezTo>
                  <a:close/>
                </a:path>
              </a:pathLst>
            </a:custGeom>
            <a:solidFill>
              <a:srgbClr val="FFFF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90" name="任意多边形: 形状 10689"/>
            <p:cNvSpPr/>
            <p:nvPr/>
          </p:nvSpPr>
          <p:spPr>
            <a:xfrm>
              <a:off x="7324301" y="680036"/>
              <a:ext cx="74682" cy="44809"/>
            </a:xfrm>
            <a:custGeom>
              <a:avLst/>
              <a:gdLst>
                <a:gd name="connsiteX0" fmla="*/ 79223 w 74681"/>
                <a:gd name="connsiteY0" fmla="*/ 17550 h 44809"/>
                <a:gd name="connsiteX1" fmla="*/ 68768 w 74681"/>
                <a:gd name="connsiteY1" fmla="*/ 36967 h 44809"/>
                <a:gd name="connsiteX2" fmla="*/ 46363 w 74681"/>
                <a:gd name="connsiteY2" fmla="*/ 44436 h 44809"/>
                <a:gd name="connsiteX3" fmla="*/ 29933 w 74681"/>
                <a:gd name="connsiteY3" fmla="*/ 50410 h 44809"/>
                <a:gd name="connsiteX4" fmla="*/ 22465 w 74681"/>
                <a:gd name="connsiteY4" fmla="*/ 54891 h 44809"/>
                <a:gd name="connsiteX5" fmla="*/ 17984 w 74681"/>
                <a:gd name="connsiteY5" fmla="*/ 48917 h 44809"/>
                <a:gd name="connsiteX6" fmla="*/ 7529 w 74681"/>
                <a:gd name="connsiteY6" fmla="*/ 45929 h 44809"/>
                <a:gd name="connsiteX7" fmla="*/ 4541 w 74681"/>
                <a:gd name="connsiteY7" fmla="*/ 36967 h 44809"/>
                <a:gd name="connsiteX8" fmla="*/ 1554 w 74681"/>
                <a:gd name="connsiteY8" fmla="*/ 29499 h 44809"/>
                <a:gd name="connsiteX9" fmla="*/ 47857 w 74681"/>
                <a:gd name="connsiteY9" fmla="*/ 1120 h 44809"/>
                <a:gd name="connsiteX10" fmla="*/ 68768 w 74681"/>
                <a:gd name="connsiteY10" fmla="*/ 1120 h 44809"/>
                <a:gd name="connsiteX11" fmla="*/ 79223 w 74681"/>
                <a:gd name="connsiteY11" fmla="*/ 17550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44809">
                  <a:moveTo>
                    <a:pt x="79223" y="17550"/>
                  </a:moveTo>
                  <a:cubicBezTo>
                    <a:pt x="80717" y="25018"/>
                    <a:pt x="74742" y="32487"/>
                    <a:pt x="68768" y="36967"/>
                  </a:cubicBezTo>
                  <a:cubicBezTo>
                    <a:pt x="61300" y="41448"/>
                    <a:pt x="53831" y="42942"/>
                    <a:pt x="46363" y="44436"/>
                  </a:cubicBezTo>
                  <a:cubicBezTo>
                    <a:pt x="38895" y="45929"/>
                    <a:pt x="35908" y="47423"/>
                    <a:pt x="29933" y="50410"/>
                  </a:cubicBezTo>
                  <a:cubicBezTo>
                    <a:pt x="26946" y="51904"/>
                    <a:pt x="25452" y="53397"/>
                    <a:pt x="22465" y="54891"/>
                  </a:cubicBezTo>
                  <a:cubicBezTo>
                    <a:pt x="19478" y="56385"/>
                    <a:pt x="12010" y="53397"/>
                    <a:pt x="17984" y="48917"/>
                  </a:cubicBezTo>
                  <a:cubicBezTo>
                    <a:pt x="7529" y="56385"/>
                    <a:pt x="4541" y="47423"/>
                    <a:pt x="7529" y="45929"/>
                  </a:cubicBezTo>
                  <a:cubicBezTo>
                    <a:pt x="3048" y="47423"/>
                    <a:pt x="-1433" y="41448"/>
                    <a:pt x="4541" y="36967"/>
                  </a:cubicBezTo>
                  <a:cubicBezTo>
                    <a:pt x="61" y="39955"/>
                    <a:pt x="-1433" y="33980"/>
                    <a:pt x="1554" y="29499"/>
                  </a:cubicBezTo>
                  <a:cubicBezTo>
                    <a:pt x="13503" y="16057"/>
                    <a:pt x="29933" y="5601"/>
                    <a:pt x="47857" y="1120"/>
                  </a:cubicBezTo>
                  <a:cubicBezTo>
                    <a:pt x="55325" y="-373"/>
                    <a:pt x="61300" y="-373"/>
                    <a:pt x="68768" y="1120"/>
                  </a:cubicBezTo>
                  <a:cubicBezTo>
                    <a:pt x="71755" y="5601"/>
                    <a:pt x="77729" y="10082"/>
                    <a:pt x="79223" y="1755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91" name="任意多边形: 形状 10690"/>
            <p:cNvSpPr/>
            <p:nvPr/>
          </p:nvSpPr>
          <p:spPr>
            <a:xfrm>
              <a:off x="7333697" y="679663"/>
              <a:ext cx="44809" cy="14936"/>
            </a:xfrm>
            <a:custGeom>
              <a:avLst/>
              <a:gdLst>
                <a:gd name="connsiteX0" fmla="*/ 7095 w 44809"/>
                <a:gd name="connsiteY0" fmla="*/ 0 h 0"/>
                <a:gd name="connsiteX1" fmla="*/ 1120 w 44809"/>
                <a:gd name="connsiteY1" fmla="*/ 1494 h 0"/>
                <a:gd name="connsiteX2" fmla="*/ 1120 w 44809"/>
                <a:gd name="connsiteY2" fmla="*/ 7468 h 0"/>
                <a:gd name="connsiteX3" fmla="*/ 19044 w 44809"/>
                <a:gd name="connsiteY3" fmla="*/ 13443 h 0"/>
                <a:gd name="connsiteX4" fmla="*/ 32487 w 44809"/>
                <a:gd name="connsiteY4" fmla="*/ 10455 h 0"/>
                <a:gd name="connsiteX5" fmla="*/ 47423 w 44809"/>
                <a:gd name="connsiteY5" fmla="*/ 2987 h 0"/>
                <a:gd name="connsiteX6" fmla="*/ 7095 w 44809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09">
                  <a:moveTo>
                    <a:pt x="7095" y="0"/>
                  </a:moveTo>
                  <a:cubicBezTo>
                    <a:pt x="5601" y="0"/>
                    <a:pt x="2614" y="0"/>
                    <a:pt x="1120" y="1494"/>
                  </a:cubicBezTo>
                  <a:cubicBezTo>
                    <a:pt x="-373" y="2987"/>
                    <a:pt x="-373" y="5975"/>
                    <a:pt x="1120" y="7468"/>
                  </a:cubicBezTo>
                  <a:cubicBezTo>
                    <a:pt x="4107" y="11949"/>
                    <a:pt x="14563" y="13443"/>
                    <a:pt x="19044" y="13443"/>
                  </a:cubicBezTo>
                  <a:cubicBezTo>
                    <a:pt x="25018" y="13443"/>
                    <a:pt x="26512" y="11949"/>
                    <a:pt x="32487" y="10455"/>
                  </a:cubicBezTo>
                  <a:cubicBezTo>
                    <a:pt x="36967" y="7468"/>
                    <a:pt x="42942" y="4481"/>
                    <a:pt x="47423" y="2987"/>
                  </a:cubicBezTo>
                  <a:cubicBezTo>
                    <a:pt x="32487" y="4481"/>
                    <a:pt x="17550" y="2987"/>
                    <a:pt x="7095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92" name="任意多边形: 形状 10691"/>
            <p:cNvSpPr/>
            <p:nvPr/>
          </p:nvSpPr>
          <p:spPr>
            <a:xfrm>
              <a:off x="7382223" y="601433"/>
              <a:ext cx="149363" cy="104554"/>
            </a:xfrm>
            <a:custGeom>
              <a:avLst/>
              <a:gdLst>
                <a:gd name="connsiteX0" fmla="*/ 18314 w 149363"/>
                <a:gd name="connsiteY0" fmla="*/ 66280 h 104554"/>
                <a:gd name="connsiteX1" fmla="*/ 391 w 149363"/>
                <a:gd name="connsiteY1" fmla="*/ 79723 h 104554"/>
                <a:gd name="connsiteX2" fmla="*/ 18314 w 149363"/>
                <a:gd name="connsiteY2" fmla="*/ 109596 h 104554"/>
                <a:gd name="connsiteX3" fmla="*/ 36238 w 149363"/>
                <a:gd name="connsiteY3" fmla="*/ 102128 h 104554"/>
                <a:gd name="connsiteX4" fmla="*/ 139299 w 149363"/>
                <a:gd name="connsiteY4" fmla="*/ 57318 h 104554"/>
                <a:gd name="connsiteX5" fmla="*/ 151248 w 149363"/>
                <a:gd name="connsiteY5" fmla="*/ 15497 h 104554"/>
                <a:gd name="connsiteX6" fmla="*/ 151248 w 149363"/>
                <a:gd name="connsiteY6" fmla="*/ 15497 h 104554"/>
                <a:gd name="connsiteX7" fmla="*/ 109426 w 149363"/>
                <a:gd name="connsiteY7" fmla="*/ 3548 h 104554"/>
                <a:gd name="connsiteX8" fmla="*/ 18314 w 149363"/>
                <a:gd name="connsiteY8" fmla="*/ 66280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363" h="104554">
                  <a:moveTo>
                    <a:pt x="18314" y="66280"/>
                  </a:moveTo>
                  <a:cubicBezTo>
                    <a:pt x="7859" y="70761"/>
                    <a:pt x="1884" y="75242"/>
                    <a:pt x="391" y="79723"/>
                  </a:cubicBezTo>
                  <a:cubicBezTo>
                    <a:pt x="-2597" y="85698"/>
                    <a:pt x="12340" y="109596"/>
                    <a:pt x="18314" y="109596"/>
                  </a:cubicBezTo>
                  <a:cubicBezTo>
                    <a:pt x="22795" y="108102"/>
                    <a:pt x="28770" y="105115"/>
                    <a:pt x="36238" y="102128"/>
                  </a:cubicBezTo>
                  <a:lnTo>
                    <a:pt x="139299" y="57318"/>
                  </a:lnTo>
                  <a:cubicBezTo>
                    <a:pt x="154235" y="49850"/>
                    <a:pt x="158716" y="30433"/>
                    <a:pt x="151248" y="15497"/>
                  </a:cubicBezTo>
                  <a:lnTo>
                    <a:pt x="151248" y="15497"/>
                  </a:lnTo>
                  <a:cubicBezTo>
                    <a:pt x="143780" y="560"/>
                    <a:pt x="124363" y="-3920"/>
                    <a:pt x="109426" y="3548"/>
                  </a:cubicBezTo>
                  <a:lnTo>
                    <a:pt x="18314" y="66280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2" name="图片 4" descr="LOGO-1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62305" y="484188"/>
            <a:ext cx="2149475" cy="515937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83230" y="2843961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84346" y="373931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grpSp>
        <p:nvGrpSpPr>
          <p:cNvPr id="3" name="组合 2"/>
          <p:cNvGrpSpPr/>
          <p:nvPr userDrawn="1"/>
        </p:nvGrpSpPr>
        <p:grpSpPr>
          <a:xfrm flipH="1">
            <a:off x="0" y="1822788"/>
            <a:ext cx="8759790" cy="5035212"/>
            <a:chOff x="3432210" y="1822788"/>
            <a:chExt cx="8759790" cy="5035212"/>
          </a:xfrm>
        </p:grpSpPr>
        <p:sp>
          <p:nvSpPr>
            <p:cNvPr id="952" name="任意多边形: 形状 951"/>
            <p:cNvSpPr/>
            <p:nvPr userDrawn="1"/>
          </p:nvSpPr>
          <p:spPr>
            <a:xfrm flipH="1">
              <a:off x="3432210" y="4078514"/>
              <a:ext cx="8759790" cy="2779486"/>
            </a:xfrm>
            <a:custGeom>
              <a:avLst/>
              <a:gdLst>
                <a:gd name="connsiteX0" fmla="*/ 3889196 w 8759790"/>
                <a:gd name="connsiteY0" fmla="*/ 0 h 2779486"/>
                <a:gd name="connsiteX1" fmla="*/ 0 w 8759790"/>
                <a:gd name="connsiteY1" fmla="*/ 2219435 h 2779486"/>
                <a:gd name="connsiteX2" fmla="*/ 0 w 8759790"/>
                <a:gd name="connsiteY2" fmla="*/ 2779486 h 2779486"/>
                <a:gd name="connsiteX3" fmla="*/ 8759790 w 8759790"/>
                <a:gd name="connsiteY3" fmla="*/ 2779486 h 2779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59790" h="2779486">
                  <a:moveTo>
                    <a:pt x="3889196" y="0"/>
                  </a:moveTo>
                  <a:lnTo>
                    <a:pt x="0" y="2219435"/>
                  </a:lnTo>
                  <a:lnTo>
                    <a:pt x="0" y="2779486"/>
                  </a:lnTo>
                  <a:lnTo>
                    <a:pt x="8759790" y="2779486"/>
                  </a:ln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50000">
                  <a:schemeClr val="bg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" name="组合 1"/>
            <p:cNvGrpSpPr/>
            <p:nvPr userDrawn="1"/>
          </p:nvGrpSpPr>
          <p:grpSpPr>
            <a:xfrm>
              <a:off x="7946680" y="1822788"/>
              <a:ext cx="2913450" cy="3928161"/>
              <a:chOff x="7271240" y="3255323"/>
              <a:chExt cx="2056569" cy="2772841"/>
            </a:xfrm>
          </p:grpSpPr>
          <p:sp>
            <p:nvSpPr>
              <p:cNvPr id="44" name="任意多边形: 形状 43"/>
              <p:cNvSpPr/>
              <p:nvPr/>
            </p:nvSpPr>
            <p:spPr>
              <a:xfrm flipH="1">
                <a:off x="8163049" y="3816847"/>
                <a:ext cx="9092" cy="381888"/>
              </a:xfrm>
              <a:custGeom>
                <a:avLst/>
                <a:gdLst>
                  <a:gd name="connsiteX0" fmla="*/ 0 w 14936"/>
                  <a:gd name="connsiteY0" fmla="*/ 0 h 627326"/>
                  <a:gd name="connsiteX1" fmla="*/ 14936 w 14936"/>
                  <a:gd name="connsiteY1" fmla="*/ 0 h 627326"/>
                  <a:gd name="connsiteX2" fmla="*/ 14936 w 14936"/>
                  <a:gd name="connsiteY2" fmla="*/ 639276 h 627326"/>
                  <a:gd name="connsiteX3" fmla="*/ 0 w 14936"/>
                  <a:gd name="connsiteY3" fmla="*/ 639276 h 627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36" h="627326">
                    <a:moveTo>
                      <a:pt x="0" y="0"/>
                    </a:moveTo>
                    <a:lnTo>
                      <a:pt x="14936" y="0"/>
                    </a:lnTo>
                    <a:lnTo>
                      <a:pt x="14936" y="639276"/>
                    </a:lnTo>
                    <a:lnTo>
                      <a:pt x="0" y="639276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/>
              <p:cNvSpPr/>
              <p:nvPr/>
            </p:nvSpPr>
            <p:spPr>
              <a:xfrm flipH="1">
                <a:off x="8170243" y="4201980"/>
                <a:ext cx="336426" cy="200037"/>
              </a:xfrm>
              <a:custGeom>
                <a:avLst/>
                <a:gdLst>
                  <a:gd name="connsiteX0" fmla="*/ 0 w 552644"/>
                  <a:gd name="connsiteY0" fmla="*/ 319894 h 328599"/>
                  <a:gd name="connsiteX1" fmla="*/ 553485 w 552644"/>
                  <a:gd name="connsiteY1" fmla="*/ 0 h 328599"/>
                  <a:gd name="connsiteX2" fmla="*/ 560959 w 552644"/>
                  <a:gd name="connsiteY2" fmla="*/ 12932 h 328599"/>
                  <a:gd name="connsiteX3" fmla="*/ 7474 w 552644"/>
                  <a:gd name="connsiteY3" fmla="*/ 332825 h 328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2644" h="328599">
                    <a:moveTo>
                      <a:pt x="0" y="319894"/>
                    </a:moveTo>
                    <a:lnTo>
                      <a:pt x="553485" y="0"/>
                    </a:lnTo>
                    <a:lnTo>
                      <a:pt x="560959" y="12932"/>
                    </a:lnTo>
                    <a:lnTo>
                      <a:pt x="7474" y="332825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/>
              <p:cNvSpPr/>
              <p:nvPr/>
            </p:nvSpPr>
            <p:spPr>
              <a:xfrm flipH="1">
                <a:off x="8499474" y="4400591"/>
                <a:ext cx="9092" cy="381888"/>
              </a:xfrm>
              <a:custGeom>
                <a:avLst/>
                <a:gdLst>
                  <a:gd name="connsiteX0" fmla="*/ 0 w 14936"/>
                  <a:gd name="connsiteY0" fmla="*/ 0 h 627326"/>
                  <a:gd name="connsiteX1" fmla="*/ 14936 w 14936"/>
                  <a:gd name="connsiteY1" fmla="*/ 0 h 627326"/>
                  <a:gd name="connsiteX2" fmla="*/ 14936 w 14936"/>
                  <a:gd name="connsiteY2" fmla="*/ 639275 h 627326"/>
                  <a:gd name="connsiteX3" fmla="*/ 0 w 14936"/>
                  <a:gd name="connsiteY3" fmla="*/ 639275 h 627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36" h="627326">
                    <a:moveTo>
                      <a:pt x="0" y="0"/>
                    </a:moveTo>
                    <a:lnTo>
                      <a:pt x="14936" y="0"/>
                    </a:lnTo>
                    <a:lnTo>
                      <a:pt x="14936" y="639275"/>
                    </a:lnTo>
                    <a:lnTo>
                      <a:pt x="0" y="639275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/>
              <p:cNvSpPr/>
              <p:nvPr/>
            </p:nvSpPr>
            <p:spPr>
              <a:xfrm flipH="1">
                <a:off x="7832993" y="4007592"/>
                <a:ext cx="336426" cy="200037"/>
              </a:xfrm>
              <a:custGeom>
                <a:avLst/>
                <a:gdLst>
                  <a:gd name="connsiteX0" fmla="*/ 0 w 552644"/>
                  <a:gd name="connsiteY0" fmla="*/ 319574 h 328599"/>
                  <a:gd name="connsiteX1" fmla="*/ 553677 w 552644"/>
                  <a:gd name="connsiteY1" fmla="*/ 0 h 328599"/>
                  <a:gd name="connsiteX2" fmla="*/ 561143 w 552644"/>
                  <a:gd name="connsiteY2" fmla="*/ 12936 h 328599"/>
                  <a:gd name="connsiteX3" fmla="*/ 7467 w 552644"/>
                  <a:gd name="connsiteY3" fmla="*/ 332510 h 328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2644" h="328599">
                    <a:moveTo>
                      <a:pt x="0" y="319574"/>
                    </a:moveTo>
                    <a:lnTo>
                      <a:pt x="553677" y="0"/>
                    </a:lnTo>
                    <a:lnTo>
                      <a:pt x="561143" y="12936"/>
                    </a:lnTo>
                    <a:lnTo>
                      <a:pt x="7467" y="332510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/>
              <p:cNvSpPr/>
              <p:nvPr/>
            </p:nvSpPr>
            <p:spPr>
              <a:xfrm flipH="1">
                <a:off x="8163049" y="4206010"/>
                <a:ext cx="9092" cy="381888"/>
              </a:xfrm>
              <a:custGeom>
                <a:avLst/>
                <a:gdLst>
                  <a:gd name="connsiteX0" fmla="*/ 0 w 14936"/>
                  <a:gd name="connsiteY0" fmla="*/ 0 h 627326"/>
                  <a:gd name="connsiteX1" fmla="*/ 14936 w 14936"/>
                  <a:gd name="connsiteY1" fmla="*/ 0 h 627326"/>
                  <a:gd name="connsiteX2" fmla="*/ 14936 w 14936"/>
                  <a:gd name="connsiteY2" fmla="*/ 639276 h 627326"/>
                  <a:gd name="connsiteX3" fmla="*/ 0 w 14936"/>
                  <a:gd name="connsiteY3" fmla="*/ 639276 h 627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36" h="627326">
                    <a:moveTo>
                      <a:pt x="0" y="0"/>
                    </a:moveTo>
                    <a:lnTo>
                      <a:pt x="14936" y="0"/>
                    </a:lnTo>
                    <a:lnTo>
                      <a:pt x="14936" y="639276"/>
                    </a:lnTo>
                    <a:lnTo>
                      <a:pt x="0" y="639276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/>
              <p:cNvSpPr/>
              <p:nvPr/>
            </p:nvSpPr>
            <p:spPr>
              <a:xfrm flipH="1">
                <a:off x="8844493" y="4981334"/>
                <a:ext cx="336426" cy="200037"/>
              </a:xfrm>
              <a:custGeom>
                <a:avLst/>
                <a:gdLst>
                  <a:gd name="connsiteX0" fmla="*/ 0 w 552644"/>
                  <a:gd name="connsiteY0" fmla="*/ 319893 h 328599"/>
                  <a:gd name="connsiteX1" fmla="*/ 553485 w 552644"/>
                  <a:gd name="connsiteY1" fmla="*/ 0 h 328599"/>
                  <a:gd name="connsiteX2" fmla="*/ 560959 w 552644"/>
                  <a:gd name="connsiteY2" fmla="*/ 12932 h 328599"/>
                  <a:gd name="connsiteX3" fmla="*/ 7474 w 552644"/>
                  <a:gd name="connsiteY3" fmla="*/ 332825 h 328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2644" h="328599">
                    <a:moveTo>
                      <a:pt x="0" y="319893"/>
                    </a:moveTo>
                    <a:lnTo>
                      <a:pt x="553485" y="0"/>
                    </a:lnTo>
                    <a:lnTo>
                      <a:pt x="560959" y="12932"/>
                    </a:lnTo>
                    <a:lnTo>
                      <a:pt x="7474" y="332825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/>
              <p:cNvSpPr/>
              <p:nvPr/>
            </p:nvSpPr>
            <p:spPr>
              <a:xfrm flipH="1">
                <a:off x="9174144" y="5179826"/>
                <a:ext cx="9092" cy="381888"/>
              </a:xfrm>
              <a:custGeom>
                <a:avLst/>
                <a:gdLst>
                  <a:gd name="connsiteX0" fmla="*/ 0 w 14936"/>
                  <a:gd name="connsiteY0" fmla="*/ 0 h 627326"/>
                  <a:gd name="connsiteX1" fmla="*/ 14936 w 14936"/>
                  <a:gd name="connsiteY1" fmla="*/ 0 h 627326"/>
                  <a:gd name="connsiteX2" fmla="*/ 14936 w 14936"/>
                  <a:gd name="connsiteY2" fmla="*/ 639275 h 627326"/>
                  <a:gd name="connsiteX3" fmla="*/ 0 w 14936"/>
                  <a:gd name="connsiteY3" fmla="*/ 639275 h 627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36" h="627326">
                    <a:moveTo>
                      <a:pt x="0" y="0"/>
                    </a:moveTo>
                    <a:lnTo>
                      <a:pt x="14936" y="0"/>
                    </a:lnTo>
                    <a:lnTo>
                      <a:pt x="14936" y="639275"/>
                    </a:lnTo>
                    <a:lnTo>
                      <a:pt x="0" y="639275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/>
              <p:cNvSpPr/>
              <p:nvPr/>
            </p:nvSpPr>
            <p:spPr>
              <a:xfrm flipH="1">
                <a:off x="8507166" y="4786638"/>
                <a:ext cx="336426" cy="200037"/>
              </a:xfrm>
              <a:custGeom>
                <a:avLst/>
                <a:gdLst>
                  <a:gd name="connsiteX0" fmla="*/ 0 w 552644"/>
                  <a:gd name="connsiteY0" fmla="*/ 319894 h 328599"/>
                  <a:gd name="connsiteX1" fmla="*/ 553485 w 552644"/>
                  <a:gd name="connsiteY1" fmla="*/ 0 h 328599"/>
                  <a:gd name="connsiteX2" fmla="*/ 560959 w 552644"/>
                  <a:gd name="connsiteY2" fmla="*/ 12932 h 328599"/>
                  <a:gd name="connsiteX3" fmla="*/ 7474 w 552644"/>
                  <a:gd name="connsiteY3" fmla="*/ 332825 h 328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2644" h="328599">
                    <a:moveTo>
                      <a:pt x="0" y="319894"/>
                    </a:moveTo>
                    <a:lnTo>
                      <a:pt x="553485" y="0"/>
                    </a:lnTo>
                    <a:lnTo>
                      <a:pt x="560959" y="12932"/>
                    </a:lnTo>
                    <a:lnTo>
                      <a:pt x="7474" y="332825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/>
              <p:cNvSpPr/>
              <p:nvPr/>
            </p:nvSpPr>
            <p:spPr>
              <a:xfrm flipH="1">
                <a:off x="8836809" y="4985244"/>
                <a:ext cx="9092" cy="381888"/>
              </a:xfrm>
              <a:custGeom>
                <a:avLst/>
                <a:gdLst>
                  <a:gd name="connsiteX0" fmla="*/ 0 w 14936"/>
                  <a:gd name="connsiteY0" fmla="*/ 0 h 627326"/>
                  <a:gd name="connsiteX1" fmla="*/ 14936 w 14936"/>
                  <a:gd name="connsiteY1" fmla="*/ 0 h 627326"/>
                  <a:gd name="connsiteX2" fmla="*/ 14936 w 14936"/>
                  <a:gd name="connsiteY2" fmla="*/ 639275 h 627326"/>
                  <a:gd name="connsiteX3" fmla="*/ 0 w 14936"/>
                  <a:gd name="connsiteY3" fmla="*/ 639275 h 627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36" h="627326">
                    <a:moveTo>
                      <a:pt x="0" y="0"/>
                    </a:moveTo>
                    <a:lnTo>
                      <a:pt x="14936" y="0"/>
                    </a:lnTo>
                    <a:lnTo>
                      <a:pt x="14936" y="639275"/>
                    </a:lnTo>
                    <a:lnTo>
                      <a:pt x="0" y="639275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/>
              <p:cNvSpPr/>
              <p:nvPr/>
            </p:nvSpPr>
            <p:spPr>
              <a:xfrm flipH="1">
                <a:off x="8170006" y="4591990"/>
                <a:ext cx="336426" cy="200037"/>
              </a:xfrm>
              <a:custGeom>
                <a:avLst/>
                <a:gdLst>
                  <a:gd name="connsiteX0" fmla="*/ 0 w 552644"/>
                  <a:gd name="connsiteY0" fmla="*/ 319830 h 328599"/>
                  <a:gd name="connsiteX1" fmla="*/ 553485 w 552644"/>
                  <a:gd name="connsiteY1" fmla="*/ 0 h 328599"/>
                  <a:gd name="connsiteX2" fmla="*/ 560957 w 552644"/>
                  <a:gd name="connsiteY2" fmla="*/ 12932 h 328599"/>
                  <a:gd name="connsiteX3" fmla="*/ 7473 w 552644"/>
                  <a:gd name="connsiteY3" fmla="*/ 332761 h 328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2644" h="328599">
                    <a:moveTo>
                      <a:pt x="0" y="319830"/>
                    </a:moveTo>
                    <a:lnTo>
                      <a:pt x="553485" y="0"/>
                    </a:lnTo>
                    <a:lnTo>
                      <a:pt x="560957" y="12932"/>
                    </a:lnTo>
                    <a:lnTo>
                      <a:pt x="7473" y="332761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/>
              <p:cNvSpPr/>
              <p:nvPr/>
            </p:nvSpPr>
            <p:spPr>
              <a:xfrm flipH="1">
                <a:off x="8499474" y="4790663"/>
                <a:ext cx="9092" cy="381888"/>
              </a:xfrm>
              <a:custGeom>
                <a:avLst/>
                <a:gdLst>
                  <a:gd name="connsiteX0" fmla="*/ 0 w 14936"/>
                  <a:gd name="connsiteY0" fmla="*/ 0 h 627326"/>
                  <a:gd name="connsiteX1" fmla="*/ 14936 w 14936"/>
                  <a:gd name="connsiteY1" fmla="*/ 0 h 627326"/>
                  <a:gd name="connsiteX2" fmla="*/ 14936 w 14936"/>
                  <a:gd name="connsiteY2" fmla="*/ 639275 h 627326"/>
                  <a:gd name="connsiteX3" fmla="*/ 0 w 14936"/>
                  <a:gd name="connsiteY3" fmla="*/ 639275 h 627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36" h="627326">
                    <a:moveTo>
                      <a:pt x="0" y="0"/>
                    </a:moveTo>
                    <a:lnTo>
                      <a:pt x="14936" y="0"/>
                    </a:lnTo>
                    <a:lnTo>
                      <a:pt x="14936" y="639275"/>
                    </a:lnTo>
                    <a:lnTo>
                      <a:pt x="0" y="639275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/>
              <p:cNvSpPr/>
              <p:nvPr/>
            </p:nvSpPr>
            <p:spPr>
              <a:xfrm flipH="1">
                <a:off x="7833131" y="4396531"/>
                <a:ext cx="336426" cy="200037"/>
              </a:xfrm>
              <a:custGeom>
                <a:avLst/>
                <a:gdLst>
                  <a:gd name="connsiteX0" fmla="*/ 0 w 552644"/>
                  <a:gd name="connsiteY0" fmla="*/ 319829 h 328599"/>
                  <a:gd name="connsiteX1" fmla="*/ 553485 w 552644"/>
                  <a:gd name="connsiteY1" fmla="*/ 0 h 328599"/>
                  <a:gd name="connsiteX2" fmla="*/ 560957 w 552644"/>
                  <a:gd name="connsiteY2" fmla="*/ 12932 h 328599"/>
                  <a:gd name="connsiteX3" fmla="*/ 7473 w 552644"/>
                  <a:gd name="connsiteY3" fmla="*/ 332761 h 328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2644" h="328599">
                    <a:moveTo>
                      <a:pt x="0" y="319829"/>
                    </a:moveTo>
                    <a:lnTo>
                      <a:pt x="553485" y="0"/>
                    </a:lnTo>
                    <a:lnTo>
                      <a:pt x="560957" y="12932"/>
                    </a:lnTo>
                    <a:lnTo>
                      <a:pt x="7473" y="332761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/>
              <p:cNvSpPr/>
              <p:nvPr/>
            </p:nvSpPr>
            <p:spPr>
              <a:xfrm flipH="1">
                <a:off x="8163049" y="4596082"/>
                <a:ext cx="9092" cy="381888"/>
              </a:xfrm>
              <a:custGeom>
                <a:avLst/>
                <a:gdLst>
                  <a:gd name="connsiteX0" fmla="*/ 0 w 14936"/>
                  <a:gd name="connsiteY0" fmla="*/ 0 h 627326"/>
                  <a:gd name="connsiteX1" fmla="*/ 14936 w 14936"/>
                  <a:gd name="connsiteY1" fmla="*/ 0 h 627326"/>
                  <a:gd name="connsiteX2" fmla="*/ 14936 w 14936"/>
                  <a:gd name="connsiteY2" fmla="*/ 639275 h 627326"/>
                  <a:gd name="connsiteX3" fmla="*/ 0 w 14936"/>
                  <a:gd name="connsiteY3" fmla="*/ 639275 h 627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36" h="627326">
                    <a:moveTo>
                      <a:pt x="0" y="0"/>
                    </a:moveTo>
                    <a:lnTo>
                      <a:pt x="14936" y="0"/>
                    </a:lnTo>
                    <a:lnTo>
                      <a:pt x="14936" y="639275"/>
                    </a:lnTo>
                    <a:lnTo>
                      <a:pt x="0" y="639275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/>
              <p:cNvSpPr/>
              <p:nvPr userDrawn="1"/>
            </p:nvSpPr>
            <p:spPr>
              <a:xfrm flipH="1">
                <a:off x="7291069" y="3405862"/>
                <a:ext cx="254593" cy="1745776"/>
              </a:xfrm>
              <a:custGeom>
                <a:avLst/>
                <a:gdLst>
                  <a:gd name="connsiteX0" fmla="*/ 0 w 418217"/>
                  <a:gd name="connsiteY0" fmla="*/ 2872259 h 2867777"/>
                  <a:gd name="connsiteX1" fmla="*/ 425686 w 418217"/>
                  <a:gd name="connsiteY1" fmla="*/ 2627303 h 2867777"/>
                  <a:gd name="connsiteX2" fmla="*/ 424192 w 418217"/>
                  <a:gd name="connsiteY2" fmla="*/ 0 h 2867777"/>
                  <a:gd name="connsiteX3" fmla="*/ 0 w 418217"/>
                  <a:gd name="connsiteY3" fmla="*/ 244956 h 2867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8217" h="2867777">
                    <a:moveTo>
                      <a:pt x="0" y="2872259"/>
                    </a:moveTo>
                    <a:lnTo>
                      <a:pt x="425686" y="2627303"/>
                    </a:lnTo>
                    <a:lnTo>
                      <a:pt x="424192" y="0"/>
                    </a:lnTo>
                    <a:lnTo>
                      <a:pt x="0" y="244956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/>
              <p:cNvSpPr/>
              <p:nvPr userDrawn="1"/>
            </p:nvSpPr>
            <p:spPr>
              <a:xfrm flipH="1">
                <a:off x="7549299" y="3405862"/>
                <a:ext cx="254593" cy="1745776"/>
              </a:xfrm>
              <a:custGeom>
                <a:avLst/>
                <a:gdLst>
                  <a:gd name="connsiteX0" fmla="*/ 424192 w 418217"/>
                  <a:gd name="connsiteY0" fmla="*/ 2872259 h 2867777"/>
                  <a:gd name="connsiteX1" fmla="*/ 0 w 418217"/>
                  <a:gd name="connsiteY1" fmla="*/ 2627303 h 2867777"/>
                  <a:gd name="connsiteX2" fmla="*/ 0 w 418217"/>
                  <a:gd name="connsiteY2" fmla="*/ 0 h 2867777"/>
                  <a:gd name="connsiteX3" fmla="*/ 424192 w 418217"/>
                  <a:gd name="connsiteY3" fmla="*/ 244956 h 2867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8217" h="2867777">
                    <a:moveTo>
                      <a:pt x="424192" y="2872259"/>
                    </a:moveTo>
                    <a:lnTo>
                      <a:pt x="0" y="2627303"/>
                    </a:lnTo>
                    <a:lnTo>
                      <a:pt x="0" y="0"/>
                    </a:lnTo>
                    <a:lnTo>
                      <a:pt x="424192" y="244956"/>
                    </a:lnTo>
                    <a:close/>
                  </a:path>
                </a:pathLst>
              </a:custGeom>
              <a:solidFill>
                <a:srgbClr val="C6C6C6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/>
              <p:cNvSpPr/>
              <p:nvPr/>
            </p:nvSpPr>
            <p:spPr>
              <a:xfrm flipH="1">
                <a:off x="7672048" y="3792298"/>
                <a:ext cx="254593" cy="1582110"/>
              </a:xfrm>
              <a:custGeom>
                <a:avLst/>
                <a:gdLst>
                  <a:gd name="connsiteX0" fmla="*/ 0 w 418217"/>
                  <a:gd name="connsiteY0" fmla="*/ 2598924 h 2598923"/>
                  <a:gd name="connsiteX1" fmla="*/ 425686 w 418217"/>
                  <a:gd name="connsiteY1" fmla="*/ 2352474 h 2598923"/>
                  <a:gd name="connsiteX2" fmla="*/ 425686 w 418217"/>
                  <a:gd name="connsiteY2" fmla="*/ 0 h 2598923"/>
                  <a:gd name="connsiteX3" fmla="*/ 0 w 418217"/>
                  <a:gd name="connsiteY3" fmla="*/ 244956 h 2598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8217" h="2598923">
                    <a:moveTo>
                      <a:pt x="0" y="2598924"/>
                    </a:moveTo>
                    <a:lnTo>
                      <a:pt x="425686" y="2352474"/>
                    </a:lnTo>
                    <a:lnTo>
                      <a:pt x="425686" y="0"/>
                    </a:lnTo>
                    <a:lnTo>
                      <a:pt x="0" y="244956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/>
              <p:cNvSpPr/>
              <p:nvPr/>
            </p:nvSpPr>
            <p:spPr>
              <a:xfrm flipH="1">
                <a:off x="7930278" y="3792298"/>
                <a:ext cx="254593" cy="1582110"/>
              </a:xfrm>
              <a:custGeom>
                <a:avLst/>
                <a:gdLst>
                  <a:gd name="connsiteX0" fmla="*/ 424192 w 418217"/>
                  <a:gd name="connsiteY0" fmla="*/ 2598924 h 2598923"/>
                  <a:gd name="connsiteX1" fmla="*/ 0 w 418217"/>
                  <a:gd name="connsiteY1" fmla="*/ 2352474 h 2598923"/>
                  <a:gd name="connsiteX2" fmla="*/ 0 w 418217"/>
                  <a:gd name="connsiteY2" fmla="*/ 0 h 2598923"/>
                  <a:gd name="connsiteX3" fmla="*/ 424192 w 418217"/>
                  <a:gd name="connsiteY3" fmla="*/ 244956 h 2598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8217" h="2598923">
                    <a:moveTo>
                      <a:pt x="424192" y="2598924"/>
                    </a:moveTo>
                    <a:lnTo>
                      <a:pt x="0" y="2352474"/>
                    </a:lnTo>
                    <a:lnTo>
                      <a:pt x="0" y="0"/>
                    </a:lnTo>
                    <a:lnTo>
                      <a:pt x="424192" y="244956"/>
                    </a:lnTo>
                    <a:close/>
                  </a:path>
                </a:pathLst>
              </a:custGeom>
              <a:solidFill>
                <a:srgbClr val="C6C6C6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/>
              <p:cNvSpPr/>
              <p:nvPr/>
            </p:nvSpPr>
            <p:spPr>
              <a:xfrm flipH="1">
                <a:off x="7675686" y="3643179"/>
                <a:ext cx="509185" cy="290963"/>
              </a:xfrm>
              <a:custGeom>
                <a:avLst/>
                <a:gdLst>
                  <a:gd name="connsiteX0" fmla="*/ 0 w 836435"/>
                  <a:gd name="connsiteY0" fmla="*/ 244956 h 477962"/>
                  <a:gd name="connsiteX1" fmla="*/ 424192 w 836435"/>
                  <a:gd name="connsiteY1" fmla="*/ 0 h 477962"/>
                  <a:gd name="connsiteX2" fmla="*/ 849878 w 836435"/>
                  <a:gd name="connsiteY2" fmla="*/ 244956 h 477962"/>
                  <a:gd name="connsiteX3" fmla="*/ 424192 w 836435"/>
                  <a:gd name="connsiteY3" fmla="*/ 489912 h 477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6435" h="477962">
                    <a:moveTo>
                      <a:pt x="0" y="244956"/>
                    </a:moveTo>
                    <a:lnTo>
                      <a:pt x="424192" y="0"/>
                    </a:lnTo>
                    <a:lnTo>
                      <a:pt x="849878" y="244956"/>
                    </a:lnTo>
                    <a:lnTo>
                      <a:pt x="424192" y="489912"/>
                    </a:lnTo>
                    <a:close/>
                  </a:path>
                </a:pathLst>
              </a:custGeom>
              <a:solidFill>
                <a:srgbClr val="EDEDED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/>
              <p:cNvSpPr/>
              <p:nvPr/>
            </p:nvSpPr>
            <p:spPr>
              <a:xfrm flipH="1">
                <a:off x="8053028" y="4250564"/>
                <a:ext cx="254593" cy="1336610"/>
              </a:xfrm>
              <a:custGeom>
                <a:avLst/>
                <a:gdLst>
                  <a:gd name="connsiteX0" fmla="*/ 0 w 418217"/>
                  <a:gd name="connsiteY0" fmla="*/ 2206098 h 2195642"/>
                  <a:gd name="connsiteX1" fmla="*/ 425686 w 418217"/>
                  <a:gd name="connsiteY1" fmla="*/ 1961142 h 2195642"/>
                  <a:gd name="connsiteX2" fmla="*/ 425686 w 418217"/>
                  <a:gd name="connsiteY2" fmla="*/ 0 h 2195642"/>
                  <a:gd name="connsiteX3" fmla="*/ 0 w 418217"/>
                  <a:gd name="connsiteY3" fmla="*/ 244956 h 2195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8217" h="2195642">
                    <a:moveTo>
                      <a:pt x="0" y="2206098"/>
                    </a:moveTo>
                    <a:lnTo>
                      <a:pt x="425686" y="1961142"/>
                    </a:lnTo>
                    <a:lnTo>
                      <a:pt x="425686" y="0"/>
                    </a:lnTo>
                    <a:lnTo>
                      <a:pt x="0" y="244956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/>
              <p:cNvSpPr/>
              <p:nvPr/>
            </p:nvSpPr>
            <p:spPr>
              <a:xfrm flipH="1">
                <a:off x="8311257" y="4250564"/>
                <a:ext cx="254593" cy="1336610"/>
              </a:xfrm>
              <a:custGeom>
                <a:avLst/>
                <a:gdLst>
                  <a:gd name="connsiteX0" fmla="*/ 424192 w 418217"/>
                  <a:gd name="connsiteY0" fmla="*/ 2206098 h 2195642"/>
                  <a:gd name="connsiteX1" fmla="*/ 0 w 418217"/>
                  <a:gd name="connsiteY1" fmla="*/ 1961142 h 2195642"/>
                  <a:gd name="connsiteX2" fmla="*/ 0 w 418217"/>
                  <a:gd name="connsiteY2" fmla="*/ 0 h 2195642"/>
                  <a:gd name="connsiteX3" fmla="*/ 424192 w 418217"/>
                  <a:gd name="connsiteY3" fmla="*/ 244956 h 2195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8217" h="2195642">
                    <a:moveTo>
                      <a:pt x="424192" y="2206098"/>
                    </a:moveTo>
                    <a:lnTo>
                      <a:pt x="0" y="1961142"/>
                    </a:lnTo>
                    <a:lnTo>
                      <a:pt x="0" y="0"/>
                    </a:lnTo>
                    <a:lnTo>
                      <a:pt x="424192" y="244956"/>
                    </a:lnTo>
                    <a:close/>
                  </a:path>
                </a:pathLst>
              </a:custGeom>
              <a:solidFill>
                <a:srgbClr val="C6C6C6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/>
              <p:cNvSpPr/>
              <p:nvPr/>
            </p:nvSpPr>
            <p:spPr>
              <a:xfrm flipH="1">
                <a:off x="8056665" y="4101446"/>
                <a:ext cx="509185" cy="290963"/>
              </a:xfrm>
              <a:custGeom>
                <a:avLst/>
                <a:gdLst>
                  <a:gd name="connsiteX0" fmla="*/ 0 w 836435"/>
                  <a:gd name="connsiteY0" fmla="*/ 244956 h 477962"/>
                  <a:gd name="connsiteX1" fmla="*/ 424192 w 836435"/>
                  <a:gd name="connsiteY1" fmla="*/ 0 h 477962"/>
                  <a:gd name="connsiteX2" fmla="*/ 849878 w 836435"/>
                  <a:gd name="connsiteY2" fmla="*/ 244956 h 477962"/>
                  <a:gd name="connsiteX3" fmla="*/ 424192 w 836435"/>
                  <a:gd name="connsiteY3" fmla="*/ 489912 h 477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6435" h="477962">
                    <a:moveTo>
                      <a:pt x="0" y="244956"/>
                    </a:moveTo>
                    <a:lnTo>
                      <a:pt x="424192" y="0"/>
                    </a:lnTo>
                    <a:lnTo>
                      <a:pt x="849878" y="244956"/>
                    </a:lnTo>
                    <a:lnTo>
                      <a:pt x="424192" y="489912"/>
                    </a:lnTo>
                    <a:close/>
                  </a:path>
                </a:pathLst>
              </a:custGeom>
              <a:solidFill>
                <a:srgbClr val="EDEDED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/>
              <p:cNvSpPr/>
              <p:nvPr/>
            </p:nvSpPr>
            <p:spPr>
              <a:xfrm flipH="1">
                <a:off x="8433098" y="4835217"/>
                <a:ext cx="254593" cy="972907"/>
              </a:xfrm>
              <a:custGeom>
                <a:avLst/>
                <a:gdLst>
                  <a:gd name="connsiteX0" fmla="*/ 0 w 418217"/>
                  <a:gd name="connsiteY0" fmla="*/ 1605657 h 1598188"/>
                  <a:gd name="connsiteX1" fmla="*/ 424192 w 418217"/>
                  <a:gd name="connsiteY1" fmla="*/ 1360701 h 1598188"/>
                  <a:gd name="connsiteX2" fmla="*/ 424192 w 418217"/>
                  <a:gd name="connsiteY2" fmla="*/ 0 h 1598188"/>
                  <a:gd name="connsiteX3" fmla="*/ 0 w 418217"/>
                  <a:gd name="connsiteY3" fmla="*/ 244956 h 1598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8217" h="1598188">
                    <a:moveTo>
                      <a:pt x="0" y="1605657"/>
                    </a:moveTo>
                    <a:lnTo>
                      <a:pt x="424192" y="1360701"/>
                    </a:lnTo>
                    <a:lnTo>
                      <a:pt x="424192" y="0"/>
                    </a:lnTo>
                    <a:lnTo>
                      <a:pt x="0" y="244956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/>
              <p:cNvSpPr/>
              <p:nvPr/>
            </p:nvSpPr>
            <p:spPr>
              <a:xfrm flipH="1">
                <a:off x="8692236" y="4835217"/>
                <a:ext cx="254593" cy="972907"/>
              </a:xfrm>
              <a:custGeom>
                <a:avLst/>
                <a:gdLst>
                  <a:gd name="connsiteX0" fmla="*/ 425686 w 418217"/>
                  <a:gd name="connsiteY0" fmla="*/ 1605657 h 1598188"/>
                  <a:gd name="connsiteX1" fmla="*/ 0 w 418217"/>
                  <a:gd name="connsiteY1" fmla="*/ 1360701 h 1598188"/>
                  <a:gd name="connsiteX2" fmla="*/ 0 w 418217"/>
                  <a:gd name="connsiteY2" fmla="*/ 0 h 1598188"/>
                  <a:gd name="connsiteX3" fmla="*/ 425686 w 418217"/>
                  <a:gd name="connsiteY3" fmla="*/ 244956 h 1598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8217" h="1598188">
                    <a:moveTo>
                      <a:pt x="425686" y="1605657"/>
                    </a:moveTo>
                    <a:lnTo>
                      <a:pt x="0" y="1360701"/>
                    </a:lnTo>
                    <a:lnTo>
                      <a:pt x="0" y="0"/>
                    </a:lnTo>
                    <a:lnTo>
                      <a:pt x="425686" y="244956"/>
                    </a:lnTo>
                    <a:close/>
                  </a:path>
                </a:pathLst>
              </a:custGeom>
              <a:solidFill>
                <a:srgbClr val="C6C6C6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/>
              <p:cNvSpPr/>
              <p:nvPr/>
            </p:nvSpPr>
            <p:spPr>
              <a:xfrm flipH="1">
                <a:off x="8437644" y="4686098"/>
                <a:ext cx="509185" cy="290963"/>
              </a:xfrm>
              <a:custGeom>
                <a:avLst/>
                <a:gdLst>
                  <a:gd name="connsiteX0" fmla="*/ 0 w 836435"/>
                  <a:gd name="connsiteY0" fmla="*/ 244956 h 477962"/>
                  <a:gd name="connsiteX1" fmla="*/ 425686 w 836435"/>
                  <a:gd name="connsiteY1" fmla="*/ 0 h 477962"/>
                  <a:gd name="connsiteX2" fmla="*/ 849878 w 836435"/>
                  <a:gd name="connsiteY2" fmla="*/ 244956 h 477962"/>
                  <a:gd name="connsiteX3" fmla="*/ 425686 w 836435"/>
                  <a:gd name="connsiteY3" fmla="*/ 489912 h 477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6435" h="477962">
                    <a:moveTo>
                      <a:pt x="0" y="244956"/>
                    </a:moveTo>
                    <a:lnTo>
                      <a:pt x="425686" y="0"/>
                    </a:lnTo>
                    <a:lnTo>
                      <a:pt x="849878" y="244956"/>
                    </a:lnTo>
                    <a:lnTo>
                      <a:pt x="425686" y="489912"/>
                    </a:lnTo>
                    <a:close/>
                  </a:path>
                </a:pathLst>
              </a:custGeom>
              <a:solidFill>
                <a:srgbClr val="EDEDED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/>
              <p:cNvSpPr/>
              <p:nvPr/>
            </p:nvSpPr>
            <p:spPr>
              <a:xfrm flipH="1">
                <a:off x="8814077" y="5109813"/>
                <a:ext cx="254593" cy="918351"/>
              </a:xfrm>
              <a:custGeom>
                <a:avLst/>
                <a:gdLst>
                  <a:gd name="connsiteX0" fmla="*/ 0 w 418217"/>
                  <a:gd name="connsiteY0" fmla="*/ 1514545 h 1508570"/>
                  <a:gd name="connsiteX1" fmla="*/ 424192 w 418217"/>
                  <a:gd name="connsiteY1" fmla="*/ 1269589 h 1508570"/>
                  <a:gd name="connsiteX2" fmla="*/ 424192 w 418217"/>
                  <a:gd name="connsiteY2" fmla="*/ 0 h 1508570"/>
                  <a:gd name="connsiteX3" fmla="*/ 0 w 418217"/>
                  <a:gd name="connsiteY3" fmla="*/ 244956 h 1508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8217" h="1508570">
                    <a:moveTo>
                      <a:pt x="0" y="1514545"/>
                    </a:moveTo>
                    <a:lnTo>
                      <a:pt x="424192" y="1269589"/>
                    </a:lnTo>
                    <a:lnTo>
                      <a:pt x="424192" y="0"/>
                    </a:lnTo>
                    <a:lnTo>
                      <a:pt x="0" y="244956"/>
                    </a:lnTo>
                    <a:close/>
                  </a:path>
                </a:pathLst>
              </a:custGeom>
              <a:solidFill>
                <a:srgbClr val="DADADA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/>
              <p:cNvSpPr/>
              <p:nvPr/>
            </p:nvSpPr>
            <p:spPr>
              <a:xfrm flipH="1">
                <a:off x="9073216" y="5109813"/>
                <a:ext cx="254593" cy="918351"/>
              </a:xfrm>
              <a:custGeom>
                <a:avLst/>
                <a:gdLst>
                  <a:gd name="connsiteX0" fmla="*/ 425686 w 418217"/>
                  <a:gd name="connsiteY0" fmla="*/ 1514545 h 1508570"/>
                  <a:gd name="connsiteX1" fmla="*/ 0 w 418217"/>
                  <a:gd name="connsiteY1" fmla="*/ 1269589 h 1508570"/>
                  <a:gd name="connsiteX2" fmla="*/ 0 w 418217"/>
                  <a:gd name="connsiteY2" fmla="*/ 0 h 1508570"/>
                  <a:gd name="connsiteX3" fmla="*/ 425686 w 418217"/>
                  <a:gd name="connsiteY3" fmla="*/ 244956 h 1508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8217" h="1508570">
                    <a:moveTo>
                      <a:pt x="425686" y="1514545"/>
                    </a:moveTo>
                    <a:lnTo>
                      <a:pt x="0" y="1269589"/>
                    </a:lnTo>
                    <a:lnTo>
                      <a:pt x="0" y="0"/>
                    </a:lnTo>
                    <a:lnTo>
                      <a:pt x="425686" y="244956"/>
                    </a:lnTo>
                    <a:close/>
                  </a:path>
                </a:pathLst>
              </a:custGeom>
              <a:solidFill>
                <a:srgbClr val="C6C6C6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/>
              <p:cNvSpPr/>
              <p:nvPr/>
            </p:nvSpPr>
            <p:spPr>
              <a:xfrm flipH="1">
                <a:off x="8818624" y="4960695"/>
                <a:ext cx="509185" cy="290963"/>
              </a:xfrm>
              <a:custGeom>
                <a:avLst/>
                <a:gdLst>
                  <a:gd name="connsiteX0" fmla="*/ 0 w 836435"/>
                  <a:gd name="connsiteY0" fmla="*/ 244956 h 477962"/>
                  <a:gd name="connsiteX1" fmla="*/ 425686 w 836435"/>
                  <a:gd name="connsiteY1" fmla="*/ 0 h 477962"/>
                  <a:gd name="connsiteX2" fmla="*/ 849878 w 836435"/>
                  <a:gd name="connsiteY2" fmla="*/ 244956 h 477962"/>
                  <a:gd name="connsiteX3" fmla="*/ 425686 w 836435"/>
                  <a:gd name="connsiteY3" fmla="*/ 489912 h 477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6435" h="477962">
                    <a:moveTo>
                      <a:pt x="0" y="244956"/>
                    </a:moveTo>
                    <a:lnTo>
                      <a:pt x="425686" y="0"/>
                    </a:lnTo>
                    <a:lnTo>
                      <a:pt x="849878" y="244956"/>
                    </a:lnTo>
                    <a:lnTo>
                      <a:pt x="425686" y="489912"/>
                    </a:lnTo>
                    <a:close/>
                  </a:path>
                </a:pathLst>
              </a:custGeom>
              <a:solidFill>
                <a:srgbClr val="EDEDED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2" name="任意多边形: 形状 641"/>
              <p:cNvSpPr/>
              <p:nvPr/>
            </p:nvSpPr>
            <p:spPr>
              <a:xfrm flipH="1">
                <a:off x="7621728" y="4268344"/>
                <a:ext cx="9092" cy="18185"/>
              </a:xfrm>
              <a:custGeom>
                <a:avLst/>
                <a:gdLst>
                  <a:gd name="connsiteX0" fmla="*/ 981 w 14936"/>
                  <a:gd name="connsiteY0" fmla="*/ 6638 h 29872"/>
                  <a:gd name="connsiteX1" fmla="*/ 8449 w 14936"/>
                  <a:gd name="connsiteY1" fmla="*/ 23068 h 29872"/>
                  <a:gd name="connsiteX2" fmla="*/ 15917 w 14936"/>
                  <a:gd name="connsiteY2" fmla="*/ 35018 h 29872"/>
                  <a:gd name="connsiteX3" fmla="*/ 27866 w 14936"/>
                  <a:gd name="connsiteY3" fmla="*/ 40992 h 29872"/>
                  <a:gd name="connsiteX4" fmla="*/ 9943 w 14936"/>
                  <a:gd name="connsiteY4" fmla="*/ 3651 h 29872"/>
                  <a:gd name="connsiteX5" fmla="*/ 6956 w 14936"/>
                  <a:gd name="connsiteY5" fmla="*/ 664 h 29872"/>
                  <a:gd name="connsiteX6" fmla="*/ 2475 w 14936"/>
                  <a:gd name="connsiteY6" fmla="*/ 664 h 29872"/>
                  <a:gd name="connsiteX7" fmla="*/ 981 w 14936"/>
                  <a:gd name="connsiteY7" fmla="*/ 6638 h 2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936" h="29872">
                    <a:moveTo>
                      <a:pt x="981" y="6638"/>
                    </a:moveTo>
                    <a:cubicBezTo>
                      <a:pt x="3968" y="12613"/>
                      <a:pt x="5462" y="17094"/>
                      <a:pt x="8449" y="23068"/>
                    </a:cubicBezTo>
                    <a:cubicBezTo>
                      <a:pt x="9943" y="27549"/>
                      <a:pt x="12930" y="32030"/>
                      <a:pt x="15917" y="35018"/>
                    </a:cubicBezTo>
                    <a:cubicBezTo>
                      <a:pt x="18905" y="38005"/>
                      <a:pt x="23386" y="40992"/>
                      <a:pt x="27866" y="40992"/>
                    </a:cubicBezTo>
                    <a:cubicBezTo>
                      <a:pt x="24879" y="27549"/>
                      <a:pt x="18905" y="15600"/>
                      <a:pt x="9943" y="3651"/>
                    </a:cubicBezTo>
                    <a:cubicBezTo>
                      <a:pt x="8449" y="2158"/>
                      <a:pt x="8449" y="664"/>
                      <a:pt x="6956" y="664"/>
                    </a:cubicBezTo>
                    <a:cubicBezTo>
                      <a:pt x="5462" y="-830"/>
                      <a:pt x="3968" y="664"/>
                      <a:pt x="2475" y="664"/>
                    </a:cubicBezTo>
                    <a:cubicBezTo>
                      <a:pt x="-513" y="2158"/>
                      <a:pt x="-513" y="5145"/>
                      <a:pt x="981" y="6638"/>
                    </a:cubicBezTo>
                    <a:close/>
                  </a:path>
                </a:pathLst>
              </a:custGeom>
              <a:solidFill>
                <a:srgbClr val="FFCEA1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3" name="任意多边形: 形状 642"/>
              <p:cNvSpPr/>
              <p:nvPr/>
            </p:nvSpPr>
            <p:spPr>
              <a:xfrm flipH="1">
                <a:off x="7559301" y="4290393"/>
                <a:ext cx="54555" cy="100019"/>
              </a:xfrm>
              <a:custGeom>
                <a:avLst/>
                <a:gdLst>
                  <a:gd name="connsiteX0" fmla="*/ 37341 w 89618"/>
                  <a:gd name="connsiteY0" fmla="*/ 148162 h 164299"/>
                  <a:gd name="connsiteX1" fmla="*/ 37341 w 89618"/>
                  <a:gd name="connsiteY1" fmla="*/ 146668 h 164299"/>
                  <a:gd name="connsiteX2" fmla="*/ 0 w 89618"/>
                  <a:gd name="connsiteY2" fmla="*/ 18216 h 164299"/>
                  <a:gd name="connsiteX3" fmla="*/ 34354 w 89618"/>
                  <a:gd name="connsiteY3" fmla="*/ 292 h 164299"/>
                  <a:gd name="connsiteX4" fmla="*/ 95593 w 89618"/>
                  <a:gd name="connsiteY4" fmla="*/ 124264 h 164299"/>
                  <a:gd name="connsiteX5" fmla="*/ 97086 w 89618"/>
                  <a:gd name="connsiteY5" fmla="*/ 127251 h 164299"/>
                  <a:gd name="connsiteX6" fmla="*/ 97086 w 89618"/>
                  <a:gd name="connsiteY6" fmla="*/ 127251 h 164299"/>
                  <a:gd name="connsiteX7" fmla="*/ 91112 w 89618"/>
                  <a:gd name="connsiteY7" fmla="*/ 160111 h 164299"/>
                  <a:gd name="connsiteX8" fmla="*/ 79163 w 89618"/>
                  <a:gd name="connsiteY8" fmla="*/ 167579 h 164299"/>
                  <a:gd name="connsiteX9" fmla="*/ 37341 w 89618"/>
                  <a:gd name="connsiteY9" fmla="*/ 148162 h 164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9618" h="164299">
                    <a:moveTo>
                      <a:pt x="37341" y="148162"/>
                    </a:moveTo>
                    <a:lnTo>
                      <a:pt x="37341" y="146668"/>
                    </a:lnTo>
                    <a:cubicBezTo>
                      <a:pt x="37341" y="146668"/>
                      <a:pt x="0" y="39127"/>
                      <a:pt x="0" y="18216"/>
                    </a:cubicBezTo>
                    <a:cubicBezTo>
                      <a:pt x="0" y="18216"/>
                      <a:pt x="22405" y="-2695"/>
                      <a:pt x="34354" y="292"/>
                    </a:cubicBezTo>
                    <a:cubicBezTo>
                      <a:pt x="52277" y="19709"/>
                      <a:pt x="76175" y="79455"/>
                      <a:pt x="95593" y="124264"/>
                    </a:cubicBezTo>
                    <a:lnTo>
                      <a:pt x="97086" y="127251"/>
                    </a:lnTo>
                    <a:lnTo>
                      <a:pt x="97086" y="127251"/>
                    </a:lnTo>
                    <a:cubicBezTo>
                      <a:pt x="101567" y="139200"/>
                      <a:pt x="98580" y="151149"/>
                      <a:pt x="91112" y="160111"/>
                    </a:cubicBezTo>
                    <a:cubicBezTo>
                      <a:pt x="88124" y="163098"/>
                      <a:pt x="83644" y="166086"/>
                      <a:pt x="79163" y="167579"/>
                    </a:cubicBezTo>
                    <a:cubicBezTo>
                      <a:pt x="61239" y="172060"/>
                      <a:pt x="43315" y="164592"/>
                      <a:pt x="37341" y="148162"/>
                    </a:cubicBezTo>
                    <a:close/>
                  </a:path>
                </a:pathLst>
              </a:custGeom>
              <a:solidFill>
                <a:srgbClr val="1B89B8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4" name="任意多边形: 形状 643"/>
              <p:cNvSpPr/>
              <p:nvPr/>
            </p:nvSpPr>
            <p:spPr>
              <a:xfrm flipH="1">
                <a:off x="7491281" y="4355047"/>
                <a:ext cx="100019" cy="54555"/>
              </a:xfrm>
              <a:custGeom>
                <a:avLst/>
                <a:gdLst>
                  <a:gd name="connsiteX0" fmla="*/ 136207 w 164299"/>
                  <a:gd name="connsiteY0" fmla="*/ 98715 h 89618"/>
                  <a:gd name="connsiteX1" fmla="*/ 118283 w 164299"/>
                  <a:gd name="connsiteY1" fmla="*/ 92740 h 89618"/>
                  <a:gd name="connsiteX2" fmla="*/ 21197 w 164299"/>
                  <a:gd name="connsiteY2" fmla="*/ 62867 h 89618"/>
                  <a:gd name="connsiteX3" fmla="*/ 10742 w 164299"/>
                  <a:gd name="connsiteY3" fmla="*/ 56893 h 89618"/>
                  <a:gd name="connsiteX4" fmla="*/ 286 w 164299"/>
                  <a:gd name="connsiteY4" fmla="*/ 28514 h 89618"/>
                  <a:gd name="connsiteX5" fmla="*/ 1780 w 164299"/>
                  <a:gd name="connsiteY5" fmla="*/ 22539 h 89618"/>
                  <a:gd name="connsiteX6" fmla="*/ 18210 w 164299"/>
                  <a:gd name="connsiteY6" fmla="*/ 3122 h 89618"/>
                  <a:gd name="connsiteX7" fmla="*/ 40614 w 164299"/>
                  <a:gd name="connsiteY7" fmla="*/ 1628 h 89618"/>
                  <a:gd name="connsiteX8" fmla="*/ 45095 w 164299"/>
                  <a:gd name="connsiteY8" fmla="*/ 3122 h 89618"/>
                  <a:gd name="connsiteX9" fmla="*/ 51070 w 164299"/>
                  <a:gd name="connsiteY9" fmla="*/ 4616 h 89618"/>
                  <a:gd name="connsiteX10" fmla="*/ 127245 w 164299"/>
                  <a:gd name="connsiteY10" fmla="*/ 28514 h 89618"/>
                  <a:gd name="connsiteX11" fmla="*/ 155624 w 164299"/>
                  <a:gd name="connsiteY11" fmla="*/ 37476 h 89618"/>
                  <a:gd name="connsiteX12" fmla="*/ 178029 w 164299"/>
                  <a:gd name="connsiteY12" fmla="*/ 71829 h 89618"/>
                  <a:gd name="connsiteX13" fmla="*/ 176535 w 164299"/>
                  <a:gd name="connsiteY13" fmla="*/ 77804 h 89618"/>
                  <a:gd name="connsiteX14" fmla="*/ 136207 w 164299"/>
                  <a:gd name="connsiteY14" fmla="*/ 98715 h 89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64299" h="89618">
                    <a:moveTo>
                      <a:pt x="136207" y="98715"/>
                    </a:moveTo>
                    <a:lnTo>
                      <a:pt x="118283" y="92740"/>
                    </a:lnTo>
                    <a:lnTo>
                      <a:pt x="21197" y="62867"/>
                    </a:lnTo>
                    <a:cubicBezTo>
                      <a:pt x="16716" y="61374"/>
                      <a:pt x="13729" y="59880"/>
                      <a:pt x="10742" y="56893"/>
                    </a:cubicBezTo>
                    <a:cubicBezTo>
                      <a:pt x="3273" y="50918"/>
                      <a:pt x="-1208" y="40463"/>
                      <a:pt x="286" y="28514"/>
                    </a:cubicBezTo>
                    <a:cubicBezTo>
                      <a:pt x="286" y="27020"/>
                      <a:pt x="286" y="25526"/>
                      <a:pt x="1780" y="22539"/>
                    </a:cubicBezTo>
                    <a:cubicBezTo>
                      <a:pt x="4767" y="13577"/>
                      <a:pt x="10742" y="7603"/>
                      <a:pt x="18210" y="3122"/>
                    </a:cubicBezTo>
                    <a:cubicBezTo>
                      <a:pt x="25678" y="135"/>
                      <a:pt x="33146" y="-1359"/>
                      <a:pt x="40614" y="1628"/>
                    </a:cubicBezTo>
                    <a:lnTo>
                      <a:pt x="45095" y="3122"/>
                    </a:lnTo>
                    <a:lnTo>
                      <a:pt x="51070" y="4616"/>
                    </a:lnTo>
                    <a:lnTo>
                      <a:pt x="127245" y="28514"/>
                    </a:lnTo>
                    <a:lnTo>
                      <a:pt x="155624" y="37476"/>
                    </a:lnTo>
                    <a:cubicBezTo>
                      <a:pt x="170560" y="41957"/>
                      <a:pt x="179522" y="56893"/>
                      <a:pt x="178029" y="71829"/>
                    </a:cubicBezTo>
                    <a:cubicBezTo>
                      <a:pt x="178029" y="73323"/>
                      <a:pt x="178029" y="74816"/>
                      <a:pt x="176535" y="77804"/>
                    </a:cubicBezTo>
                    <a:cubicBezTo>
                      <a:pt x="169067" y="94234"/>
                      <a:pt x="152637" y="103195"/>
                      <a:pt x="136207" y="98715"/>
                    </a:cubicBezTo>
                    <a:close/>
                  </a:path>
                </a:pathLst>
              </a:custGeom>
              <a:solidFill>
                <a:srgbClr val="1B89B8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5" name="任意多边形: 形状 644"/>
              <p:cNvSpPr/>
              <p:nvPr/>
            </p:nvSpPr>
            <p:spPr>
              <a:xfrm flipH="1">
                <a:off x="7366712" y="3876684"/>
                <a:ext cx="463722" cy="1818516"/>
              </a:xfrm>
              <a:custGeom>
                <a:avLst/>
                <a:gdLst>
                  <a:gd name="connsiteX0" fmla="*/ 751584 w 761753"/>
                  <a:gd name="connsiteY0" fmla="*/ 2989048 h 2987268"/>
                  <a:gd name="connsiteX1" fmla="*/ 736648 w 761753"/>
                  <a:gd name="connsiteY1" fmla="*/ 2977100 h 2987268"/>
                  <a:gd name="connsiteX2" fmla="*/ 286 w 761753"/>
                  <a:gd name="connsiteY2" fmla="*/ 18210 h 2987268"/>
                  <a:gd name="connsiteX3" fmla="*/ 10742 w 761753"/>
                  <a:gd name="connsiteY3" fmla="*/ 286 h 2987268"/>
                  <a:gd name="connsiteX4" fmla="*/ 28665 w 761753"/>
                  <a:gd name="connsiteY4" fmla="*/ 10742 h 2987268"/>
                  <a:gd name="connsiteX5" fmla="*/ 766521 w 761753"/>
                  <a:gd name="connsiteY5" fmla="*/ 2971125 h 2987268"/>
                  <a:gd name="connsiteX6" fmla="*/ 756065 w 761753"/>
                  <a:gd name="connsiteY6" fmla="*/ 2989048 h 2987268"/>
                  <a:gd name="connsiteX7" fmla="*/ 751584 w 761753"/>
                  <a:gd name="connsiteY7" fmla="*/ 2989048 h 298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1753" h="2987268">
                    <a:moveTo>
                      <a:pt x="751584" y="2989048"/>
                    </a:moveTo>
                    <a:cubicBezTo>
                      <a:pt x="745610" y="2989048"/>
                      <a:pt x="738142" y="2984568"/>
                      <a:pt x="736648" y="2977100"/>
                    </a:cubicBezTo>
                    <a:lnTo>
                      <a:pt x="286" y="18210"/>
                    </a:lnTo>
                    <a:cubicBezTo>
                      <a:pt x="-1207" y="10742"/>
                      <a:pt x="3273" y="1780"/>
                      <a:pt x="10742" y="286"/>
                    </a:cubicBezTo>
                    <a:cubicBezTo>
                      <a:pt x="18210" y="-1207"/>
                      <a:pt x="27172" y="3274"/>
                      <a:pt x="28665" y="10742"/>
                    </a:cubicBezTo>
                    <a:lnTo>
                      <a:pt x="766521" y="2971125"/>
                    </a:lnTo>
                    <a:cubicBezTo>
                      <a:pt x="768014" y="2978593"/>
                      <a:pt x="763533" y="2987555"/>
                      <a:pt x="756065" y="2989048"/>
                    </a:cubicBezTo>
                    <a:cubicBezTo>
                      <a:pt x="754572" y="2989048"/>
                      <a:pt x="753078" y="2989048"/>
                      <a:pt x="751584" y="2989048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6" name="任意多边形: 形状 645"/>
              <p:cNvSpPr/>
              <p:nvPr/>
            </p:nvSpPr>
            <p:spPr>
              <a:xfrm flipH="1">
                <a:off x="7271240" y="3823947"/>
                <a:ext cx="463722" cy="1818516"/>
              </a:xfrm>
              <a:custGeom>
                <a:avLst/>
                <a:gdLst>
                  <a:gd name="connsiteX0" fmla="*/ 751584 w 761753"/>
                  <a:gd name="connsiteY0" fmla="*/ 2989049 h 2987268"/>
                  <a:gd name="connsiteX1" fmla="*/ 736648 w 761753"/>
                  <a:gd name="connsiteY1" fmla="*/ 2977099 h 2987268"/>
                  <a:gd name="connsiteX2" fmla="*/ 286 w 761753"/>
                  <a:gd name="connsiteY2" fmla="*/ 18210 h 2987268"/>
                  <a:gd name="connsiteX3" fmla="*/ 10742 w 761753"/>
                  <a:gd name="connsiteY3" fmla="*/ 286 h 2987268"/>
                  <a:gd name="connsiteX4" fmla="*/ 28665 w 761753"/>
                  <a:gd name="connsiteY4" fmla="*/ 10742 h 2987268"/>
                  <a:gd name="connsiteX5" fmla="*/ 765027 w 761753"/>
                  <a:gd name="connsiteY5" fmla="*/ 2969631 h 2987268"/>
                  <a:gd name="connsiteX6" fmla="*/ 754572 w 761753"/>
                  <a:gd name="connsiteY6" fmla="*/ 2987555 h 2987268"/>
                  <a:gd name="connsiteX7" fmla="*/ 751584 w 761753"/>
                  <a:gd name="connsiteY7" fmla="*/ 2989049 h 298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1753" h="2987268">
                    <a:moveTo>
                      <a:pt x="751584" y="2989049"/>
                    </a:moveTo>
                    <a:cubicBezTo>
                      <a:pt x="745610" y="2989049"/>
                      <a:pt x="738142" y="2984567"/>
                      <a:pt x="736648" y="2977099"/>
                    </a:cubicBezTo>
                    <a:lnTo>
                      <a:pt x="286" y="18210"/>
                    </a:lnTo>
                    <a:cubicBezTo>
                      <a:pt x="-1207" y="10742"/>
                      <a:pt x="3273" y="1780"/>
                      <a:pt x="10742" y="286"/>
                    </a:cubicBezTo>
                    <a:cubicBezTo>
                      <a:pt x="18210" y="-1208"/>
                      <a:pt x="27172" y="3273"/>
                      <a:pt x="28665" y="10742"/>
                    </a:cubicBezTo>
                    <a:lnTo>
                      <a:pt x="765027" y="2969631"/>
                    </a:lnTo>
                    <a:cubicBezTo>
                      <a:pt x="766521" y="2977099"/>
                      <a:pt x="762040" y="2986061"/>
                      <a:pt x="754572" y="2987555"/>
                    </a:cubicBezTo>
                    <a:cubicBezTo>
                      <a:pt x="753078" y="2989049"/>
                      <a:pt x="751584" y="2989049"/>
                      <a:pt x="751584" y="2989049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7" name="任意多边形: 形状 646"/>
              <p:cNvSpPr/>
              <p:nvPr/>
            </p:nvSpPr>
            <p:spPr>
              <a:xfrm flipH="1">
                <a:off x="7712428" y="3893762"/>
                <a:ext cx="100019" cy="63648"/>
              </a:xfrm>
              <a:custGeom>
                <a:avLst/>
                <a:gdLst>
                  <a:gd name="connsiteX0" fmla="*/ 15548 w 164299"/>
                  <a:gd name="connsiteY0" fmla="*/ 115622 h 104554"/>
                  <a:gd name="connsiteX1" fmla="*/ 2105 w 164299"/>
                  <a:gd name="connsiteY1" fmla="*/ 108153 h 104554"/>
                  <a:gd name="connsiteX2" fmla="*/ 8080 w 164299"/>
                  <a:gd name="connsiteY2" fmla="*/ 87243 h 104554"/>
                  <a:gd name="connsiteX3" fmla="*/ 154456 w 164299"/>
                  <a:gd name="connsiteY3" fmla="*/ 2105 h 104554"/>
                  <a:gd name="connsiteX4" fmla="*/ 175367 w 164299"/>
                  <a:gd name="connsiteY4" fmla="*/ 8080 h 104554"/>
                  <a:gd name="connsiteX5" fmla="*/ 169392 w 164299"/>
                  <a:gd name="connsiteY5" fmla="*/ 28991 h 104554"/>
                  <a:gd name="connsiteX6" fmla="*/ 23016 w 164299"/>
                  <a:gd name="connsiteY6" fmla="*/ 114128 h 104554"/>
                  <a:gd name="connsiteX7" fmla="*/ 15548 w 164299"/>
                  <a:gd name="connsiteY7" fmla="*/ 115622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299" h="104554">
                    <a:moveTo>
                      <a:pt x="15548" y="115622"/>
                    </a:moveTo>
                    <a:cubicBezTo>
                      <a:pt x="11067" y="115622"/>
                      <a:pt x="5093" y="112634"/>
                      <a:pt x="2105" y="108153"/>
                    </a:cubicBezTo>
                    <a:cubicBezTo>
                      <a:pt x="-2376" y="100685"/>
                      <a:pt x="612" y="91723"/>
                      <a:pt x="8080" y="87243"/>
                    </a:cubicBezTo>
                    <a:lnTo>
                      <a:pt x="154456" y="2105"/>
                    </a:lnTo>
                    <a:cubicBezTo>
                      <a:pt x="161924" y="-2375"/>
                      <a:pt x="170886" y="612"/>
                      <a:pt x="175367" y="8080"/>
                    </a:cubicBezTo>
                    <a:cubicBezTo>
                      <a:pt x="179848" y="15548"/>
                      <a:pt x="176861" y="24510"/>
                      <a:pt x="169392" y="28991"/>
                    </a:cubicBezTo>
                    <a:lnTo>
                      <a:pt x="23016" y="114128"/>
                    </a:lnTo>
                    <a:cubicBezTo>
                      <a:pt x="21523" y="114128"/>
                      <a:pt x="18535" y="115622"/>
                      <a:pt x="15548" y="115622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8" name="任意多边形: 形状 647"/>
              <p:cNvSpPr/>
              <p:nvPr/>
            </p:nvSpPr>
            <p:spPr>
              <a:xfrm flipH="1">
                <a:off x="7694243" y="3965593"/>
                <a:ext cx="100019" cy="63648"/>
              </a:xfrm>
              <a:custGeom>
                <a:avLst/>
                <a:gdLst>
                  <a:gd name="connsiteX0" fmla="*/ 15548 w 164299"/>
                  <a:gd name="connsiteY0" fmla="*/ 115621 h 104554"/>
                  <a:gd name="connsiteX1" fmla="*/ 2105 w 164299"/>
                  <a:gd name="connsiteY1" fmla="*/ 108153 h 104554"/>
                  <a:gd name="connsiteX2" fmla="*/ 8080 w 164299"/>
                  <a:gd name="connsiteY2" fmla="*/ 87242 h 104554"/>
                  <a:gd name="connsiteX3" fmla="*/ 155950 w 164299"/>
                  <a:gd name="connsiteY3" fmla="*/ 2105 h 104554"/>
                  <a:gd name="connsiteX4" fmla="*/ 176861 w 164299"/>
                  <a:gd name="connsiteY4" fmla="*/ 8080 h 104554"/>
                  <a:gd name="connsiteX5" fmla="*/ 170886 w 164299"/>
                  <a:gd name="connsiteY5" fmla="*/ 28991 h 104554"/>
                  <a:gd name="connsiteX6" fmla="*/ 23016 w 164299"/>
                  <a:gd name="connsiteY6" fmla="*/ 114128 h 104554"/>
                  <a:gd name="connsiteX7" fmla="*/ 15548 w 164299"/>
                  <a:gd name="connsiteY7" fmla="*/ 115621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299" h="104554">
                    <a:moveTo>
                      <a:pt x="15548" y="115621"/>
                    </a:moveTo>
                    <a:cubicBezTo>
                      <a:pt x="11067" y="115621"/>
                      <a:pt x="5093" y="112634"/>
                      <a:pt x="2105" y="108153"/>
                    </a:cubicBezTo>
                    <a:cubicBezTo>
                      <a:pt x="-2376" y="100685"/>
                      <a:pt x="612" y="91723"/>
                      <a:pt x="8080" y="87242"/>
                    </a:cubicBezTo>
                    <a:lnTo>
                      <a:pt x="155950" y="2105"/>
                    </a:lnTo>
                    <a:cubicBezTo>
                      <a:pt x="163418" y="-2376"/>
                      <a:pt x="172380" y="612"/>
                      <a:pt x="176861" y="8080"/>
                    </a:cubicBezTo>
                    <a:cubicBezTo>
                      <a:pt x="181342" y="15548"/>
                      <a:pt x="178354" y="24510"/>
                      <a:pt x="170886" y="28991"/>
                    </a:cubicBezTo>
                    <a:lnTo>
                      <a:pt x="23016" y="114128"/>
                    </a:lnTo>
                    <a:cubicBezTo>
                      <a:pt x="20029" y="115621"/>
                      <a:pt x="18535" y="115621"/>
                      <a:pt x="15548" y="115621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9" name="任意多边形: 形状 648"/>
              <p:cNvSpPr/>
              <p:nvPr/>
            </p:nvSpPr>
            <p:spPr>
              <a:xfrm flipH="1">
                <a:off x="7676058" y="4037425"/>
                <a:ext cx="100019" cy="63648"/>
              </a:xfrm>
              <a:custGeom>
                <a:avLst/>
                <a:gdLst>
                  <a:gd name="connsiteX0" fmla="*/ 15548 w 164299"/>
                  <a:gd name="connsiteY0" fmla="*/ 115622 h 104554"/>
                  <a:gd name="connsiteX1" fmla="*/ 2105 w 164299"/>
                  <a:gd name="connsiteY1" fmla="*/ 108153 h 104554"/>
                  <a:gd name="connsiteX2" fmla="*/ 8080 w 164299"/>
                  <a:gd name="connsiteY2" fmla="*/ 87242 h 104554"/>
                  <a:gd name="connsiteX3" fmla="*/ 155950 w 164299"/>
                  <a:gd name="connsiteY3" fmla="*/ 2105 h 104554"/>
                  <a:gd name="connsiteX4" fmla="*/ 176861 w 164299"/>
                  <a:gd name="connsiteY4" fmla="*/ 8080 h 104554"/>
                  <a:gd name="connsiteX5" fmla="*/ 170886 w 164299"/>
                  <a:gd name="connsiteY5" fmla="*/ 28991 h 104554"/>
                  <a:gd name="connsiteX6" fmla="*/ 23016 w 164299"/>
                  <a:gd name="connsiteY6" fmla="*/ 114128 h 104554"/>
                  <a:gd name="connsiteX7" fmla="*/ 15548 w 164299"/>
                  <a:gd name="connsiteY7" fmla="*/ 115622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299" h="104554">
                    <a:moveTo>
                      <a:pt x="15548" y="115622"/>
                    </a:moveTo>
                    <a:cubicBezTo>
                      <a:pt x="11067" y="115622"/>
                      <a:pt x="5093" y="112634"/>
                      <a:pt x="2105" y="108153"/>
                    </a:cubicBezTo>
                    <a:cubicBezTo>
                      <a:pt x="-2376" y="100685"/>
                      <a:pt x="612" y="91723"/>
                      <a:pt x="8080" y="87242"/>
                    </a:cubicBezTo>
                    <a:lnTo>
                      <a:pt x="155950" y="2105"/>
                    </a:lnTo>
                    <a:cubicBezTo>
                      <a:pt x="163418" y="-2376"/>
                      <a:pt x="172380" y="612"/>
                      <a:pt x="176861" y="8080"/>
                    </a:cubicBezTo>
                    <a:cubicBezTo>
                      <a:pt x="181342" y="15548"/>
                      <a:pt x="178354" y="24510"/>
                      <a:pt x="170886" y="28991"/>
                    </a:cubicBezTo>
                    <a:lnTo>
                      <a:pt x="23016" y="114128"/>
                    </a:lnTo>
                    <a:cubicBezTo>
                      <a:pt x="20029" y="115622"/>
                      <a:pt x="17042" y="115622"/>
                      <a:pt x="15548" y="115622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0" name="任意多边形: 形状 649"/>
              <p:cNvSpPr/>
              <p:nvPr/>
            </p:nvSpPr>
            <p:spPr>
              <a:xfrm flipH="1">
                <a:off x="7658782" y="4110165"/>
                <a:ext cx="100019" cy="63648"/>
              </a:xfrm>
              <a:custGeom>
                <a:avLst/>
                <a:gdLst>
                  <a:gd name="connsiteX0" fmla="*/ 15548 w 164299"/>
                  <a:gd name="connsiteY0" fmla="*/ 115622 h 104554"/>
                  <a:gd name="connsiteX1" fmla="*/ 2105 w 164299"/>
                  <a:gd name="connsiteY1" fmla="*/ 108153 h 104554"/>
                  <a:gd name="connsiteX2" fmla="*/ 8080 w 164299"/>
                  <a:gd name="connsiteY2" fmla="*/ 87242 h 104554"/>
                  <a:gd name="connsiteX3" fmla="*/ 155950 w 164299"/>
                  <a:gd name="connsiteY3" fmla="*/ 2105 h 104554"/>
                  <a:gd name="connsiteX4" fmla="*/ 176861 w 164299"/>
                  <a:gd name="connsiteY4" fmla="*/ 8080 h 104554"/>
                  <a:gd name="connsiteX5" fmla="*/ 170886 w 164299"/>
                  <a:gd name="connsiteY5" fmla="*/ 28991 h 104554"/>
                  <a:gd name="connsiteX6" fmla="*/ 23016 w 164299"/>
                  <a:gd name="connsiteY6" fmla="*/ 114128 h 104554"/>
                  <a:gd name="connsiteX7" fmla="*/ 15548 w 164299"/>
                  <a:gd name="connsiteY7" fmla="*/ 115622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299" h="104554">
                    <a:moveTo>
                      <a:pt x="15548" y="115622"/>
                    </a:moveTo>
                    <a:cubicBezTo>
                      <a:pt x="11067" y="115622"/>
                      <a:pt x="5093" y="112634"/>
                      <a:pt x="2105" y="108153"/>
                    </a:cubicBezTo>
                    <a:cubicBezTo>
                      <a:pt x="-2376" y="100685"/>
                      <a:pt x="612" y="91723"/>
                      <a:pt x="8080" y="87242"/>
                    </a:cubicBezTo>
                    <a:lnTo>
                      <a:pt x="155950" y="2105"/>
                    </a:lnTo>
                    <a:cubicBezTo>
                      <a:pt x="163418" y="-2376"/>
                      <a:pt x="172380" y="612"/>
                      <a:pt x="176861" y="8080"/>
                    </a:cubicBezTo>
                    <a:cubicBezTo>
                      <a:pt x="181341" y="15548"/>
                      <a:pt x="178354" y="24510"/>
                      <a:pt x="170886" y="28991"/>
                    </a:cubicBezTo>
                    <a:lnTo>
                      <a:pt x="23016" y="114128"/>
                    </a:lnTo>
                    <a:cubicBezTo>
                      <a:pt x="21523" y="114128"/>
                      <a:pt x="18535" y="115622"/>
                      <a:pt x="15548" y="115622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1" name="任意多边形: 形状 650"/>
              <p:cNvSpPr/>
              <p:nvPr/>
            </p:nvSpPr>
            <p:spPr>
              <a:xfrm flipH="1">
                <a:off x="7640597" y="4181997"/>
                <a:ext cx="100019" cy="63648"/>
              </a:xfrm>
              <a:custGeom>
                <a:avLst/>
                <a:gdLst>
                  <a:gd name="connsiteX0" fmla="*/ 15548 w 164299"/>
                  <a:gd name="connsiteY0" fmla="*/ 115621 h 104554"/>
                  <a:gd name="connsiteX1" fmla="*/ 2105 w 164299"/>
                  <a:gd name="connsiteY1" fmla="*/ 108153 h 104554"/>
                  <a:gd name="connsiteX2" fmla="*/ 8080 w 164299"/>
                  <a:gd name="connsiteY2" fmla="*/ 87242 h 104554"/>
                  <a:gd name="connsiteX3" fmla="*/ 155950 w 164299"/>
                  <a:gd name="connsiteY3" fmla="*/ 2105 h 104554"/>
                  <a:gd name="connsiteX4" fmla="*/ 176861 w 164299"/>
                  <a:gd name="connsiteY4" fmla="*/ 8080 h 104554"/>
                  <a:gd name="connsiteX5" fmla="*/ 170886 w 164299"/>
                  <a:gd name="connsiteY5" fmla="*/ 28991 h 104554"/>
                  <a:gd name="connsiteX6" fmla="*/ 23016 w 164299"/>
                  <a:gd name="connsiteY6" fmla="*/ 114128 h 104554"/>
                  <a:gd name="connsiteX7" fmla="*/ 15548 w 164299"/>
                  <a:gd name="connsiteY7" fmla="*/ 115621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299" h="104554">
                    <a:moveTo>
                      <a:pt x="15548" y="115621"/>
                    </a:moveTo>
                    <a:cubicBezTo>
                      <a:pt x="11067" y="115621"/>
                      <a:pt x="5093" y="112634"/>
                      <a:pt x="2105" y="108153"/>
                    </a:cubicBezTo>
                    <a:cubicBezTo>
                      <a:pt x="-2376" y="100685"/>
                      <a:pt x="612" y="91723"/>
                      <a:pt x="8080" y="87242"/>
                    </a:cubicBezTo>
                    <a:lnTo>
                      <a:pt x="155950" y="2105"/>
                    </a:lnTo>
                    <a:cubicBezTo>
                      <a:pt x="163418" y="-2376"/>
                      <a:pt x="172380" y="612"/>
                      <a:pt x="176861" y="8080"/>
                    </a:cubicBezTo>
                    <a:cubicBezTo>
                      <a:pt x="181341" y="15548"/>
                      <a:pt x="178354" y="24510"/>
                      <a:pt x="170886" y="28991"/>
                    </a:cubicBezTo>
                    <a:lnTo>
                      <a:pt x="23016" y="114128"/>
                    </a:lnTo>
                    <a:cubicBezTo>
                      <a:pt x="20029" y="115621"/>
                      <a:pt x="18535" y="115621"/>
                      <a:pt x="15548" y="115621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2" name="任意多边形: 形状 651"/>
              <p:cNvSpPr/>
              <p:nvPr/>
            </p:nvSpPr>
            <p:spPr>
              <a:xfrm flipH="1">
                <a:off x="7622412" y="4253828"/>
                <a:ext cx="100019" cy="63648"/>
              </a:xfrm>
              <a:custGeom>
                <a:avLst/>
                <a:gdLst>
                  <a:gd name="connsiteX0" fmla="*/ 15548 w 164299"/>
                  <a:gd name="connsiteY0" fmla="*/ 115622 h 104554"/>
                  <a:gd name="connsiteX1" fmla="*/ 2105 w 164299"/>
                  <a:gd name="connsiteY1" fmla="*/ 108154 h 104554"/>
                  <a:gd name="connsiteX2" fmla="*/ 8080 w 164299"/>
                  <a:gd name="connsiteY2" fmla="*/ 87242 h 104554"/>
                  <a:gd name="connsiteX3" fmla="*/ 155950 w 164299"/>
                  <a:gd name="connsiteY3" fmla="*/ 2105 h 104554"/>
                  <a:gd name="connsiteX4" fmla="*/ 176861 w 164299"/>
                  <a:gd name="connsiteY4" fmla="*/ 8080 h 104554"/>
                  <a:gd name="connsiteX5" fmla="*/ 170886 w 164299"/>
                  <a:gd name="connsiteY5" fmla="*/ 28991 h 104554"/>
                  <a:gd name="connsiteX6" fmla="*/ 23016 w 164299"/>
                  <a:gd name="connsiteY6" fmla="*/ 114128 h 104554"/>
                  <a:gd name="connsiteX7" fmla="*/ 15548 w 164299"/>
                  <a:gd name="connsiteY7" fmla="*/ 115622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299" h="104554">
                    <a:moveTo>
                      <a:pt x="15548" y="115622"/>
                    </a:moveTo>
                    <a:cubicBezTo>
                      <a:pt x="11067" y="115622"/>
                      <a:pt x="5093" y="112634"/>
                      <a:pt x="2105" y="108154"/>
                    </a:cubicBezTo>
                    <a:cubicBezTo>
                      <a:pt x="-2376" y="100685"/>
                      <a:pt x="612" y="91723"/>
                      <a:pt x="8080" y="87242"/>
                    </a:cubicBezTo>
                    <a:lnTo>
                      <a:pt x="155950" y="2105"/>
                    </a:lnTo>
                    <a:cubicBezTo>
                      <a:pt x="163418" y="-2376"/>
                      <a:pt x="172380" y="612"/>
                      <a:pt x="176861" y="8080"/>
                    </a:cubicBezTo>
                    <a:cubicBezTo>
                      <a:pt x="181341" y="15548"/>
                      <a:pt x="178354" y="24510"/>
                      <a:pt x="170886" y="28991"/>
                    </a:cubicBezTo>
                    <a:lnTo>
                      <a:pt x="23016" y="114128"/>
                    </a:lnTo>
                    <a:cubicBezTo>
                      <a:pt x="20029" y="115622"/>
                      <a:pt x="17042" y="115622"/>
                      <a:pt x="15548" y="115622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3" name="任意多边形: 形状 652"/>
              <p:cNvSpPr/>
              <p:nvPr/>
            </p:nvSpPr>
            <p:spPr>
              <a:xfrm flipH="1">
                <a:off x="7596043" y="4325660"/>
                <a:ext cx="109111" cy="63648"/>
              </a:xfrm>
              <a:custGeom>
                <a:avLst/>
                <a:gdLst>
                  <a:gd name="connsiteX0" fmla="*/ 15548 w 179236"/>
                  <a:gd name="connsiteY0" fmla="*/ 117115 h 104554"/>
                  <a:gd name="connsiteX1" fmla="*/ 2105 w 179236"/>
                  <a:gd name="connsiteY1" fmla="*/ 109647 h 104554"/>
                  <a:gd name="connsiteX2" fmla="*/ 8080 w 179236"/>
                  <a:gd name="connsiteY2" fmla="*/ 88736 h 104554"/>
                  <a:gd name="connsiteX3" fmla="*/ 157443 w 179236"/>
                  <a:gd name="connsiteY3" fmla="*/ 2105 h 104554"/>
                  <a:gd name="connsiteX4" fmla="*/ 178354 w 179236"/>
                  <a:gd name="connsiteY4" fmla="*/ 8080 h 104554"/>
                  <a:gd name="connsiteX5" fmla="*/ 172380 w 179236"/>
                  <a:gd name="connsiteY5" fmla="*/ 28991 h 104554"/>
                  <a:gd name="connsiteX6" fmla="*/ 23016 w 179236"/>
                  <a:gd name="connsiteY6" fmla="*/ 115622 h 104554"/>
                  <a:gd name="connsiteX7" fmla="*/ 15548 w 179236"/>
                  <a:gd name="connsiteY7" fmla="*/ 117115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04554">
                    <a:moveTo>
                      <a:pt x="15548" y="117115"/>
                    </a:moveTo>
                    <a:cubicBezTo>
                      <a:pt x="11067" y="117115"/>
                      <a:pt x="5093" y="114128"/>
                      <a:pt x="2105" y="109647"/>
                    </a:cubicBezTo>
                    <a:cubicBezTo>
                      <a:pt x="-2376" y="102179"/>
                      <a:pt x="612" y="93217"/>
                      <a:pt x="8080" y="88736"/>
                    </a:cubicBezTo>
                    <a:lnTo>
                      <a:pt x="157443" y="2105"/>
                    </a:lnTo>
                    <a:cubicBezTo>
                      <a:pt x="164911" y="-2375"/>
                      <a:pt x="173873" y="612"/>
                      <a:pt x="178354" y="8080"/>
                    </a:cubicBezTo>
                    <a:cubicBezTo>
                      <a:pt x="182835" y="15548"/>
                      <a:pt x="179848" y="24510"/>
                      <a:pt x="172380" y="28991"/>
                    </a:cubicBezTo>
                    <a:lnTo>
                      <a:pt x="23016" y="115622"/>
                    </a:lnTo>
                    <a:cubicBezTo>
                      <a:pt x="21522" y="115622"/>
                      <a:pt x="18535" y="117115"/>
                      <a:pt x="15548" y="117115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4" name="任意多边形: 形状 653"/>
              <p:cNvSpPr/>
              <p:nvPr/>
            </p:nvSpPr>
            <p:spPr>
              <a:xfrm flipH="1">
                <a:off x="7577858" y="4397491"/>
                <a:ext cx="109111" cy="63648"/>
              </a:xfrm>
              <a:custGeom>
                <a:avLst/>
                <a:gdLst>
                  <a:gd name="connsiteX0" fmla="*/ 15548 w 179236"/>
                  <a:gd name="connsiteY0" fmla="*/ 117115 h 104554"/>
                  <a:gd name="connsiteX1" fmla="*/ 2105 w 179236"/>
                  <a:gd name="connsiteY1" fmla="*/ 109647 h 104554"/>
                  <a:gd name="connsiteX2" fmla="*/ 8080 w 179236"/>
                  <a:gd name="connsiteY2" fmla="*/ 88736 h 104554"/>
                  <a:gd name="connsiteX3" fmla="*/ 157443 w 179236"/>
                  <a:gd name="connsiteY3" fmla="*/ 2105 h 104554"/>
                  <a:gd name="connsiteX4" fmla="*/ 178354 w 179236"/>
                  <a:gd name="connsiteY4" fmla="*/ 8080 h 104554"/>
                  <a:gd name="connsiteX5" fmla="*/ 172380 w 179236"/>
                  <a:gd name="connsiteY5" fmla="*/ 28991 h 104554"/>
                  <a:gd name="connsiteX6" fmla="*/ 23016 w 179236"/>
                  <a:gd name="connsiteY6" fmla="*/ 115621 h 104554"/>
                  <a:gd name="connsiteX7" fmla="*/ 15548 w 179236"/>
                  <a:gd name="connsiteY7" fmla="*/ 117115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04554">
                    <a:moveTo>
                      <a:pt x="15548" y="117115"/>
                    </a:moveTo>
                    <a:cubicBezTo>
                      <a:pt x="11067" y="117115"/>
                      <a:pt x="5093" y="114128"/>
                      <a:pt x="2105" y="109647"/>
                    </a:cubicBezTo>
                    <a:cubicBezTo>
                      <a:pt x="-2376" y="102179"/>
                      <a:pt x="612" y="93217"/>
                      <a:pt x="8080" y="88736"/>
                    </a:cubicBezTo>
                    <a:lnTo>
                      <a:pt x="157443" y="2105"/>
                    </a:lnTo>
                    <a:cubicBezTo>
                      <a:pt x="164911" y="-2376"/>
                      <a:pt x="173873" y="612"/>
                      <a:pt x="178354" y="8080"/>
                    </a:cubicBezTo>
                    <a:cubicBezTo>
                      <a:pt x="182835" y="15548"/>
                      <a:pt x="179848" y="24510"/>
                      <a:pt x="172380" y="28991"/>
                    </a:cubicBezTo>
                    <a:lnTo>
                      <a:pt x="23016" y="115621"/>
                    </a:lnTo>
                    <a:cubicBezTo>
                      <a:pt x="21522" y="117115"/>
                      <a:pt x="18535" y="117115"/>
                      <a:pt x="15548" y="117115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5" name="任意多边形: 形状 654"/>
              <p:cNvSpPr/>
              <p:nvPr/>
            </p:nvSpPr>
            <p:spPr>
              <a:xfrm flipH="1">
                <a:off x="7559673" y="4469323"/>
                <a:ext cx="109111" cy="63648"/>
              </a:xfrm>
              <a:custGeom>
                <a:avLst/>
                <a:gdLst>
                  <a:gd name="connsiteX0" fmla="*/ 15548 w 179236"/>
                  <a:gd name="connsiteY0" fmla="*/ 117115 h 104554"/>
                  <a:gd name="connsiteX1" fmla="*/ 2105 w 179236"/>
                  <a:gd name="connsiteY1" fmla="*/ 109647 h 104554"/>
                  <a:gd name="connsiteX2" fmla="*/ 8080 w 179236"/>
                  <a:gd name="connsiteY2" fmla="*/ 88736 h 104554"/>
                  <a:gd name="connsiteX3" fmla="*/ 157443 w 179236"/>
                  <a:gd name="connsiteY3" fmla="*/ 2105 h 104554"/>
                  <a:gd name="connsiteX4" fmla="*/ 178354 w 179236"/>
                  <a:gd name="connsiteY4" fmla="*/ 8080 h 104554"/>
                  <a:gd name="connsiteX5" fmla="*/ 172380 w 179236"/>
                  <a:gd name="connsiteY5" fmla="*/ 28991 h 104554"/>
                  <a:gd name="connsiteX6" fmla="*/ 23016 w 179236"/>
                  <a:gd name="connsiteY6" fmla="*/ 115622 h 104554"/>
                  <a:gd name="connsiteX7" fmla="*/ 15548 w 179236"/>
                  <a:gd name="connsiteY7" fmla="*/ 117115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04554">
                    <a:moveTo>
                      <a:pt x="15548" y="117115"/>
                    </a:moveTo>
                    <a:cubicBezTo>
                      <a:pt x="11067" y="117115"/>
                      <a:pt x="5093" y="114128"/>
                      <a:pt x="2105" y="109647"/>
                    </a:cubicBezTo>
                    <a:cubicBezTo>
                      <a:pt x="-2376" y="102179"/>
                      <a:pt x="612" y="93217"/>
                      <a:pt x="8080" y="88736"/>
                    </a:cubicBezTo>
                    <a:lnTo>
                      <a:pt x="157443" y="2105"/>
                    </a:lnTo>
                    <a:cubicBezTo>
                      <a:pt x="164911" y="-2376"/>
                      <a:pt x="173873" y="612"/>
                      <a:pt x="178354" y="8080"/>
                    </a:cubicBezTo>
                    <a:cubicBezTo>
                      <a:pt x="182835" y="15548"/>
                      <a:pt x="179848" y="24510"/>
                      <a:pt x="172380" y="28991"/>
                    </a:cubicBezTo>
                    <a:lnTo>
                      <a:pt x="23016" y="115622"/>
                    </a:lnTo>
                    <a:cubicBezTo>
                      <a:pt x="20029" y="117115"/>
                      <a:pt x="18535" y="117115"/>
                      <a:pt x="15548" y="117115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6" name="任意多边形: 形状 655"/>
              <p:cNvSpPr/>
              <p:nvPr/>
            </p:nvSpPr>
            <p:spPr>
              <a:xfrm flipH="1">
                <a:off x="7541488" y="4542063"/>
                <a:ext cx="109111" cy="63648"/>
              </a:xfrm>
              <a:custGeom>
                <a:avLst/>
                <a:gdLst>
                  <a:gd name="connsiteX0" fmla="*/ 15548 w 179236"/>
                  <a:gd name="connsiteY0" fmla="*/ 117115 h 104554"/>
                  <a:gd name="connsiteX1" fmla="*/ 2105 w 179236"/>
                  <a:gd name="connsiteY1" fmla="*/ 109647 h 104554"/>
                  <a:gd name="connsiteX2" fmla="*/ 8080 w 179236"/>
                  <a:gd name="connsiteY2" fmla="*/ 88736 h 104554"/>
                  <a:gd name="connsiteX3" fmla="*/ 157443 w 179236"/>
                  <a:gd name="connsiteY3" fmla="*/ 2105 h 104554"/>
                  <a:gd name="connsiteX4" fmla="*/ 178354 w 179236"/>
                  <a:gd name="connsiteY4" fmla="*/ 8080 h 104554"/>
                  <a:gd name="connsiteX5" fmla="*/ 172380 w 179236"/>
                  <a:gd name="connsiteY5" fmla="*/ 28991 h 104554"/>
                  <a:gd name="connsiteX6" fmla="*/ 23016 w 179236"/>
                  <a:gd name="connsiteY6" fmla="*/ 115622 h 104554"/>
                  <a:gd name="connsiteX7" fmla="*/ 15548 w 179236"/>
                  <a:gd name="connsiteY7" fmla="*/ 117115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04554">
                    <a:moveTo>
                      <a:pt x="15548" y="117115"/>
                    </a:moveTo>
                    <a:cubicBezTo>
                      <a:pt x="11067" y="117115"/>
                      <a:pt x="5093" y="114128"/>
                      <a:pt x="2105" y="109647"/>
                    </a:cubicBezTo>
                    <a:cubicBezTo>
                      <a:pt x="-2376" y="102179"/>
                      <a:pt x="612" y="93217"/>
                      <a:pt x="8080" y="88736"/>
                    </a:cubicBezTo>
                    <a:lnTo>
                      <a:pt x="157443" y="2105"/>
                    </a:lnTo>
                    <a:cubicBezTo>
                      <a:pt x="164911" y="-2376"/>
                      <a:pt x="173873" y="612"/>
                      <a:pt x="178354" y="8080"/>
                    </a:cubicBezTo>
                    <a:cubicBezTo>
                      <a:pt x="182835" y="15548"/>
                      <a:pt x="179848" y="24510"/>
                      <a:pt x="172380" y="28991"/>
                    </a:cubicBezTo>
                    <a:lnTo>
                      <a:pt x="23016" y="115622"/>
                    </a:lnTo>
                    <a:cubicBezTo>
                      <a:pt x="20029" y="115622"/>
                      <a:pt x="17042" y="117115"/>
                      <a:pt x="15548" y="117115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7" name="任意多边形: 形状 656"/>
              <p:cNvSpPr/>
              <p:nvPr/>
            </p:nvSpPr>
            <p:spPr>
              <a:xfrm flipH="1">
                <a:off x="7524212" y="4613895"/>
                <a:ext cx="109111" cy="63648"/>
              </a:xfrm>
              <a:custGeom>
                <a:avLst/>
                <a:gdLst>
                  <a:gd name="connsiteX0" fmla="*/ 15548 w 179236"/>
                  <a:gd name="connsiteY0" fmla="*/ 117115 h 104554"/>
                  <a:gd name="connsiteX1" fmla="*/ 2105 w 179236"/>
                  <a:gd name="connsiteY1" fmla="*/ 109647 h 104554"/>
                  <a:gd name="connsiteX2" fmla="*/ 8080 w 179236"/>
                  <a:gd name="connsiteY2" fmla="*/ 88736 h 104554"/>
                  <a:gd name="connsiteX3" fmla="*/ 158937 w 179236"/>
                  <a:gd name="connsiteY3" fmla="*/ 2105 h 104554"/>
                  <a:gd name="connsiteX4" fmla="*/ 179848 w 179236"/>
                  <a:gd name="connsiteY4" fmla="*/ 8080 h 104554"/>
                  <a:gd name="connsiteX5" fmla="*/ 173873 w 179236"/>
                  <a:gd name="connsiteY5" fmla="*/ 28991 h 104554"/>
                  <a:gd name="connsiteX6" fmla="*/ 23016 w 179236"/>
                  <a:gd name="connsiteY6" fmla="*/ 115621 h 104554"/>
                  <a:gd name="connsiteX7" fmla="*/ 15548 w 179236"/>
                  <a:gd name="connsiteY7" fmla="*/ 117115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04554">
                    <a:moveTo>
                      <a:pt x="15548" y="117115"/>
                    </a:moveTo>
                    <a:cubicBezTo>
                      <a:pt x="11067" y="117115"/>
                      <a:pt x="5093" y="114128"/>
                      <a:pt x="2105" y="109647"/>
                    </a:cubicBezTo>
                    <a:cubicBezTo>
                      <a:pt x="-2376" y="102179"/>
                      <a:pt x="612" y="93217"/>
                      <a:pt x="8080" y="88736"/>
                    </a:cubicBezTo>
                    <a:lnTo>
                      <a:pt x="158937" y="2105"/>
                    </a:lnTo>
                    <a:cubicBezTo>
                      <a:pt x="166405" y="-2376"/>
                      <a:pt x="175367" y="612"/>
                      <a:pt x="179848" y="8080"/>
                    </a:cubicBezTo>
                    <a:cubicBezTo>
                      <a:pt x="184329" y="15548"/>
                      <a:pt x="181342" y="24510"/>
                      <a:pt x="173873" y="28991"/>
                    </a:cubicBezTo>
                    <a:lnTo>
                      <a:pt x="23016" y="115621"/>
                    </a:lnTo>
                    <a:cubicBezTo>
                      <a:pt x="21523" y="117115"/>
                      <a:pt x="18535" y="117115"/>
                      <a:pt x="15548" y="117115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8" name="任意多边形: 形状 657"/>
              <p:cNvSpPr/>
              <p:nvPr/>
            </p:nvSpPr>
            <p:spPr>
              <a:xfrm flipH="1">
                <a:off x="7506027" y="4686635"/>
                <a:ext cx="109111" cy="63648"/>
              </a:xfrm>
              <a:custGeom>
                <a:avLst/>
                <a:gdLst>
                  <a:gd name="connsiteX0" fmla="*/ 15548 w 179236"/>
                  <a:gd name="connsiteY0" fmla="*/ 117115 h 104554"/>
                  <a:gd name="connsiteX1" fmla="*/ 2105 w 179236"/>
                  <a:gd name="connsiteY1" fmla="*/ 109647 h 104554"/>
                  <a:gd name="connsiteX2" fmla="*/ 8080 w 179236"/>
                  <a:gd name="connsiteY2" fmla="*/ 88736 h 104554"/>
                  <a:gd name="connsiteX3" fmla="*/ 158937 w 179236"/>
                  <a:gd name="connsiteY3" fmla="*/ 2105 h 104554"/>
                  <a:gd name="connsiteX4" fmla="*/ 179848 w 179236"/>
                  <a:gd name="connsiteY4" fmla="*/ 8080 h 104554"/>
                  <a:gd name="connsiteX5" fmla="*/ 173873 w 179236"/>
                  <a:gd name="connsiteY5" fmla="*/ 28991 h 104554"/>
                  <a:gd name="connsiteX6" fmla="*/ 23016 w 179236"/>
                  <a:gd name="connsiteY6" fmla="*/ 115622 h 104554"/>
                  <a:gd name="connsiteX7" fmla="*/ 15548 w 179236"/>
                  <a:gd name="connsiteY7" fmla="*/ 117115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04554">
                    <a:moveTo>
                      <a:pt x="15548" y="117115"/>
                    </a:moveTo>
                    <a:cubicBezTo>
                      <a:pt x="11067" y="117115"/>
                      <a:pt x="5093" y="114128"/>
                      <a:pt x="2105" y="109647"/>
                    </a:cubicBezTo>
                    <a:cubicBezTo>
                      <a:pt x="-2376" y="102179"/>
                      <a:pt x="612" y="93217"/>
                      <a:pt x="8080" y="88736"/>
                    </a:cubicBezTo>
                    <a:lnTo>
                      <a:pt x="158937" y="2105"/>
                    </a:lnTo>
                    <a:cubicBezTo>
                      <a:pt x="166405" y="-2376"/>
                      <a:pt x="175367" y="612"/>
                      <a:pt x="179848" y="8080"/>
                    </a:cubicBezTo>
                    <a:cubicBezTo>
                      <a:pt x="184329" y="15548"/>
                      <a:pt x="181342" y="24510"/>
                      <a:pt x="173873" y="28991"/>
                    </a:cubicBezTo>
                    <a:lnTo>
                      <a:pt x="23016" y="115622"/>
                    </a:lnTo>
                    <a:cubicBezTo>
                      <a:pt x="20029" y="115622"/>
                      <a:pt x="18535" y="117115"/>
                      <a:pt x="15548" y="117115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9" name="任意多边形: 形状 658"/>
              <p:cNvSpPr/>
              <p:nvPr/>
            </p:nvSpPr>
            <p:spPr>
              <a:xfrm flipH="1">
                <a:off x="7487842" y="4758467"/>
                <a:ext cx="109111" cy="63648"/>
              </a:xfrm>
              <a:custGeom>
                <a:avLst/>
                <a:gdLst>
                  <a:gd name="connsiteX0" fmla="*/ 15548 w 179236"/>
                  <a:gd name="connsiteY0" fmla="*/ 117115 h 104554"/>
                  <a:gd name="connsiteX1" fmla="*/ 2105 w 179236"/>
                  <a:gd name="connsiteY1" fmla="*/ 109647 h 104554"/>
                  <a:gd name="connsiteX2" fmla="*/ 8080 w 179236"/>
                  <a:gd name="connsiteY2" fmla="*/ 88736 h 104554"/>
                  <a:gd name="connsiteX3" fmla="*/ 158937 w 179236"/>
                  <a:gd name="connsiteY3" fmla="*/ 2105 h 104554"/>
                  <a:gd name="connsiteX4" fmla="*/ 179848 w 179236"/>
                  <a:gd name="connsiteY4" fmla="*/ 8080 h 104554"/>
                  <a:gd name="connsiteX5" fmla="*/ 173873 w 179236"/>
                  <a:gd name="connsiteY5" fmla="*/ 28991 h 104554"/>
                  <a:gd name="connsiteX6" fmla="*/ 23016 w 179236"/>
                  <a:gd name="connsiteY6" fmla="*/ 115622 h 104554"/>
                  <a:gd name="connsiteX7" fmla="*/ 15548 w 179236"/>
                  <a:gd name="connsiteY7" fmla="*/ 117115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04554">
                    <a:moveTo>
                      <a:pt x="15548" y="117115"/>
                    </a:moveTo>
                    <a:cubicBezTo>
                      <a:pt x="11067" y="117115"/>
                      <a:pt x="5093" y="114128"/>
                      <a:pt x="2105" y="109647"/>
                    </a:cubicBezTo>
                    <a:cubicBezTo>
                      <a:pt x="-2376" y="102179"/>
                      <a:pt x="612" y="93217"/>
                      <a:pt x="8080" y="88736"/>
                    </a:cubicBezTo>
                    <a:lnTo>
                      <a:pt x="158937" y="2105"/>
                    </a:lnTo>
                    <a:cubicBezTo>
                      <a:pt x="166405" y="-2375"/>
                      <a:pt x="175367" y="612"/>
                      <a:pt x="179848" y="8080"/>
                    </a:cubicBezTo>
                    <a:cubicBezTo>
                      <a:pt x="184329" y="15548"/>
                      <a:pt x="181342" y="24510"/>
                      <a:pt x="173873" y="28991"/>
                    </a:cubicBezTo>
                    <a:lnTo>
                      <a:pt x="23016" y="115622"/>
                    </a:lnTo>
                    <a:cubicBezTo>
                      <a:pt x="20029" y="117115"/>
                      <a:pt x="17042" y="117115"/>
                      <a:pt x="15548" y="117115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0" name="任意多边形: 形状 659"/>
              <p:cNvSpPr/>
              <p:nvPr/>
            </p:nvSpPr>
            <p:spPr>
              <a:xfrm flipH="1">
                <a:off x="7470566" y="4829389"/>
                <a:ext cx="109111" cy="63648"/>
              </a:xfrm>
              <a:custGeom>
                <a:avLst/>
                <a:gdLst>
                  <a:gd name="connsiteX0" fmla="*/ 15548 w 179236"/>
                  <a:gd name="connsiteY0" fmla="*/ 118609 h 104554"/>
                  <a:gd name="connsiteX1" fmla="*/ 2105 w 179236"/>
                  <a:gd name="connsiteY1" fmla="*/ 111141 h 104554"/>
                  <a:gd name="connsiteX2" fmla="*/ 8080 w 179236"/>
                  <a:gd name="connsiteY2" fmla="*/ 90230 h 104554"/>
                  <a:gd name="connsiteX3" fmla="*/ 158937 w 179236"/>
                  <a:gd name="connsiteY3" fmla="*/ 2105 h 104554"/>
                  <a:gd name="connsiteX4" fmla="*/ 179848 w 179236"/>
                  <a:gd name="connsiteY4" fmla="*/ 8080 h 104554"/>
                  <a:gd name="connsiteX5" fmla="*/ 173873 w 179236"/>
                  <a:gd name="connsiteY5" fmla="*/ 28991 h 104554"/>
                  <a:gd name="connsiteX6" fmla="*/ 23016 w 179236"/>
                  <a:gd name="connsiteY6" fmla="*/ 117115 h 104554"/>
                  <a:gd name="connsiteX7" fmla="*/ 15548 w 179236"/>
                  <a:gd name="connsiteY7" fmla="*/ 118609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04554">
                    <a:moveTo>
                      <a:pt x="15548" y="118609"/>
                    </a:moveTo>
                    <a:cubicBezTo>
                      <a:pt x="11067" y="118609"/>
                      <a:pt x="5093" y="115621"/>
                      <a:pt x="2105" y="111141"/>
                    </a:cubicBezTo>
                    <a:cubicBezTo>
                      <a:pt x="-2375" y="103673"/>
                      <a:pt x="612" y="94711"/>
                      <a:pt x="8080" y="90230"/>
                    </a:cubicBezTo>
                    <a:lnTo>
                      <a:pt x="158937" y="2105"/>
                    </a:lnTo>
                    <a:cubicBezTo>
                      <a:pt x="166405" y="-2376"/>
                      <a:pt x="175367" y="612"/>
                      <a:pt x="179848" y="8080"/>
                    </a:cubicBezTo>
                    <a:cubicBezTo>
                      <a:pt x="184329" y="15548"/>
                      <a:pt x="181341" y="24510"/>
                      <a:pt x="173873" y="28991"/>
                    </a:cubicBezTo>
                    <a:lnTo>
                      <a:pt x="23016" y="117115"/>
                    </a:lnTo>
                    <a:cubicBezTo>
                      <a:pt x="21523" y="118609"/>
                      <a:pt x="18535" y="118609"/>
                      <a:pt x="15548" y="118609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1" name="任意多边形: 形状 660"/>
              <p:cNvSpPr/>
              <p:nvPr/>
            </p:nvSpPr>
            <p:spPr>
              <a:xfrm flipH="1">
                <a:off x="7452380" y="4902130"/>
                <a:ext cx="109111" cy="63648"/>
              </a:xfrm>
              <a:custGeom>
                <a:avLst/>
                <a:gdLst>
                  <a:gd name="connsiteX0" fmla="*/ 15548 w 179236"/>
                  <a:gd name="connsiteY0" fmla="*/ 118609 h 104554"/>
                  <a:gd name="connsiteX1" fmla="*/ 2105 w 179236"/>
                  <a:gd name="connsiteY1" fmla="*/ 111141 h 104554"/>
                  <a:gd name="connsiteX2" fmla="*/ 8080 w 179236"/>
                  <a:gd name="connsiteY2" fmla="*/ 90230 h 104554"/>
                  <a:gd name="connsiteX3" fmla="*/ 160431 w 179236"/>
                  <a:gd name="connsiteY3" fmla="*/ 2105 h 104554"/>
                  <a:gd name="connsiteX4" fmla="*/ 181341 w 179236"/>
                  <a:gd name="connsiteY4" fmla="*/ 8080 h 104554"/>
                  <a:gd name="connsiteX5" fmla="*/ 175367 w 179236"/>
                  <a:gd name="connsiteY5" fmla="*/ 28991 h 104554"/>
                  <a:gd name="connsiteX6" fmla="*/ 23016 w 179236"/>
                  <a:gd name="connsiteY6" fmla="*/ 117115 h 104554"/>
                  <a:gd name="connsiteX7" fmla="*/ 15548 w 179236"/>
                  <a:gd name="connsiteY7" fmla="*/ 118609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04554">
                    <a:moveTo>
                      <a:pt x="15548" y="118609"/>
                    </a:moveTo>
                    <a:cubicBezTo>
                      <a:pt x="11067" y="118609"/>
                      <a:pt x="5093" y="115621"/>
                      <a:pt x="2105" y="111141"/>
                    </a:cubicBezTo>
                    <a:cubicBezTo>
                      <a:pt x="-2375" y="103673"/>
                      <a:pt x="612" y="94711"/>
                      <a:pt x="8080" y="90230"/>
                    </a:cubicBezTo>
                    <a:lnTo>
                      <a:pt x="160431" y="2105"/>
                    </a:lnTo>
                    <a:cubicBezTo>
                      <a:pt x="167899" y="-2376"/>
                      <a:pt x="176861" y="612"/>
                      <a:pt x="181341" y="8080"/>
                    </a:cubicBezTo>
                    <a:cubicBezTo>
                      <a:pt x="185823" y="15548"/>
                      <a:pt x="182835" y="24510"/>
                      <a:pt x="175367" y="28991"/>
                    </a:cubicBezTo>
                    <a:lnTo>
                      <a:pt x="23016" y="117115"/>
                    </a:lnTo>
                    <a:cubicBezTo>
                      <a:pt x="21523" y="117115"/>
                      <a:pt x="18535" y="118609"/>
                      <a:pt x="15548" y="118609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2" name="任意多边形: 形状 661"/>
              <p:cNvSpPr/>
              <p:nvPr/>
            </p:nvSpPr>
            <p:spPr>
              <a:xfrm flipH="1">
                <a:off x="7434196" y="4973961"/>
                <a:ext cx="109111" cy="63648"/>
              </a:xfrm>
              <a:custGeom>
                <a:avLst/>
                <a:gdLst>
                  <a:gd name="connsiteX0" fmla="*/ 15548 w 179236"/>
                  <a:gd name="connsiteY0" fmla="*/ 118609 h 104554"/>
                  <a:gd name="connsiteX1" fmla="*/ 2105 w 179236"/>
                  <a:gd name="connsiteY1" fmla="*/ 111141 h 104554"/>
                  <a:gd name="connsiteX2" fmla="*/ 8080 w 179236"/>
                  <a:gd name="connsiteY2" fmla="*/ 90230 h 104554"/>
                  <a:gd name="connsiteX3" fmla="*/ 160431 w 179236"/>
                  <a:gd name="connsiteY3" fmla="*/ 2105 h 104554"/>
                  <a:gd name="connsiteX4" fmla="*/ 181341 w 179236"/>
                  <a:gd name="connsiteY4" fmla="*/ 8080 h 104554"/>
                  <a:gd name="connsiteX5" fmla="*/ 175367 w 179236"/>
                  <a:gd name="connsiteY5" fmla="*/ 28991 h 104554"/>
                  <a:gd name="connsiteX6" fmla="*/ 23016 w 179236"/>
                  <a:gd name="connsiteY6" fmla="*/ 117115 h 104554"/>
                  <a:gd name="connsiteX7" fmla="*/ 15548 w 179236"/>
                  <a:gd name="connsiteY7" fmla="*/ 118609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04554">
                    <a:moveTo>
                      <a:pt x="15548" y="118609"/>
                    </a:moveTo>
                    <a:cubicBezTo>
                      <a:pt x="11067" y="118609"/>
                      <a:pt x="5093" y="115621"/>
                      <a:pt x="2105" y="111141"/>
                    </a:cubicBezTo>
                    <a:cubicBezTo>
                      <a:pt x="-2375" y="103672"/>
                      <a:pt x="612" y="94711"/>
                      <a:pt x="8080" y="90230"/>
                    </a:cubicBezTo>
                    <a:lnTo>
                      <a:pt x="160431" y="2105"/>
                    </a:lnTo>
                    <a:cubicBezTo>
                      <a:pt x="167899" y="-2376"/>
                      <a:pt x="176861" y="612"/>
                      <a:pt x="181341" y="8080"/>
                    </a:cubicBezTo>
                    <a:cubicBezTo>
                      <a:pt x="185823" y="15548"/>
                      <a:pt x="182835" y="24510"/>
                      <a:pt x="175367" y="28991"/>
                    </a:cubicBezTo>
                    <a:lnTo>
                      <a:pt x="23016" y="117115"/>
                    </a:lnTo>
                    <a:cubicBezTo>
                      <a:pt x="20029" y="118609"/>
                      <a:pt x="18535" y="118609"/>
                      <a:pt x="15548" y="118609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3" name="任意多边形: 形状 662"/>
              <p:cNvSpPr/>
              <p:nvPr/>
            </p:nvSpPr>
            <p:spPr>
              <a:xfrm flipH="1">
                <a:off x="7416010" y="5045792"/>
                <a:ext cx="109111" cy="63648"/>
              </a:xfrm>
              <a:custGeom>
                <a:avLst/>
                <a:gdLst>
                  <a:gd name="connsiteX0" fmla="*/ 15548 w 179236"/>
                  <a:gd name="connsiteY0" fmla="*/ 118609 h 104554"/>
                  <a:gd name="connsiteX1" fmla="*/ 2105 w 179236"/>
                  <a:gd name="connsiteY1" fmla="*/ 111141 h 104554"/>
                  <a:gd name="connsiteX2" fmla="*/ 8080 w 179236"/>
                  <a:gd name="connsiteY2" fmla="*/ 90230 h 104554"/>
                  <a:gd name="connsiteX3" fmla="*/ 160431 w 179236"/>
                  <a:gd name="connsiteY3" fmla="*/ 2105 h 104554"/>
                  <a:gd name="connsiteX4" fmla="*/ 181341 w 179236"/>
                  <a:gd name="connsiteY4" fmla="*/ 8080 h 104554"/>
                  <a:gd name="connsiteX5" fmla="*/ 175367 w 179236"/>
                  <a:gd name="connsiteY5" fmla="*/ 28991 h 104554"/>
                  <a:gd name="connsiteX6" fmla="*/ 23016 w 179236"/>
                  <a:gd name="connsiteY6" fmla="*/ 117115 h 104554"/>
                  <a:gd name="connsiteX7" fmla="*/ 15548 w 179236"/>
                  <a:gd name="connsiteY7" fmla="*/ 118609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04554">
                    <a:moveTo>
                      <a:pt x="15548" y="118609"/>
                    </a:moveTo>
                    <a:cubicBezTo>
                      <a:pt x="11067" y="118609"/>
                      <a:pt x="5093" y="115622"/>
                      <a:pt x="2105" y="111141"/>
                    </a:cubicBezTo>
                    <a:cubicBezTo>
                      <a:pt x="-2375" y="103672"/>
                      <a:pt x="612" y="94711"/>
                      <a:pt x="8080" y="90230"/>
                    </a:cubicBezTo>
                    <a:lnTo>
                      <a:pt x="160431" y="2105"/>
                    </a:lnTo>
                    <a:cubicBezTo>
                      <a:pt x="167899" y="-2376"/>
                      <a:pt x="176861" y="612"/>
                      <a:pt x="181341" y="8080"/>
                    </a:cubicBezTo>
                    <a:cubicBezTo>
                      <a:pt x="185823" y="15548"/>
                      <a:pt x="182835" y="24510"/>
                      <a:pt x="175367" y="28991"/>
                    </a:cubicBezTo>
                    <a:lnTo>
                      <a:pt x="23016" y="117115"/>
                    </a:lnTo>
                    <a:cubicBezTo>
                      <a:pt x="20029" y="118609"/>
                      <a:pt x="17042" y="118609"/>
                      <a:pt x="15548" y="118609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4" name="任意多边形: 形状 663"/>
              <p:cNvSpPr/>
              <p:nvPr/>
            </p:nvSpPr>
            <p:spPr>
              <a:xfrm flipH="1">
                <a:off x="7398735" y="5118533"/>
                <a:ext cx="109111" cy="63648"/>
              </a:xfrm>
              <a:custGeom>
                <a:avLst/>
                <a:gdLst>
                  <a:gd name="connsiteX0" fmla="*/ 15548 w 179236"/>
                  <a:gd name="connsiteY0" fmla="*/ 118609 h 104554"/>
                  <a:gd name="connsiteX1" fmla="*/ 2105 w 179236"/>
                  <a:gd name="connsiteY1" fmla="*/ 111141 h 104554"/>
                  <a:gd name="connsiteX2" fmla="*/ 8080 w 179236"/>
                  <a:gd name="connsiteY2" fmla="*/ 90230 h 104554"/>
                  <a:gd name="connsiteX3" fmla="*/ 160431 w 179236"/>
                  <a:gd name="connsiteY3" fmla="*/ 2105 h 104554"/>
                  <a:gd name="connsiteX4" fmla="*/ 181341 w 179236"/>
                  <a:gd name="connsiteY4" fmla="*/ 8080 h 104554"/>
                  <a:gd name="connsiteX5" fmla="*/ 175367 w 179236"/>
                  <a:gd name="connsiteY5" fmla="*/ 28991 h 104554"/>
                  <a:gd name="connsiteX6" fmla="*/ 23016 w 179236"/>
                  <a:gd name="connsiteY6" fmla="*/ 117115 h 104554"/>
                  <a:gd name="connsiteX7" fmla="*/ 15548 w 179236"/>
                  <a:gd name="connsiteY7" fmla="*/ 118609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04554">
                    <a:moveTo>
                      <a:pt x="15548" y="118609"/>
                    </a:moveTo>
                    <a:cubicBezTo>
                      <a:pt x="11067" y="118609"/>
                      <a:pt x="5093" y="115622"/>
                      <a:pt x="2105" y="111141"/>
                    </a:cubicBezTo>
                    <a:cubicBezTo>
                      <a:pt x="-2376" y="103672"/>
                      <a:pt x="612" y="94711"/>
                      <a:pt x="8080" y="90230"/>
                    </a:cubicBezTo>
                    <a:lnTo>
                      <a:pt x="160431" y="2105"/>
                    </a:lnTo>
                    <a:cubicBezTo>
                      <a:pt x="167899" y="-2376"/>
                      <a:pt x="176861" y="612"/>
                      <a:pt x="181341" y="8080"/>
                    </a:cubicBezTo>
                    <a:cubicBezTo>
                      <a:pt x="185822" y="15548"/>
                      <a:pt x="182835" y="24510"/>
                      <a:pt x="175367" y="28991"/>
                    </a:cubicBezTo>
                    <a:lnTo>
                      <a:pt x="23016" y="117115"/>
                    </a:lnTo>
                    <a:cubicBezTo>
                      <a:pt x="21523" y="117115"/>
                      <a:pt x="18535" y="118609"/>
                      <a:pt x="15548" y="118609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5" name="任意多边形: 形状 664"/>
              <p:cNvSpPr/>
              <p:nvPr/>
            </p:nvSpPr>
            <p:spPr>
              <a:xfrm flipH="1">
                <a:off x="7380549" y="5190365"/>
                <a:ext cx="109111" cy="63648"/>
              </a:xfrm>
              <a:custGeom>
                <a:avLst/>
                <a:gdLst>
                  <a:gd name="connsiteX0" fmla="*/ 15548 w 179236"/>
                  <a:gd name="connsiteY0" fmla="*/ 118609 h 104554"/>
                  <a:gd name="connsiteX1" fmla="*/ 2105 w 179236"/>
                  <a:gd name="connsiteY1" fmla="*/ 111140 h 104554"/>
                  <a:gd name="connsiteX2" fmla="*/ 8080 w 179236"/>
                  <a:gd name="connsiteY2" fmla="*/ 90230 h 104554"/>
                  <a:gd name="connsiteX3" fmla="*/ 161924 w 179236"/>
                  <a:gd name="connsiteY3" fmla="*/ 2105 h 104554"/>
                  <a:gd name="connsiteX4" fmla="*/ 182835 w 179236"/>
                  <a:gd name="connsiteY4" fmla="*/ 8080 h 104554"/>
                  <a:gd name="connsiteX5" fmla="*/ 176861 w 179236"/>
                  <a:gd name="connsiteY5" fmla="*/ 28991 h 104554"/>
                  <a:gd name="connsiteX6" fmla="*/ 23016 w 179236"/>
                  <a:gd name="connsiteY6" fmla="*/ 117115 h 104554"/>
                  <a:gd name="connsiteX7" fmla="*/ 15548 w 179236"/>
                  <a:gd name="connsiteY7" fmla="*/ 118609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04554">
                    <a:moveTo>
                      <a:pt x="15548" y="118609"/>
                    </a:moveTo>
                    <a:cubicBezTo>
                      <a:pt x="11067" y="118609"/>
                      <a:pt x="5093" y="115622"/>
                      <a:pt x="2105" y="111140"/>
                    </a:cubicBezTo>
                    <a:cubicBezTo>
                      <a:pt x="-2376" y="103672"/>
                      <a:pt x="612" y="94711"/>
                      <a:pt x="8080" y="90230"/>
                    </a:cubicBezTo>
                    <a:lnTo>
                      <a:pt x="161924" y="2105"/>
                    </a:lnTo>
                    <a:cubicBezTo>
                      <a:pt x="169392" y="-2375"/>
                      <a:pt x="178354" y="612"/>
                      <a:pt x="182835" y="8080"/>
                    </a:cubicBezTo>
                    <a:cubicBezTo>
                      <a:pt x="187316" y="15548"/>
                      <a:pt x="184329" y="24510"/>
                      <a:pt x="176861" y="28991"/>
                    </a:cubicBezTo>
                    <a:lnTo>
                      <a:pt x="23016" y="117115"/>
                    </a:lnTo>
                    <a:cubicBezTo>
                      <a:pt x="20029" y="118609"/>
                      <a:pt x="18535" y="118609"/>
                      <a:pt x="15548" y="118609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6" name="任意多边形: 形状 665"/>
              <p:cNvSpPr/>
              <p:nvPr/>
            </p:nvSpPr>
            <p:spPr>
              <a:xfrm flipH="1">
                <a:off x="7362364" y="5262196"/>
                <a:ext cx="109111" cy="63648"/>
              </a:xfrm>
              <a:custGeom>
                <a:avLst/>
                <a:gdLst>
                  <a:gd name="connsiteX0" fmla="*/ 15548 w 179236"/>
                  <a:gd name="connsiteY0" fmla="*/ 118609 h 104554"/>
                  <a:gd name="connsiteX1" fmla="*/ 2105 w 179236"/>
                  <a:gd name="connsiteY1" fmla="*/ 111141 h 104554"/>
                  <a:gd name="connsiteX2" fmla="*/ 8080 w 179236"/>
                  <a:gd name="connsiteY2" fmla="*/ 90230 h 104554"/>
                  <a:gd name="connsiteX3" fmla="*/ 161924 w 179236"/>
                  <a:gd name="connsiteY3" fmla="*/ 2105 h 104554"/>
                  <a:gd name="connsiteX4" fmla="*/ 182835 w 179236"/>
                  <a:gd name="connsiteY4" fmla="*/ 8080 h 104554"/>
                  <a:gd name="connsiteX5" fmla="*/ 176861 w 179236"/>
                  <a:gd name="connsiteY5" fmla="*/ 28991 h 104554"/>
                  <a:gd name="connsiteX6" fmla="*/ 23016 w 179236"/>
                  <a:gd name="connsiteY6" fmla="*/ 117115 h 104554"/>
                  <a:gd name="connsiteX7" fmla="*/ 15548 w 179236"/>
                  <a:gd name="connsiteY7" fmla="*/ 118609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04554">
                    <a:moveTo>
                      <a:pt x="15548" y="118609"/>
                    </a:moveTo>
                    <a:cubicBezTo>
                      <a:pt x="11067" y="118609"/>
                      <a:pt x="5093" y="115622"/>
                      <a:pt x="2105" y="111141"/>
                    </a:cubicBezTo>
                    <a:cubicBezTo>
                      <a:pt x="-2376" y="103673"/>
                      <a:pt x="612" y="94711"/>
                      <a:pt x="8080" y="90230"/>
                    </a:cubicBezTo>
                    <a:lnTo>
                      <a:pt x="161924" y="2105"/>
                    </a:lnTo>
                    <a:cubicBezTo>
                      <a:pt x="169392" y="-2375"/>
                      <a:pt x="178354" y="612"/>
                      <a:pt x="182835" y="8080"/>
                    </a:cubicBezTo>
                    <a:cubicBezTo>
                      <a:pt x="187316" y="15548"/>
                      <a:pt x="184329" y="24510"/>
                      <a:pt x="176861" y="28991"/>
                    </a:cubicBezTo>
                    <a:lnTo>
                      <a:pt x="23016" y="117115"/>
                    </a:lnTo>
                    <a:cubicBezTo>
                      <a:pt x="20029" y="118609"/>
                      <a:pt x="17042" y="118609"/>
                      <a:pt x="15548" y="118609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7" name="任意多边形: 形状 666"/>
              <p:cNvSpPr/>
              <p:nvPr/>
            </p:nvSpPr>
            <p:spPr>
              <a:xfrm flipH="1">
                <a:off x="7345088" y="5334027"/>
                <a:ext cx="109111" cy="72741"/>
              </a:xfrm>
              <a:custGeom>
                <a:avLst/>
                <a:gdLst>
                  <a:gd name="connsiteX0" fmla="*/ 15548 w 179236"/>
                  <a:gd name="connsiteY0" fmla="*/ 120103 h 119490"/>
                  <a:gd name="connsiteX1" fmla="*/ 2105 w 179236"/>
                  <a:gd name="connsiteY1" fmla="*/ 112634 h 119490"/>
                  <a:gd name="connsiteX2" fmla="*/ 8080 w 179236"/>
                  <a:gd name="connsiteY2" fmla="*/ 91723 h 119490"/>
                  <a:gd name="connsiteX3" fmla="*/ 161924 w 179236"/>
                  <a:gd name="connsiteY3" fmla="*/ 2105 h 119490"/>
                  <a:gd name="connsiteX4" fmla="*/ 182835 w 179236"/>
                  <a:gd name="connsiteY4" fmla="*/ 8080 h 119490"/>
                  <a:gd name="connsiteX5" fmla="*/ 176860 w 179236"/>
                  <a:gd name="connsiteY5" fmla="*/ 28991 h 119490"/>
                  <a:gd name="connsiteX6" fmla="*/ 23016 w 179236"/>
                  <a:gd name="connsiteY6" fmla="*/ 118609 h 119490"/>
                  <a:gd name="connsiteX7" fmla="*/ 15548 w 179236"/>
                  <a:gd name="connsiteY7" fmla="*/ 120103 h 119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19490">
                    <a:moveTo>
                      <a:pt x="15548" y="120103"/>
                    </a:moveTo>
                    <a:cubicBezTo>
                      <a:pt x="11067" y="120103"/>
                      <a:pt x="5092" y="117115"/>
                      <a:pt x="2105" y="112634"/>
                    </a:cubicBezTo>
                    <a:cubicBezTo>
                      <a:pt x="-2376" y="105166"/>
                      <a:pt x="612" y="96204"/>
                      <a:pt x="8080" y="91723"/>
                    </a:cubicBezTo>
                    <a:lnTo>
                      <a:pt x="161924" y="2105"/>
                    </a:lnTo>
                    <a:cubicBezTo>
                      <a:pt x="169392" y="-2376"/>
                      <a:pt x="178354" y="612"/>
                      <a:pt x="182835" y="8080"/>
                    </a:cubicBezTo>
                    <a:cubicBezTo>
                      <a:pt x="187316" y="15548"/>
                      <a:pt x="184329" y="24510"/>
                      <a:pt x="176860" y="28991"/>
                    </a:cubicBezTo>
                    <a:lnTo>
                      <a:pt x="23016" y="118609"/>
                    </a:lnTo>
                    <a:cubicBezTo>
                      <a:pt x="21523" y="118609"/>
                      <a:pt x="18535" y="120103"/>
                      <a:pt x="15548" y="120103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8" name="任意多边形: 形状 667"/>
              <p:cNvSpPr/>
              <p:nvPr/>
            </p:nvSpPr>
            <p:spPr>
              <a:xfrm flipH="1">
                <a:off x="7326903" y="5405859"/>
                <a:ext cx="109111" cy="72741"/>
              </a:xfrm>
              <a:custGeom>
                <a:avLst/>
                <a:gdLst>
                  <a:gd name="connsiteX0" fmla="*/ 15548 w 179236"/>
                  <a:gd name="connsiteY0" fmla="*/ 120102 h 119490"/>
                  <a:gd name="connsiteX1" fmla="*/ 2105 w 179236"/>
                  <a:gd name="connsiteY1" fmla="*/ 112634 h 119490"/>
                  <a:gd name="connsiteX2" fmla="*/ 8080 w 179236"/>
                  <a:gd name="connsiteY2" fmla="*/ 91724 h 119490"/>
                  <a:gd name="connsiteX3" fmla="*/ 161924 w 179236"/>
                  <a:gd name="connsiteY3" fmla="*/ 2105 h 119490"/>
                  <a:gd name="connsiteX4" fmla="*/ 182835 w 179236"/>
                  <a:gd name="connsiteY4" fmla="*/ 8080 h 119490"/>
                  <a:gd name="connsiteX5" fmla="*/ 176860 w 179236"/>
                  <a:gd name="connsiteY5" fmla="*/ 28991 h 119490"/>
                  <a:gd name="connsiteX6" fmla="*/ 23016 w 179236"/>
                  <a:gd name="connsiteY6" fmla="*/ 118609 h 119490"/>
                  <a:gd name="connsiteX7" fmla="*/ 15548 w 179236"/>
                  <a:gd name="connsiteY7" fmla="*/ 120102 h 119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19490">
                    <a:moveTo>
                      <a:pt x="15548" y="120102"/>
                    </a:moveTo>
                    <a:cubicBezTo>
                      <a:pt x="11067" y="120102"/>
                      <a:pt x="5092" y="117115"/>
                      <a:pt x="2105" y="112634"/>
                    </a:cubicBezTo>
                    <a:cubicBezTo>
                      <a:pt x="-2376" y="105166"/>
                      <a:pt x="612" y="96204"/>
                      <a:pt x="8080" y="91724"/>
                    </a:cubicBezTo>
                    <a:lnTo>
                      <a:pt x="161924" y="2105"/>
                    </a:lnTo>
                    <a:cubicBezTo>
                      <a:pt x="169392" y="-2376"/>
                      <a:pt x="178354" y="612"/>
                      <a:pt x="182835" y="8080"/>
                    </a:cubicBezTo>
                    <a:cubicBezTo>
                      <a:pt x="187316" y="15548"/>
                      <a:pt x="184329" y="24510"/>
                      <a:pt x="176860" y="28991"/>
                    </a:cubicBezTo>
                    <a:lnTo>
                      <a:pt x="23016" y="118609"/>
                    </a:lnTo>
                    <a:cubicBezTo>
                      <a:pt x="21523" y="120102"/>
                      <a:pt x="18535" y="120102"/>
                      <a:pt x="15548" y="120102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9" name="任意多边形: 形状 668"/>
              <p:cNvSpPr/>
              <p:nvPr/>
            </p:nvSpPr>
            <p:spPr>
              <a:xfrm flipH="1">
                <a:off x="7308718" y="5478600"/>
                <a:ext cx="109111" cy="72741"/>
              </a:xfrm>
              <a:custGeom>
                <a:avLst/>
                <a:gdLst>
                  <a:gd name="connsiteX0" fmla="*/ 15548 w 179236"/>
                  <a:gd name="connsiteY0" fmla="*/ 120102 h 119490"/>
                  <a:gd name="connsiteX1" fmla="*/ 2105 w 179236"/>
                  <a:gd name="connsiteY1" fmla="*/ 112634 h 119490"/>
                  <a:gd name="connsiteX2" fmla="*/ 8080 w 179236"/>
                  <a:gd name="connsiteY2" fmla="*/ 91724 h 119490"/>
                  <a:gd name="connsiteX3" fmla="*/ 163418 w 179236"/>
                  <a:gd name="connsiteY3" fmla="*/ 2105 h 119490"/>
                  <a:gd name="connsiteX4" fmla="*/ 184329 w 179236"/>
                  <a:gd name="connsiteY4" fmla="*/ 8080 h 119490"/>
                  <a:gd name="connsiteX5" fmla="*/ 178354 w 179236"/>
                  <a:gd name="connsiteY5" fmla="*/ 28991 h 119490"/>
                  <a:gd name="connsiteX6" fmla="*/ 23016 w 179236"/>
                  <a:gd name="connsiteY6" fmla="*/ 118609 h 119490"/>
                  <a:gd name="connsiteX7" fmla="*/ 15548 w 179236"/>
                  <a:gd name="connsiteY7" fmla="*/ 120102 h 119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19490">
                    <a:moveTo>
                      <a:pt x="15548" y="120102"/>
                    </a:moveTo>
                    <a:cubicBezTo>
                      <a:pt x="11067" y="120102"/>
                      <a:pt x="5092" y="117115"/>
                      <a:pt x="2105" y="112634"/>
                    </a:cubicBezTo>
                    <a:cubicBezTo>
                      <a:pt x="-2376" y="105166"/>
                      <a:pt x="612" y="96204"/>
                      <a:pt x="8080" y="91724"/>
                    </a:cubicBezTo>
                    <a:lnTo>
                      <a:pt x="163418" y="2105"/>
                    </a:lnTo>
                    <a:cubicBezTo>
                      <a:pt x="170886" y="-2376"/>
                      <a:pt x="179848" y="612"/>
                      <a:pt x="184329" y="8080"/>
                    </a:cubicBezTo>
                    <a:cubicBezTo>
                      <a:pt x="188810" y="15548"/>
                      <a:pt x="185822" y="24510"/>
                      <a:pt x="178354" y="28991"/>
                    </a:cubicBezTo>
                    <a:lnTo>
                      <a:pt x="23016" y="118609"/>
                    </a:lnTo>
                    <a:cubicBezTo>
                      <a:pt x="20029" y="118609"/>
                      <a:pt x="17042" y="120102"/>
                      <a:pt x="15548" y="120102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0" name="任意多边形: 形状 669"/>
              <p:cNvSpPr/>
              <p:nvPr/>
            </p:nvSpPr>
            <p:spPr>
              <a:xfrm flipH="1">
                <a:off x="7290532" y="5550431"/>
                <a:ext cx="109111" cy="72741"/>
              </a:xfrm>
              <a:custGeom>
                <a:avLst/>
                <a:gdLst>
                  <a:gd name="connsiteX0" fmla="*/ 15548 w 179236"/>
                  <a:gd name="connsiteY0" fmla="*/ 120102 h 119490"/>
                  <a:gd name="connsiteX1" fmla="*/ 2105 w 179236"/>
                  <a:gd name="connsiteY1" fmla="*/ 112634 h 119490"/>
                  <a:gd name="connsiteX2" fmla="*/ 8080 w 179236"/>
                  <a:gd name="connsiteY2" fmla="*/ 91724 h 119490"/>
                  <a:gd name="connsiteX3" fmla="*/ 163418 w 179236"/>
                  <a:gd name="connsiteY3" fmla="*/ 2105 h 119490"/>
                  <a:gd name="connsiteX4" fmla="*/ 184329 w 179236"/>
                  <a:gd name="connsiteY4" fmla="*/ 8080 h 119490"/>
                  <a:gd name="connsiteX5" fmla="*/ 178354 w 179236"/>
                  <a:gd name="connsiteY5" fmla="*/ 28991 h 119490"/>
                  <a:gd name="connsiteX6" fmla="*/ 23016 w 179236"/>
                  <a:gd name="connsiteY6" fmla="*/ 118609 h 119490"/>
                  <a:gd name="connsiteX7" fmla="*/ 15548 w 179236"/>
                  <a:gd name="connsiteY7" fmla="*/ 120102 h 119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36" h="119490">
                    <a:moveTo>
                      <a:pt x="15548" y="120102"/>
                    </a:moveTo>
                    <a:cubicBezTo>
                      <a:pt x="11067" y="120102"/>
                      <a:pt x="5092" y="117115"/>
                      <a:pt x="2105" y="112634"/>
                    </a:cubicBezTo>
                    <a:cubicBezTo>
                      <a:pt x="-2376" y="105166"/>
                      <a:pt x="612" y="96204"/>
                      <a:pt x="8080" y="91724"/>
                    </a:cubicBezTo>
                    <a:lnTo>
                      <a:pt x="163418" y="2105"/>
                    </a:lnTo>
                    <a:cubicBezTo>
                      <a:pt x="170886" y="-2376"/>
                      <a:pt x="179848" y="612"/>
                      <a:pt x="184329" y="8080"/>
                    </a:cubicBezTo>
                    <a:cubicBezTo>
                      <a:pt x="188810" y="15548"/>
                      <a:pt x="185822" y="24510"/>
                      <a:pt x="178354" y="28991"/>
                    </a:cubicBezTo>
                    <a:lnTo>
                      <a:pt x="23016" y="118609"/>
                    </a:lnTo>
                    <a:cubicBezTo>
                      <a:pt x="20029" y="118609"/>
                      <a:pt x="17042" y="120102"/>
                      <a:pt x="15548" y="120102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1" name="任意多边形: 形状 670"/>
              <p:cNvSpPr/>
              <p:nvPr/>
            </p:nvSpPr>
            <p:spPr>
              <a:xfrm flipH="1">
                <a:off x="7531569" y="4790537"/>
                <a:ext cx="54555" cy="27278"/>
              </a:xfrm>
              <a:custGeom>
                <a:avLst/>
                <a:gdLst>
                  <a:gd name="connsiteX0" fmla="*/ 6721 w 89618"/>
                  <a:gd name="connsiteY0" fmla="*/ 4688 h 44809"/>
                  <a:gd name="connsiteX1" fmla="*/ 6721 w 89618"/>
                  <a:gd name="connsiteY1" fmla="*/ 24105 h 44809"/>
                  <a:gd name="connsiteX2" fmla="*/ 61986 w 89618"/>
                  <a:gd name="connsiteY2" fmla="*/ 53978 h 44809"/>
                  <a:gd name="connsiteX3" fmla="*/ 96339 w 89618"/>
                  <a:gd name="connsiteY3" fmla="*/ 52484 h 44809"/>
                  <a:gd name="connsiteX4" fmla="*/ 96339 w 89618"/>
                  <a:gd name="connsiteY4" fmla="*/ 52484 h 44809"/>
                  <a:gd name="connsiteX5" fmla="*/ 96339 w 89618"/>
                  <a:gd name="connsiteY5" fmla="*/ 33067 h 44809"/>
                  <a:gd name="connsiteX6" fmla="*/ 41075 w 89618"/>
                  <a:gd name="connsiteY6" fmla="*/ 3194 h 44809"/>
                  <a:gd name="connsiteX7" fmla="*/ 6721 w 89618"/>
                  <a:gd name="connsiteY7" fmla="*/ 4688 h 44809"/>
                  <a:gd name="connsiteX8" fmla="*/ 6721 w 89618"/>
                  <a:gd name="connsiteY8" fmla="*/ 4688 h 44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618" h="44809">
                    <a:moveTo>
                      <a:pt x="6721" y="4688"/>
                    </a:moveTo>
                    <a:cubicBezTo>
                      <a:pt x="-2240" y="10662"/>
                      <a:pt x="-2240" y="19624"/>
                      <a:pt x="6721" y="24105"/>
                    </a:cubicBezTo>
                    <a:lnTo>
                      <a:pt x="61986" y="53978"/>
                    </a:lnTo>
                    <a:cubicBezTo>
                      <a:pt x="70948" y="58458"/>
                      <a:pt x="87378" y="58458"/>
                      <a:pt x="96339" y="52484"/>
                    </a:cubicBezTo>
                    <a:lnTo>
                      <a:pt x="96339" y="52484"/>
                    </a:lnTo>
                    <a:cubicBezTo>
                      <a:pt x="105301" y="46510"/>
                      <a:pt x="105301" y="37548"/>
                      <a:pt x="96339" y="33067"/>
                    </a:cubicBezTo>
                    <a:lnTo>
                      <a:pt x="41075" y="3194"/>
                    </a:lnTo>
                    <a:cubicBezTo>
                      <a:pt x="32113" y="-1287"/>
                      <a:pt x="15683" y="-1287"/>
                      <a:pt x="6721" y="4688"/>
                    </a:cubicBezTo>
                    <a:lnTo>
                      <a:pt x="6721" y="4688"/>
                    </a:lnTo>
                    <a:close/>
                  </a:path>
                </a:pathLst>
              </a:custGeom>
              <a:solidFill>
                <a:srgbClr val="432918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2" name="任意多边形: 形状 671"/>
              <p:cNvSpPr/>
              <p:nvPr/>
            </p:nvSpPr>
            <p:spPr>
              <a:xfrm flipH="1">
                <a:off x="7532023" y="4778843"/>
                <a:ext cx="54555" cy="36370"/>
              </a:xfrm>
              <a:custGeom>
                <a:avLst/>
                <a:gdLst>
                  <a:gd name="connsiteX0" fmla="*/ 101567 w 89618"/>
                  <a:gd name="connsiteY0" fmla="*/ 0 h 59745"/>
                  <a:gd name="connsiteX1" fmla="*/ 50783 w 89618"/>
                  <a:gd name="connsiteY1" fmla="*/ 13443 h 59745"/>
                  <a:gd name="connsiteX2" fmla="*/ 0 w 89618"/>
                  <a:gd name="connsiteY2" fmla="*/ 34353 h 59745"/>
                  <a:gd name="connsiteX3" fmla="*/ 103061 w 89618"/>
                  <a:gd name="connsiteY3" fmla="*/ 61239 h 59745"/>
                  <a:gd name="connsiteX4" fmla="*/ 101567 w 89618"/>
                  <a:gd name="connsiteY4" fmla="*/ 0 h 59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618" h="59745">
                    <a:moveTo>
                      <a:pt x="101567" y="0"/>
                    </a:moveTo>
                    <a:lnTo>
                      <a:pt x="50783" y="13443"/>
                    </a:lnTo>
                    <a:cubicBezTo>
                      <a:pt x="19417" y="5974"/>
                      <a:pt x="0" y="16430"/>
                      <a:pt x="0" y="34353"/>
                    </a:cubicBezTo>
                    <a:lnTo>
                      <a:pt x="103061" y="61239"/>
                    </a:lnTo>
                    <a:lnTo>
                      <a:pt x="101567" y="0"/>
                    </a:lnTo>
                    <a:close/>
                  </a:path>
                </a:pathLst>
              </a:custGeom>
              <a:solidFill>
                <a:srgbClr val="432918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3" name="任意多边形: 形状 672"/>
              <p:cNvSpPr/>
              <p:nvPr/>
            </p:nvSpPr>
            <p:spPr>
              <a:xfrm flipH="1">
                <a:off x="7518419" y="4547848"/>
                <a:ext cx="63648" cy="136389"/>
              </a:xfrm>
              <a:custGeom>
                <a:avLst/>
                <a:gdLst>
                  <a:gd name="connsiteX0" fmla="*/ 113573 w 104554"/>
                  <a:gd name="connsiteY0" fmla="*/ 215154 h 224045"/>
                  <a:gd name="connsiteX1" fmla="*/ 113573 w 104554"/>
                  <a:gd name="connsiteY1" fmla="*/ 213661 h 224045"/>
                  <a:gd name="connsiteX2" fmla="*/ 113573 w 104554"/>
                  <a:gd name="connsiteY2" fmla="*/ 215154 h 224045"/>
                  <a:gd name="connsiteX3" fmla="*/ 85194 w 104554"/>
                  <a:gd name="connsiteY3" fmla="*/ 44880 h 224045"/>
                  <a:gd name="connsiteX4" fmla="*/ 62790 w 104554"/>
                  <a:gd name="connsiteY4" fmla="*/ 9033 h 224045"/>
                  <a:gd name="connsiteX5" fmla="*/ 26942 w 104554"/>
                  <a:gd name="connsiteY5" fmla="*/ 1565 h 224045"/>
                  <a:gd name="connsiteX6" fmla="*/ 57 w 104554"/>
                  <a:gd name="connsiteY6" fmla="*/ 46374 h 224045"/>
                  <a:gd name="connsiteX7" fmla="*/ 29930 w 104554"/>
                  <a:gd name="connsiteY7" fmla="*/ 224116 h 224045"/>
                  <a:gd name="connsiteX8" fmla="*/ 29930 w 104554"/>
                  <a:gd name="connsiteY8" fmla="*/ 224116 h 224045"/>
                  <a:gd name="connsiteX9" fmla="*/ 46360 w 104554"/>
                  <a:gd name="connsiteY9" fmla="*/ 234571 h 224045"/>
                  <a:gd name="connsiteX10" fmla="*/ 56815 w 104554"/>
                  <a:gd name="connsiteY10" fmla="*/ 236065 h 224045"/>
                  <a:gd name="connsiteX11" fmla="*/ 98637 w 104554"/>
                  <a:gd name="connsiteY11" fmla="*/ 228597 h 224045"/>
                  <a:gd name="connsiteX12" fmla="*/ 104611 w 104554"/>
                  <a:gd name="connsiteY12" fmla="*/ 225610 h 224045"/>
                  <a:gd name="connsiteX13" fmla="*/ 107599 w 104554"/>
                  <a:gd name="connsiteY13" fmla="*/ 224116 h 224045"/>
                  <a:gd name="connsiteX14" fmla="*/ 113573 w 104554"/>
                  <a:gd name="connsiteY14" fmla="*/ 215154 h 224045"/>
                  <a:gd name="connsiteX15" fmla="*/ 113573 w 104554"/>
                  <a:gd name="connsiteY15" fmla="*/ 210673 h 224045"/>
                  <a:gd name="connsiteX16" fmla="*/ 113573 w 104554"/>
                  <a:gd name="connsiteY16" fmla="*/ 210673 h 224045"/>
                  <a:gd name="connsiteX17" fmla="*/ 113573 w 104554"/>
                  <a:gd name="connsiteY17" fmla="*/ 210673 h 224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4554" h="224045">
                    <a:moveTo>
                      <a:pt x="113573" y="215154"/>
                    </a:moveTo>
                    <a:cubicBezTo>
                      <a:pt x="113573" y="215154"/>
                      <a:pt x="113573" y="213661"/>
                      <a:pt x="113573" y="213661"/>
                    </a:cubicBezTo>
                    <a:cubicBezTo>
                      <a:pt x="113573" y="213661"/>
                      <a:pt x="113573" y="213661"/>
                      <a:pt x="113573" y="215154"/>
                    </a:cubicBezTo>
                    <a:cubicBezTo>
                      <a:pt x="109092" y="152421"/>
                      <a:pt x="89675" y="52348"/>
                      <a:pt x="85194" y="44880"/>
                    </a:cubicBezTo>
                    <a:cubicBezTo>
                      <a:pt x="80713" y="37412"/>
                      <a:pt x="71751" y="13514"/>
                      <a:pt x="62790" y="9033"/>
                    </a:cubicBezTo>
                    <a:cubicBezTo>
                      <a:pt x="52334" y="3058"/>
                      <a:pt x="38891" y="-2916"/>
                      <a:pt x="26942" y="1565"/>
                    </a:cubicBezTo>
                    <a:cubicBezTo>
                      <a:pt x="12006" y="6045"/>
                      <a:pt x="1551" y="31437"/>
                      <a:pt x="57" y="46374"/>
                    </a:cubicBezTo>
                    <a:cubicBezTo>
                      <a:pt x="-1437" y="61310"/>
                      <a:pt x="26942" y="221129"/>
                      <a:pt x="29930" y="224116"/>
                    </a:cubicBezTo>
                    <a:lnTo>
                      <a:pt x="29930" y="224116"/>
                    </a:lnTo>
                    <a:cubicBezTo>
                      <a:pt x="31423" y="230091"/>
                      <a:pt x="38891" y="233078"/>
                      <a:pt x="46360" y="234571"/>
                    </a:cubicBezTo>
                    <a:cubicBezTo>
                      <a:pt x="49347" y="234571"/>
                      <a:pt x="53828" y="236065"/>
                      <a:pt x="56815" y="236065"/>
                    </a:cubicBezTo>
                    <a:cubicBezTo>
                      <a:pt x="71751" y="236065"/>
                      <a:pt x="85194" y="233078"/>
                      <a:pt x="98637" y="228597"/>
                    </a:cubicBezTo>
                    <a:cubicBezTo>
                      <a:pt x="100131" y="227103"/>
                      <a:pt x="103118" y="227103"/>
                      <a:pt x="104611" y="225610"/>
                    </a:cubicBezTo>
                    <a:cubicBezTo>
                      <a:pt x="106105" y="225610"/>
                      <a:pt x="106105" y="224116"/>
                      <a:pt x="107599" y="224116"/>
                    </a:cubicBezTo>
                    <a:cubicBezTo>
                      <a:pt x="112079" y="219635"/>
                      <a:pt x="113573" y="218141"/>
                      <a:pt x="113573" y="215154"/>
                    </a:cubicBezTo>
                    <a:close/>
                    <a:moveTo>
                      <a:pt x="113573" y="210673"/>
                    </a:moveTo>
                    <a:cubicBezTo>
                      <a:pt x="113573" y="210673"/>
                      <a:pt x="113573" y="210673"/>
                      <a:pt x="113573" y="210673"/>
                    </a:cubicBezTo>
                    <a:cubicBezTo>
                      <a:pt x="113573" y="210673"/>
                      <a:pt x="113573" y="210673"/>
                      <a:pt x="113573" y="210673"/>
                    </a:cubicBezTo>
                    <a:close/>
                  </a:path>
                </a:pathLst>
              </a:custGeom>
              <a:solidFill>
                <a:srgbClr val="303030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4" name="任意多边形: 形状 673"/>
              <p:cNvSpPr/>
              <p:nvPr/>
            </p:nvSpPr>
            <p:spPr>
              <a:xfrm flipH="1">
                <a:off x="7506509" y="4691585"/>
                <a:ext cx="63648" cy="27278"/>
              </a:xfrm>
              <a:custGeom>
                <a:avLst/>
                <a:gdLst>
                  <a:gd name="connsiteX0" fmla="*/ 5884 w 104554"/>
                  <a:gd name="connsiteY0" fmla="*/ 7417 h 44809"/>
                  <a:gd name="connsiteX1" fmla="*/ 8872 w 104554"/>
                  <a:gd name="connsiteY1" fmla="*/ 26834 h 44809"/>
                  <a:gd name="connsiteX2" fmla="*/ 67124 w 104554"/>
                  <a:gd name="connsiteY2" fmla="*/ 47745 h 44809"/>
                  <a:gd name="connsiteX3" fmla="*/ 101477 w 104554"/>
                  <a:gd name="connsiteY3" fmla="*/ 41771 h 44809"/>
                  <a:gd name="connsiteX4" fmla="*/ 101477 w 104554"/>
                  <a:gd name="connsiteY4" fmla="*/ 41771 h 44809"/>
                  <a:gd name="connsiteX5" fmla="*/ 98490 w 104554"/>
                  <a:gd name="connsiteY5" fmla="*/ 22353 h 44809"/>
                  <a:gd name="connsiteX6" fmla="*/ 40238 w 104554"/>
                  <a:gd name="connsiteY6" fmla="*/ 1443 h 44809"/>
                  <a:gd name="connsiteX7" fmla="*/ 5884 w 104554"/>
                  <a:gd name="connsiteY7" fmla="*/ 7417 h 44809"/>
                  <a:gd name="connsiteX8" fmla="*/ 5884 w 104554"/>
                  <a:gd name="connsiteY8" fmla="*/ 7417 h 44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4554" h="44809">
                    <a:moveTo>
                      <a:pt x="5884" y="7417"/>
                    </a:moveTo>
                    <a:cubicBezTo>
                      <a:pt x="-3077" y="14885"/>
                      <a:pt x="-1584" y="23847"/>
                      <a:pt x="8872" y="26834"/>
                    </a:cubicBezTo>
                    <a:lnTo>
                      <a:pt x="67124" y="47745"/>
                    </a:lnTo>
                    <a:cubicBezTo>
                      <a:pt x="77579" y="50732"/>
                      <a:pt x="92515" y="49239"/>
                      <a:pt x="101477" y="41771"/>
                    </a:cubicBezTo>
                    <a:lnTo>
                      <a:pt x="101477" y="41771"/>
                    </a:lnTo>
                    <a:cubicBezTo>
                      <a:pt x="110439" y="34302"/>
                      <a:pt x="108945" y="25341"/>
                      <a:pt x="98490" y="22353"/>
                    </a:cubicBezTo>
                    <a:lnTo>
                      <a:pt x="40238" y="1443"/>
                    </a:lnTo>
                    <a:cubicBezTo>
                      <a:pt x="29783" y="-1545"/>
                      <a:pt x="14846" y="-51"/>
                      <a:pt x="5884" y="7417"/>
                    </a:cubicBezTo>
                    <a:lnTo>
                      <a:pt x="5884" y="7417"/>
                    </a:lnTo>
                    <a:close/>
                  </a:path>
                </a:pathLst>
              </a:custGeom>
              <a:solidFill>
                <a:srgbClr val="432918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5" name="任意多边形: 形状 674"/>
              <p:cNvSpPr/>
              <p:nvPr/>
            </p:nvSpPr>
            <p:spPr>
              <a:xfrm flipH="1">
                <a:off x="7505851" y="4673369"/>
                <a:ext cx="63648" cy="36370"/>
              </a:xfrm>
              <a:custGeom>
                <a:avLst/>
                <a:gdLst>
                  <a:gd name="connsiteX0" fmla="*/ 94422 w 104554"/>
                  <a:gd name="connsiteY0" fmla="*/ 0 h 59745"/>
                  <a:gd name="connsiteX1" fmla="*/ 46626 w 104554"/>
                  <a:gd name="connsiteY1" fmla="*/ 20911 h 59745"/>
                  <a:gd name="connsiteX2" fmla="*/ 323 w 104554"/>
                  <a:gd name="connsiteY2" fmla="*/ 47796 h 59745"/>
                  <a:gd name="connsiteX3" fmla="*/ 106371 w 104554"/>
                  <a:gd name="connsiteY3" fmla="*/ 59745 h 59745"/>
                  <a:gd name="connsiteX4" fmla="*/ 94422 w 104554"/>
                  <a:gd name="connsiteY4" fmla="*/ 0 h 59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554" h="59745">
                    <a:moveTo>
                      <a:pt x="94422" y="0"/>
                    </a:moveTo>
                    <a:lnTo>
                      <a:pt x="46626" y="20911"/>
                    </a:lnTo>
                    <a:cubicBezTo>
                      <a:pt x="15259" y="17924"/>
                      <a:pt x="-2664" y="31366"/>
                      <a:pt x="323" y="47796"/>
                    </a:cubicBezTo>
                    <a:lnTo>
                      <a:pt x="106371" y="59745"/>
                    </a:lnTo>
                    <a:lnTo>
                      <a:pt x="94422" y="0"/>
                    </a:lnTo>
                    <a:close/>
                  </a:path>
                </a:pathLst>
              </a:custGeom>
              <a:solidFill>
                <a:srgbClr val="432918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6" name="任意多边形: 形状 675"/>
              <p:cNvSpPr/>
              <p:nvPr/>
            </p:nvSpPr>
            <p:spPr>
              <a:xfrm flipH="1">
                <a:off x="7460191" y="4528797"/>
                <a:ext cx="100019" cy="136389"/>
              </a:xfrm>
              <a:custGeom>
                <a:avLst/>
                <a:gdLst>
                  <a:gd name="connsiteX0" fmla="*/ 144883 w 164299"/>
                  <a:gd name="connsiteY0" fmla="*/ 132933 h 224045"/>
                  <a:gd name="connsiteX1" fmla="*/ 135921 w 164299"/>
                  <a:gd name="connsiteY1" fmla="*/ 138908 h 224045"/>
                  <a:gd name="connsiteX2" fmla="*/ 79163 w 164299"/>
                  <a:gd name="connsiteY2" fmla="*/ 235994 h 224045"/>
                  <a:gd name="connsiteX3" fmla="*/ 0 w 164299"/>
                  <a:gd name="connsiteY3" fmla="*/ 209109 h 224045"/>
                  <a:gd name="connsiteX4" fmla="*/ 0 w 164299"/>
                  <a:gd name="connsiteY4" fmla="*/ 209109 h 224045"/>
                  <a:gd name="connsiteX5" fmla="*/ 37341 w 164299"/>
                  <a:gd name="connsiteY5" fmla="*/ 98580 h 224045"/>
                  <a:gd name="connsiteX6" fmla="*/ 34354 w 164299"/>
                  <a:gd name="connsiteY6" fmla="*/ 89618 h 224045"/>
                  <a:gd name="connsiteX7" fmla="*/ 25392 w 164299"/>
                  <a:gd name="connsiteY7" fmla="*/ 56758 h 224045"/>
                  <a:gd name="connsiteX8" fmla="*/ 28379 w 164299"/>
                  <a:gd name="connsiteY8" fmla="*/ 53771 h 224045"/>
                  <a:gd name="connsiteX9" fmla="*/ 70201 w 164299"/>
                  <a:gd name="connsiteY9" fmla="*/ 0 h 224045"/>
                  <a:gd name="connsiteX10" fmla="*/ 116504 w 164299"/>
                  <a:gd name="connsiteY10" fmla="*/ 32860 h 224045"/>
                  <a:gd name="connsiteX11" fmla="*/ 162806 w 164299"/>
                  <a:gd name="connsiteY11" fmla="*/ 26885 h 224045"/>
                  <a:gd name="connsiteX12" fmla="*/ 144883 w 164299"/>
                  <a:gd name="connsiteY12" fmla="*/ 132933 h 224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64299" h="224045">
                    <a:moveTo>
                      <a:pt x="144883" y="132933"/>
                    </a:moveTo>
                    <a:lnTo>
                      <a:pt x="135921" y="138908"/>
                    </a:lnTo>
                    <a:lnTo>
                      <a:pt x="79163" y="235994"/>
                    </a:lnTo>
                    <a:lnTo>
                      <a:pt x="0" y="209109"/>
                    </a:lnTo>
                    <a:lnTo>
                      <a:pt x="0" y="209109"/>
                    </a:lnTo>
                    <a:lnTo>
                      <a:pt x="37341" y="98580"/>
                    </a:lnTo>
                    <a:lnTo>
                      <a:pt x="34354" y="89618"/>
                    </a:lnTo>
                    <a:lnTo>
                      <a:pt x="25392" y="56758"/>
                    </a:lnTo>
                    <a:lnTo>
                      <a:pt x="28379" y="53771"/>
                    </a:lnTo>
                    <a:lnTo>
                      <a:pt x="70201" y="0"/>
                    </a:lnTo>
                    <a:lnTo>
                      <a:pt x="116504" y="32860"/>
                    </a:lnTo>
                    <a:lnTo>
                      <a:pt x="162806" y="26885"/>
                    </a:lnTo>
                    <a:cubicBezTo>
                      <a:pt x="162806" y="25392"/>
                      <a:pt x="192679" y="101567"/>
                      <a:pt x="144883" y="132933"/>
                    </a:cubicBezTo>
                    <a:close/>
                  </a:path>
                </a:pathLst>
              </a:custGeom>
              <a:solidFill>
                <a:srgbClr val="3C3C3B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7" name="任意多边形: 形状 676"/>
              <p:cNvSpPr/>
              <p:nvPr/>
            </p:nvSpPr>
            <p:spPr>
              <a:xfrm flipH="1">
                <a:off x="7526024" y="4774688"/>
                <a:ext cx="45463" cy="27278"/>
              </a:xfrm>
              <a:custGeom>
                <a:avLst/>
                <a:gdLst>
                  <a:gd name="connsiteX0" fmla="*/ 15538 w 74681"/>
                  <a:gd name="connsiteY0" fmla="*/ 2344 h 44809"/>
                  <a:gd name="connsiteX1" fmla="*/ 9563 w 74681"/>
                  <a:gd name="connsiteY1" fmla="*/ 35204 h 44809"/>
                  <a:gd name="connsiteX2" fmla="*/ 67815 w 74681"/>
                  <a:gd name="connsiteY2" fmla="*/ 47153 h 44809"/>
                  <a:gd name="connsiteX3" fmla="*/ 73790 w 74681"/>
                  <a:gd name="connsiteY3" fmla="*/ 14293 h 44809"/>
                  <a:gd name="connsiteX4" fmla="*/ 15538 w 74681"/>
                  <a:gd name="connsiteY4" fmla="*/ 2344 h 44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681" h="44809">
                    <a:moveTo>
                      <a:pt x="15538" y="2344"/>
                    </a:moveTo>
                    <a:cubicBezTo>
                      <a:pt x="-2386" y="8319"/>
                      <a:pt x="-5373" y="23255"/>
                      <a:pt x="9563" y="35204"/>
                    </a:cubicBezTo>
                    <a:cubicBezTo>
                      <a:pt x="23006" y="47153"/>
                      <a:pt x="49892" y="53128"/>
                      <a:pt x="67815" y="47153"/>
                    </a:cubicBezTo>
                    <a:cubicBezTo>
                      <a:pt x="85739" y="41178"/>
                      <a:pt x="88726" y="26242"/>
                      <a:pt x="73790" y="14293"/>
                    </a:cubicBezTo>
                    <a:cubicBezTo>
                      <a:pt x="58853" y="2344"/>
                      <a:pt x="31968" y="-3631"/>
                      <a:pt x="15538" y="2344"/>
                    </a:cubicBezTo>
                    <a:close/>
                  </a:path>
                </a:pathLst>
              </a:custGeom>
              <a:solidFill>
                <a:srgbClr val="3C3C3B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8" name="任意多边形: 形状 677"/>
              <p:cNvSpPr/>
              <p:nvPr/>
            </p:nvSpPr>
            <p:spPr>
              <a:xfrm flipH="1">
                <a:off x="7516636" y="4643364"/>
                <a:ext cx="54555" cy="145481"/>
              </a:xfrm>
              <a:custGeom>
                <a:avLst/>
                <a:gdLst>
                  <a:gd name="connsiteX0" fmla="*/ 80772 w 89618"/>
                  <a:gd name="connsiteY0" fmla="*/ 249437 h 238981"/>
                  <a:gd name="connsiteX1" fmla="*/ 98695 w 89618"/>
                  <a:gd name="connsiteY1" fmla="*/ 43316 h 238981"/>
                  <a:gd name="connsiteX2" fmla="*/ 83759 w 89618"/>
                  <a:gd name="connsiteY2" fmla="*/ 16430 h 238981"/>
                  <a:gd name="connsiteX3" fmla="*/ 50899 w 89618"/>
                  <a:gd name="connsiteY3" fmla="*/ 0 h 238981"/>
                  <a:gd name="connsiteX4" fmla="*/ 16545 w 89618"/>
                  <a:gd name="connsiteY4" fmla="*/ 23898 h 238981"/>
                  <a:gd name="connsiteX5" fmla="*/ 115 w 89618"/>
                  <a:gd name="connsiteY5" fmla="*/ 231514 h 238981"/>
                  <a:gd name="connsiteX6" fmla="*/ 9077 w 89618"/>
                  <a:gd name="connsiteY6" fmla="*/ 243462 h 238981"/>
                  <a:gd name="connsiteX7" fmla="*/ 80772 w 89618"/>
                  <a:gd name="connsiteY7" fmla="*/ 249437 h 238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9618" h="238981">
                    <a:moveTo>
                      <a:pt x="80772" y="249437"/>
                    </a:moveTo>
                    <a:cubicBezTo>
                      <a:pt x="91227" y="188198"/>
                      <a:pt x="101682" y="50784"/>
                      <a:pt x="98695" y="43316"/>
                    </a:cubicBezTo>
                    <a:cubicBezTo>
                      <a:pt x="95708" y="34354"/>
                      <a:pt x="89733" y="22405"/>
                      <a:pt x="83759" y="16430"/>
                    </a:cubicBezTo>
                    <a:cubicBezTo>
                      <a:pt x="74797" y="7468"/>
                      <a:pt x="62848" y="0"/>
                      <a:pt x="50899" y="0"/>
                    </a:cubicBezTo>
                    <a:cubicBezTo>
                      <a:pt x="35963" y="0"/>
                      <a:pt x="22520" y="10455"/>
                      <a:pt x="16545" y="23898"/>
                    </a:cubicBezTo>
                    <a:cubicBezTo>
                      <a:pt x="12064" y="38835"/>
                      <a:pt x="-1378" y="222552"/>
                      <a:pt x="115" y="231514"/>
                    </a:cubicBezTo>
                    <a:cubicBezTo>
                      <a:pt x="1609" y="240475"/>
                      <a:pt x="1609" y="240475"/>
                      <a:pt x="9077" y="243462"/>
                    </a:cubicBezTo>
                    <a:lnTo>
                      <a:pt x="80772" y="249437"/>
                    </a:lnTo>
                    <a:close/>
                  </a:path>
                </a:pathLst>
              </a:custGeom>
              <a:solidFill>
                <a:srgbClr val="3C3C3B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9" name="任意多边形: 形状 678"/>
              <p:cNvSpPr/>
              <p:nvPr/>
            </p:nvSpPr>
            <p:spPr>
              <a:xfrm flipH="1">
                <a:off x="7467465" y="4524251"/>
                <a:ext cx="81833" cy="45463"/>
              </a:xfrm>
              <a:custGeom>
                <a:avLst/>
                <a:gdLst>
                  <a:gd name="connsiteX0" fmla="*/ 144882 w 134427"/>
                  <a:gd name="connsiteY0" fmla="*/ 32860 h 74681"/>
                  <a:gd name="connsiteX1" fmla="*/ 11949 w 134427"/>
                  <a:gd name="connsiteY1" fmla="*/ 77669 h 74681"/>
                  <a:gd name="connsiteX2" fmla="*/ 0 w 134427"/>
                  <a:gd name="connsiteY2" fmla="*/ 37341 h 74681"/>
                  <a:gd name="connsiteX3" fmla="*/ 2987 w 134427"/>
                  <a:gd name="connsiteY3" fmla="*/ 34353 h 74681"/>
                  <a:gd name="connsiteX4" fmla="*/ 38835 w 134427"/>
                  <a:gd name="connsiteY4" fmla="*/ 29873 h 74681"/>
                  <a:gd name="connsiteX5" fmla="*/ 65720 w 134427"/>
                  <a:gd name="connsiteY5" fmla="*/ 23898 h 74681"/>
                  <a:gd name="connsiteX6" fmla="*/ 91112 w 134427"/>
                  <a:gd name="connsiteY6" fmla="*/ 11949 h 74681"/>
                  <a:gd name="connsiteX7" fmla="*/ 97086 w 134427"/>
                  <a:gd name="connsiteY7" fmla="*/ 16430 h 74681"/>
                  <a:gd name="connsiteX8" fmla="*/ 137414 w 134427"/>
                  <a:gd name="connsiteY8" fmla="*/ 0 h 74681"/>
                  <a:gd name="connsiteX9" fmla="*/ 144882 w 134427"/>
                  <a:gd name="connsiteY9" fmla="*/ 32860 h 74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427" h="74681">
                    <a:moveTo>
                      <a:pt x="144882" y="32860"/>
                    </a:moveTo>
                    <a:cubicBezTo>
                      <a:pt x="143389" y="52277"/>
                      <a:pt x="49290" y="103061"/>
                      <a:pt x="11949" y="77669"/>
                    </a:cubicBezTo>
                    <a:lnTo>
                      <a:pt x="0" y="37341"/>
                    </a:lnTo>
                    <a:lnTo>
                      <a:pt x="2987" y="34353"/>
                    </a:lnTo>
                    <a:cubicBezTo>
                      <a:pt x="14936" y="32860"/>
                      <a:pt x="26885" y="31366"/>
                      <a:pt x="38835" y="29873"/>
                    </a:cubicBezTo>
                    <a:cubicBezTo>
                      <a:pt x="47796" y="28379"/>
                      <a:pt x="56758" y="26885"/>
                      <a:pt x="65720" y="23898"/>
                    </a:cubicBezTo>
                    <a:cubicBezTo>
                      <a:pt x="74682" y="20911"/>
                      <a:pt x="83644" y="16430"/>
                      <a:pt x="91112" y="11949"/>
                    </a:cubicBezTo>
                    <a:lnTo>
                      <a:pt x="97086" y="16430"/>
                    </a:lnTo>
                    <a:lnTo>
                      <a:pt x="137414" y="0"/>
                    </a:lnTo>
                    <a:lnTo>
                      <a:pt x="144882" y="32860"/>
                    </a:lnTo>
                    <a:close/>
                  </a:path>
                </a:pathLst>
              </a:custGeom>
              <a:solidFill>
                <a:srgbClr val="432918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0" name="任意多边形: 形状 679"/>
              <p:cNvSpPr/>
              <p:nvPr/>
            </p:nvSpPr>
            <p:spPr>
              <a:xfrm flipH="1">
                <a:off x="7553845" y="4404228"/>
                <a:ext cx="109111" cy="36370"/>
              </a:xfrm>
              <a:custGeom>
                <a:avLst/>
                <a:gdLst>
                  <a:gd name="connsiteX0" fmla="*/ 150857 w 179236"/>
                  <a:gd name="connsiteY0" fmla="*/ 70201 h 59745"/>
                  <a:gd name="connsiteX1" fmla="*/ 131440 w 179236"/>
                  <a:gd name="connsiteY1" fmla="*/ 68707 h 59745"/>
                  <a:gd name="connsiteX2" fmla="*/ 29873 w 179236"/>
                  <a:gd name="connsiteY2" fmla="*/ 62733 h 59745"/>
                  <a:gd name="connsiteX3" fmla="*/ 17924 w 179236"/>
                  <a:gd name="connsiteY3" fmla="*/ 59745 h 59745"/>
                  <a:gd name="connsiteX4" fmla="*/ 0 w 179236"/>
                  <a:gd name="connsiteY4" fmla="*/ 35847 h 59745"/>
                  <a:gd name="connsiteX5" fmla="*/ 0 w 179236"/>
                  <a:gd name="connsiteY5" fmla="*/ 29873 h 59745"/>
                  <a:gd name="connsiteX6" fmla="*/ 11949 w 179236"/>
                  <a:gd name="connsiteY6" fmla="*/ 7468 h 59745"/>
                  <a:gd name="connsiteX7" fmla="*/ 32860 w 179236"/>
                  <a:gd name="connsiteY7" fmla="*/ 1494 h 59745"/>
                  <a:gd name="connsiteX8" fmla="*/ 37341 w 179236"/>
                  <a:gd name="connsiteY8" fmla="*/ 1494 h 59745"/>
                  <a:gd name="connsiteX9" fmla="*/ 43315 w 179236"/>
                  <a:gd name="connsiteY9" fmla="*/ 1494 h 59745"/>
                  <a:gd name="connsiteX10" fmla="*/ 128452 w 179236"/>
                  <a:gd name="connsiteY10" fmla="*/ 0 h 59745"/>
                  <a:gd name="connsiteX11" fmla="*/ 158325 w 179236"/>
                  <a:gd name="connsiteY11" fmla="*/ 1494 h 59745"/>
                  <a:gd name="connsiteX12" fmla="*/ 180730 w 179236"/>
                  <a:gd name="connsiteY12" fmla="*/ 35847 h 59745"/>
                  <a:gd name="connsiteX13" fmla="*/ 180730 w 179236"/>
                  <a:gd name="connsiteY13" fmla="*/ 41822 h 59745"/>
                  <a:gd name="connsiteX14" fmla="*/ 150857 w 179236"/>
                  <a:gd name="connsiteY14" fmla="*/ 70201 h 59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9236" h="59745">
                    <a:moveTo>
                      <a:pt x="150857" y="70201"/>
                    </a:moveTo>
                    <a:lnTo>
                      <a:pt x="131440" y="68707"/>
                    </a:lnTo>
                    <a:lnTo>
                      <a:pt x="29873" y="62733"/>
                    </a:lnTo>
                    <a:cubicBezTo>
                      <a:pt x="25392" y="62733"/>
                      <a:pt x="20911" y="61239"/>
                      <a:pt x="17924" y="59745"/>
                    </a:cubicBezTo>
                    <a:cubicBezTo>
                      <a:pt x="8962" y="55265"/>
                      <a:pt x="1493" y="46303"/>
                      <a:pt x="0" y="35847"/>
                    </a:cubicBezTo>
                    <a:cubicBezTo>
                      <a:pt x="0" y="34354"/>
                      <a:pt x="0" y="31366"/>
                      <a:pt x="0" y="29873"/>
                    </a:cubicBezTo>
                    <a:cubicBezTo>
                      <a:pt x="0" y="20911"/>
                      <a:pt x="4481" y="11949"/>
                      <a:pt x="11949" y="7468"/>
                    </a:cubicBezTo>
                    <a:cubicBezTo>
                      <a:pt x="17924" y="2987"/>
                      <a:pt x="25392" y="0"/>
                      <a:pt x="32860" y="1494"/>
                    </a:cubicBezTo>
                    <a:lnTo>
                      <a:pt x="37341" y="1494"/>
                    </a:lnTo>
                    <a:lnTo>
                      <a:pt x="43315" y="1494"/>
                    </a:lnTo>
                    <a:lnTo>
                      <a:pt x="128452" y="0"/>
                    </a:lnTo>
                    <a:lnTo>
                      <a:pt x="158325" y="1494"/>
                    </a:lnTo>
                    <a:cubicBezTo>
                      <a:pt x="173261" y="2987"/>
                      <a:pt x="179236" y="20911"/>
                      <a:pt x="180730" y="35847"/>
                    </a:cubicBezTo>
                    <a:cubicBezTo>
                      <a:pt x="180730" y="37341"/>
                      <a:pt x="180730" y="38835"/>
                      <a:pt x="180730" y="41822"/>
                    </a:cubicBezTo>
                    <a:cubicBezTo>
                      <a:pt x="183717" y="58252"/>
                      <a:pt x="168781" y="71694"/>
                      <a:pt x="150857" y="70201"/>
                    </a:cubicBezTo>
                    <a:close/>
                  </a:path>
                </a:pathLst>
              </a:custGeom>
              <a:solidFill>
                <a:srgbClr val="1B89B8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1" name="任意多边形: 形状 680"/>
              <p:cNvSpPr/>
              <p:nvPr/>
            </p:nvSpPr>
            <p:spPr>
              <a:xfrm flipH="1">
                <a:off x="7465647" y="4376936"/>
                <a:ext cx="118203" cy="181852"/>
              </a:xfrm>
              <a:custGeom>
                <a:avLst/>
                <a:gdLst>
                  <a:gd name="connsiteX0" fmla="*/ 207615 w 194172"/>
                  <a:gd name="connsiteY0" fmla="*/ 240499 h 298726"/>
                  <a:gd name="connsiteX1" fmla="*/ 200147 w 194172"/>
                  <a:gd name="connsiteY1" fmla="*/ 259916 h 298726"/>
                  <a:gd name="connsiteX2" fmla="*/ 159819 w 194172"/>
                  <a:gd name="connsiteY2" fmla="*/ 292776 h 298726"/>
                  <a:gd name="connsiteX3" fmla="*/ 109035 w 194172"/>
                  <a:gd name="connsiteY3" fmla="*/ 310699 h 298726"/>
                  <a:gd name="connsiteX4" fmla="*/ 62733 w 194172"/>
                  <a:gd name="connsiteY4" fmla="*/ 307712 h 298726"/>
                  <a:gd name="connsiteX5" fmla="*/ 40328 w 194172"/>
                  <a:gd name="connsiteY5" fmla="*/ 279333 h 298726"/>
                  <a:gd name="connsiteX6" fmla="*/ 23898 w 194172"/>
                  <a:gd name="connsiteY6" fmla="*/ 201664 h 298726"/>
                  <a:gd name="connsiteX7" fmla="*/ 13443 w 194172"/>
                  <a:gd name="connsiteY7" fmla="*/ 152374 h 298726"/>
                  <a:gd name="connsiteX8" fmla="*/ 1493 w 194172"/>
                  <a:gd name="connsiteY8" fmla="*/ 97110 h 298726"/>
                  <a:gd name="connsiteX9" fmla="*/ 0 w 194172"/>
                  <a:gd name="connsiteY9" fmla="*/ 85161 h 298726"/>
                  <a:gd name="connsiteX10" fmla="*/ 19417 w 194172"/>
                  <a:gd name="connsiteY10" fmla="*/ 53794 h 298726"/>
                  <a:gd name="connsiteX11" fmla="*/ 59745 w 194172"/>
                  <a:gd name="connsiteY11" fmla="*/ 19441 h 298726"/>
                  <a:gd name="connsiteX12" fmla="*/ 128452 w 194172"/>
                  <a:gd name="connsiteY12" fmla="*/ 23 h 298726"/>
                  <a:gd name="connsiteX13" fmla="*/ 168781 w 194172"/>
                  <a:gd name="connsiteY13" fmla="*/ 47820 h 298726"/>
                  <a:gd name="connsiteX14" fmla="*/ 201640 w 194172"/>
                  <a:gd name="connsiteY14" fmla="*/ 209132 h 298726"/>
                  <a:gd name="connsiteX15" fmla="*/ 207615 w 194172"/>
                  <a:gd name="connsiteY15" fmla="*/ 240499 h 298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4172" h="298726">
                    <a:moveTo>
                      <a:pt x="207615" y="240499"/>
                    </a:moveTo>
                    <a:cubicBezTo>
                      <a:pt x="207615" y="247967"/>
                      <a:pt x="204628" y="253941"/>
                      <a:pt x="200147" y="259916"/>
                    </a:cubicBezTo>
                    <a:cubicBezTo>
                      <a:pt x="188198" y="273358"/>
                      <a:pt x="174755" y="283814"/>
                      <a:pt x="159819" y="292776"/>
                    </a:cubicBezTo>
                    <a:cubicBezTo>
                      <a:pt x="144882" y="301738"/>
                      <a:pt x="126959" y="307712"/>
                      <a:pt x="109035" y="310699"/>
                    </a:cubicBezTo>
                    <a:cubicBezTo>
                      <a:pt x="94099" y="313687"/>
                      <a:pt x="77669" y="315180"/>
                      <a:pt x="62733" y="307712"/>
                    </a:cubicBezTo>
                    <a:cubicBezTo>
                      <a:pt x="52277" y="301738"/>
                      <a:pt x="44809" y="291282"/>
                      <a:pt x="40328" y="279333"/>
                    </a:cubicBezTo>
                    <a:cubicBezTo>
                      <a:pt x="26885" y="249460"/>
                      <a:pt x="31366" y="237511"/>
                      <a:pt x="23898" y="201664"/>
                    </a:cubicBezTo>
                    <a:cubicBezTo>
                      <a:pt x="20911" y="185234"/>
                      <a:pt x="16430" y="168804"/>
                      <a:pt x="13443" y="152374"/>
                    </a:cubicBezTo>
                    <a:cubicBezTo>
                      <a:pt x="8962" y="134450"/>
                      <a:pt x="5974" y="115033"/>
                      <a:pt x="1493" y="97110"/>
                    </a:cubicBezTo>
                    <a:cubicBezTo>
                      <a:pt x="0" y="92629"/>
                      <a:pt x="0" y="89641"/>
                      <a:pt x="0" y="85161"/>
                    </a:cubicBezTo>
                    <a:cubicBezTo>
                      <a:pt x="0" y="74705"/>
                      <a:pt x="11949" y="61262"/>
                      <a:pt x="19417" y="53794"/>
                    </a:cubicBezTo>
                    <a:cubicBezTo>
                      <a:pt x="31366" y="40352"/>
                      <a:pt x="46303" y="29896"/>
                      <a:pt x="59745" y="19441"/>
                    </a:cubicBezTo>
                    <a:cubicBezTo>
                      <a:pt x="88124" y="-1470"/>
                      <a:pt x="109035" y="23"/>
                      <a:pt x="128452" y="23"/>
                    </a:cubicBezTo>
                    <a:cubicBezTo>
                      <a:pt x="153844" y="1517"/>
                      <a:pt x="164300" y="26909"/>
                      <a:pt x="168781" y="47820"/>
                    </a:cubicBezTo>
                    <a:cubicBezTo>
                      <a:pt x="182223" y="106071"/>
                      <a:pt x="186704" y="150880"/>
                      <a:pt x="201640" y="209132"/>
                    </a:cubicBezTo>
                    <a:cubicBezTo>
                      <a:pt x="206122" y="218094"/>
                      <a:pt x="207615" y="230043"/>
                      <a:pt x="207615" y="240499"/>
                    </a:cubicBezTo>
                    <a:close/>
                  </a:path>
                </a:pathLst>
              </a:custGeom>
              <a:solidFill>
                <a:srgbClr val="1B89B8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2" name="任意多边形: 形状 681"/>
              <p:cNvSpPr/>
              <p:nvPr/>
            </p:nvSpPr>
            <p:spPr>
              <a:xfrm flipH="1">
                <a:off x="7539701" y="4308675"/>
                <a:ext cx="45463" cy="72741"/>
              </a:xfrm>
              <a:custGeom>
                <a:avLst/>
                <a:gdLst>
                  <a:gd name="connsiteX0" fmla="*/ 84307 w 74681"/>
                  <a:gd name="connsiteY0" fmla="*/ 53906 h 119490"/>
                  <a:gd name="connsiteX1" fmla="*/ 85801 w 74681"/>
                  <a:gd name="connsiteY1" fmla="*/ 82284 h 119490"/>
                  <a:gd name="connsiteX2" fmla="*/ 78333 w 74681"/>
                  <a:gd name="connsiteY2" fmla="*/ 109170 h 119490"/>
                  <a:gd name="connsiteX3" fmla="*/ 52941 w 74681"/>
                  <a:gd name="connsiteY3" fmla="*/ 127094 h 119490"/>
                  <a:gd name="connsiteX4" fmla="*/ 42486 w 74681"/>
                  <a:gd name="connsiteY4" fmla="*/ 128587 h 119490"/>
                  <a:gd name="connsiteX5" fmla="*/ 33524 w 74681"/>
                  <a:gd name="connsiteY5" fmla="*/ 127094 h 119490"/>
                  <a:gd name="connsiteX6" fmla="*/ 23068 w 74681"/>
                  <a:gd name="connsiteY6" fmla="*/ 116638 h 119490"/>
                  <a:gd name="connsiteX7" fmla="*/ 23068 w 74681"/>
                  <a:gd name="connsiteY7" fmla="*/ 116638 h 119490"/>
                  <a:gd name="connsiteX8" fmla="*/ 21575 w 74681"/>
                  <a:gd name="connsiteY8" fmla="*/ 113651 h 119490"/>
                  <a:gd name="connsiteX9" fmla="*/ 664 w 74681"/>
                  <a:gd name="connsiteY9" fmla="*/ 37475 h 119490"/>
                  <a:gd name="connsiteX10" fmla="*/ 664 w 74681"/>
                  <a:gd name="connsiteY10" fmla="*/ 25527 h 119490"/>
                  <a:gd name="connsiteX11" fmla="*/ 23068 w 74681"/>
                  <a:gd name="connsiteY11" fmla="*/ 1628 h 119490"/>
                  <a:gd name="connsiteX12" fmla="*/ 57422 w 74681"/>
                  <a:gd name="connsiteY12" fmla="*/ 3122 h 119490"/>
                  <a:gd name="connsiteX13" fmla="*/ 66384 w 74681"/>
                  <a:gd name="connsiteY13" fmla="*/ 6109 h 119490"/>
                  <a:gd name="connsiteX14" fmla="*/ 73852 w 74681"/>
                  <a:gd name="connsiteY14" fmla="*/ 12084 h 119490"/>
                  <a:gd name="connsiteX15" fmla="*/ 84307 w 74681"/>
                  <a:gd name="connsiteY15" fmla="*/ 53906 h 119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4681" h="119490">
                    <a:moveTo>
                      <a:pt x="84307" y="53906"/>
                    </a:moveTo>
                    <a:cubicBezTo>
                      <a:pt x="85801" y="62867"/>
                      <a:pt x="85801" y="71829"/>
                      <a:pt x="85801" y="82284"/>
                    </a:cubicBezTo>
                    <a:cubicBezTo>
                      <a:pt x="85801" y="91246"/>
                      <a:pt x="82814" y="100208"/>
                      <a:pt x="78333" y="109170"/>
                    </a:cubicBezTo>
                    <a:cubicBezTo>
                      <a:pt x="72358" y="118132"/>
                      <a:pt x="63396" y="124106"/>
                      <a:pt x="52941" y="127094"/>
                    </a:cubicBezTo>
                    <a:cubicBezTo>
                      <a:pt x="49954" y="128587"/>
                      <a:pt x="46967" y="128587"/>
                      <a:pt x="42486" y="128587"/>
                    </a:cubicBezTo>
                    <a:cubicBezTo>
                      <a:pt x="39498" y="128587"/>
                      <a:pt x="36511" y="128587"/>
                      <a:pt x="33524" y="127094"/>
                    </a:cubicBezTo>
                    <a:cubicBezTo>
                      <a:pt x="29043" y="125600"/>
                      <a:pt x="26056" y="121119"/>
                      <a:pt x="23068" y="116638"/>
                    </a:cubicBezTo>
                    <a:cubicBezTo>
                      <a:pt x="23068" y="116638"/>
                      <a:pt x="23068" y="116638"/>
                      <a:pt x="23068" y="116638"/>
                    </a:cubicBezTo>
                    <a:cubicBezTo>
                      <a:pt x="23068" y="115145"/>
                      <a:pt x="21575" y="115145"/>
                      <a:pt x="21575" y="113651"/>
                    </a:cubicBezTo>
                    <a:cubicBezTo>
                      <a:pt x="9626" y="89753"/>
                      <a:pt x="3651" y="64361"/>
                      <a:pt x="664" y="37475"/>
                    </a:cubicBezTo>
                    <a:cubicBezTo>
                      <a:pt x="664" y="32995"/>
                      <a:pt x="-830" y="30007"/>
                      <a:pt x="664" y="25527"/>
                    </a:cubicBezTo>
                    <a:cubicBezTo>
                      <a:pt x="2158" y="13577"/>
                      <a:pt x="12613" y="4616"/>
                      <a:pt x="23068" y="1628"/>
                    </a:cubicBezTo>
                    <a:cubicBezTo>
                      <a:pt x="33524" y="-1359"/>
                      <a:pt x="45473" y="135"/>
                      <a:pt x="57422" y="3122"/>
                    </a:cubicBezTo>
                    <a:cubicBezTo>
                      <a:pt x="60409" y="4616"/>
                      <a:pt x="63396" y="4616"/>
                      <a:pt x="66384" y="6109"/>
                    </a:cubicBezTo>
                    <a:cubicBezTo>
                      <a:pt x="69371" y="7603"/>
                      <a:pt x="70865" y="10590"/>
                      <a:pt x="73852" y="12084"/>
                    </a:cubicBezTo>
                    <a:cubicBezTo>
                      <a:pt x="76839" y="12084"/>
                      <a:pt x="81320" y="40463"/>
                      <a:pt x="84307" y="53906"/>
                    </a:cubicBezTo>
                    <a:close/>
                  </a:path>
                </a:pathLst>
              </a:custGeom>
              <a:solidFill>
                <a:srgbClr val="FFCEA1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3" name="任意多边形: 形状 682"/>
              <p:cNvSpPr/>
              <p:nvPr/>
            </p:nvSpPr>
            <p:spPr>
              <a:xfrm flipH="1">
                <a:off x="7554754" y="4387862"/>
                <a:ext cx="9092" cy="9092"/>
              </a:xfrm>
              <a:custGeom>
                <a:avLst/>
                <a:gdLst>
                  <a:gd name="connsiteX0" fmla="*/ 0 w 0"/>
                  <a:gd name="connsiteY0" fmla="*/ 0 h 0"/>
                  <a:gd name="connsiteX1" fmla="*/ 0 w 0"/>
                  <a:gd name="connsiteY1" fmla="*/ 0 h 0"/>
                  <a:gd name="connsiteX2" fmla="*/ 0 w 0"/>
                  <a:gd name="connsiteY2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CEA1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4" name="任意多边形: 形状 683"/>
              <p:cNvSpPr/>
              <p:nvPr/>
            </p:nvSpPr>
            <p:spPr>
              <a:xfrm flipH="1">
                <a:off x="7552936" y="4358765"/>
                <a:ext cx="18185" cy="18185"/>
              </a:xfrm>
              <a:custGeom>
                <a:avLst/>
                <a:gdLst>
                  <a:gd name="connsiteX0" fmla="*/ 28379 w 29872"/>
                  <a:gd name="connsiteY0" fmla="*/ 20911 h 29872"/>
                  <a:gd name="connsiteX1" fmla="*/ 31366 w 29872"/>
                  <a:gd name="connsiteY1" fmla="*/ 37341 h 29872"/>
                  <a:gd name="connsiteX2" fmla="*/ 31366 w 29872"/>
                  <a:gd name="connsiteY2" fmla="*/ 40328 h 29872"/>
                  <a:gd name="connsiteX3" fmla="*/ 29873 w 29872"/>
                  <a:gd name="connsiteY3" fmla="*/ 41822 h 29872"/>
                  <a:gd name="connsiteX4" fmla="*/ 19417 w 29872"/>
                  <a:gd name="connsiteY4" fmla="*/ 43316 h 29872"/>
                  <a:gd name="connsiteX5" fmla="*/ 10455 w 29872"/>
                  <a:gd name="connsiteY5" fmla="*/ 41822 h 29872"/>
                  <a:gd name="connsiteX6" fmla="*/ 0 w 29872"/>
                  <a:gd name="connsiteY6" fmla="*/ 31366 h 29872"/>
                  <a:gd name="connsiteX7" fmla="*/ 0 w 29872"/>
                  <a:gd name="connsiteY7" fmla="*/ 31366 h 29872"/>
                  <a:gd name="connsiteX8" fmla="*/ 14936 w 29872"/>
                  <a:gd name="connsiteY8" fmla="*/ 0 h 29872"/>
                  <a:gd name="connsiteX9" fmla="*/ 28379 w 29872"/>
                  <a:gd name="connsiteY9" fmla="*/ 20911 h 2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872" h="29872">
                    <a:moveTo>
                      <a:pt x="28379" y="20911"/>
                    </a:moveTo>
                    <a:cubicBezTo>
                      <a:pt x="29873" y="26885"/>
                      <a:pt x="29873" y="31366"/>
                      <a:pt x="31366" y="37341"/>
                    </a:cubicBezTo>
                    <a:cubicBezTo>
                      <a:pt x="31366" y="38835"/>
                      <a:pt x="31366" y="40328"/>
                      <a:pt x="31366" y="40328"/>
                    </a:cubicBezTo>
                    <a:cubicBezTo>
                      <a:pt x="31366" y="40328"/>
                      <a:pt x="31366" y="41822"/>
                      <a:pt x="29873" y="41822"/>
                    </a:cubicBezTo>
                    <a:cubicBezTo>
                      <a:pt x="26885" y="43316"/>
                      <a:pt x="23898" y="43316"/>
                      <a:pt x="19417" y="43316"/>
                    </a:cubicBezTo>
                    <a:cubicBezTo>
                      <a:pt x="16430" y="43316"/>
                      <a:pt x="13443" y="43316"/>
                      <a:pt x="10455" y="41822"/>
                    </a:cubicBezTo>
                    <a:cubicBezTo>
                      <a:pt x="5975" y="40328"/>
                      <a:pt x="2987" y="35847"/>
                      <a:pt x="0" y="31366"/>
                    </a:cubicBezTo>
                    <a:cubicBezTo>
                      <a:pt x="0" y="31366"/>
                      <a:pt x="0" y="31366"/>
                      <a:pt x="0" y="31366"/>
                    </a:cubicBezTo>
                    <a:cubicBezTo>
                      <a:pt x="11949" y="40328"/>
                      <a:pt x="17924" y="29873"/>
                      <a:pt x="14936" y="0"/>
                    </a:cubicBezTo>
                    <a:cubicBezTo>
                      <a:pt x="19417" y="13443"/>
                      <a:pt x="25392" y="7468"/>
                      <a:pt x="28379" y="20911"/>
                    </a:cubicBezTo>
                    <a:close/>
                  </a:path>
                </a:pathLst>
              </a:custGeom>
              <a:solidFill>
                <a:srgbClr val="1D1D1B">
                  <a:alpha val="10000"/>
                </a:srgbClr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5" name="任意多边形: 形状 684"/>
              <p:cNvSpPr/>
              <p:nvPr/>
            </p:nvSpPr>
            <p:spPr>
              <a:xfrm flipH="1">
                <a:off x="7518971" y="4336531"/>
                <a:ext cx="45463" cy="54555"/>
              </a:xfrm>
              <a:custGeom>
                <a:avLst/>
                <a:gdLst>
                  <a:gd name="connsiteX0" fmla="*/ 0 w 74681"/>
                  <a:gd name="connsiteY0" fmla="*/ 11182 h 89618"/>
                  <a:gd name="connsiteX1" fmla="*/ 63243 w 74681"/>
                  <a:gd name="connsiteY1" fmla="*/ 0 h 89618"/>
                  <a:gd name="connsiteX2" fmla="*/ 77806 w 74681"/>
                  <a:gd name="connsiteY2" fmla="*/ 82364 h 89618"/>
                  <a:gd name="connsiteX3" fmla="*/ 14562 w 74681"/>
                  <a:gd name="connsiteY3" fmla="*/ 93546 h 89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681" h="89618">
                    <a:moveTo>
                      <a:pt x="0" y="11182"/>
                    </a:moveTo>
                    <a:lnTo>
                      <a:pt x="63243" y="0"/>
                    </a:lnTo>
                    <a:lnTo>
                      <a:pt x="77806" y="82364"/>
                    </a:lnTo>
                    <a:lnTo>
                      <a:pt x="14562" y="93546"/>
                    </a:lnTo>
                    <a:close/>
                  </a:path>
                </a:pathLst>
              </a:custGeom>
              <a:solidFill>
                <a:srgbClr val="FFCEA1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6" name="任意多边形: 形状 685"/>
              <p:cNvSpPr/>
              <p:nvPr/>
            </p:nvSpPr>
            <p:spPr>
              <a:xfrm flipH="1">
                <a:off x="7519304" y="4377516"/>
                <a:ext cx="36370" cy="18185"/>
              </a:xfrm>
              <a:custGeom>
                <a:avLst/>
                <a:gdLst>
                  <a:gd name="connsiteX0" fmla="*/ 52295 w 59745"/>
                  <a:gd name="connsiteY0" fmla="*/ 2059 h 29872"/>
                  <a:gd name="connsiteX1" fmla="*/ 56776 w 59745"/>
                  <a:gd name="connsiteY1" fmla="*/ 27450 h 29872"/>
                  <a:gd name="connsiteX2" fmla="*/ 11966 w 59745"/>
                  <a:gd name="connsiteY2" fmla="*/ 34919 h 29872"/>
                  <a:gd name="connsiteX3" fmla="*/ 7486 w 59745"/>
                  <a:gd name="connsiteY3" fmla="*/ 9527 h 29872"/>
                  <a:gd name="connsiteX4" fmla="*/ 52295 w 59745"/>
                  <a:gd name="connsiteY4" fmla="*/ 2059 h 2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745" h="29872">
                    <a:moveTo>
                      <a:pt x="52295" y="2059"/>
                    </a:moveTo>
                    <a:cubicBezTo>
                      <a:pt x="65737" y="6539"/>
                      <a:pt x="68725" y="18489"/>
                      <a:pt x="56776" y="27450"/>
                    </a:cubicBezTo>
                    <a:cubicBezTo>
                      <a:pt x="44826" y="36412"/>
                      <a:pt x="25409" y="40893"/>
                      <a:pt x="11966" y="34919"/>
                    </a:cubicBezTo>
                    <a:cubicBezTo>
                      <a:pt x="-1476" y="30438"/>
                      <a:pt x="-4463" y="18489"/>
                      <a:pt x="7486" y="9527"/>
                    </a:cubicBezTo>
                    <a:cubicBezTo>
                      <a:pt x="17941" y="565"/>
                      <a:pt x="38852" y="-2422"/>
                      <a:pt x="52295" y="2059"/>
                    </a:cubicBezTo>
                    <a:close/>
                  </a:path>
                </a:pathLst>
              </a:custGeom>
              <a:solidFill>
                <a:srgbClr val="FFCEA1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7" name="任意多边形: 形状 686"/>
              <p:cNvSpPr/>
              <p:nvPr/>
            </p:nvSpPr>
            <p:spPr>
              <a:xfrm flipH="1">
                <a:off x="7524545" y="4298449"/>
                <a:ext cx="63648" cy="81833"/>
              </a:xfrm>
              <a:custGeom>
                <a:avLst/>
                <a:gdLst>
                  <a:gd name="connsiteX0" fmla="*/ 20577 w 104554"/>
                  <a:gd name="connsiteY0" fmla="*/ 57260 h 134427"/>
                  <a:gd name="connsiteX1" fmla="*/ 39994 w 104554"/>
                  <a:gd name="connsiteY1" fmla="*/ 81158 h 134427"/>
                  <a:gd name="connsiteX2" fmla="*/ 45968 w 104554"/>
                  <a:gd name="connsiteY2" fmla="*/ 114018 h 134427"/>
                  <a:gd name="connsiteX3" fmla="*/ 65386 w 104554"/>
                  <a:gd name="connsiteY3" fmla="*/ 139410 h 134427"/>
                  <a:gd name="connsiteX4" fmla="*/ 87790 w 104554"/>
                  <a:gd name="connsiteY4" fmla="*/ 139410 h 134427"/>
                  <a:gd name="connsiteX5" fmla="*/ 113182 w 104554"/>
                  <a:gd name="connsiteY5" fmla="*/ 124473 h 134427"/>
                  <a:gd name="connsiteX6" fmla="*/ 53436 w 104554"/>
                  <a:gd name="connsiteY6" fmla="*/ 502 h 134427"/>
                  <a:gd name="connsiteX7" fmla="*/ 5640 w 104554"/>
                  <a:gd name="connsiteY7" fmla="*/ 52779 h 134427"/>
                  <a:gd name="connsiteX8" fmla="*/ 20577 w 104554"/>
                  <a:gd name="connsiteY8" fmla="*/ 57260 h 134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4554" h="134427">
                    <a:moveTo>
                      <a:pt x="20577" y="57260"/>
                    </a:moveTo>
                    <a:cubicBezTo>
                      <a:pt x="31032" y="61740"/>
                      <a:pt x="37007" y="70702"/>
                      <a:pt x="39994" y="81158"/>
                    </a:cubicBezTo>
                    <a:cubicBezTo>
                      <a:pt x="42981" y="91613"/>
                      <a:pt x="42981" y="103562"/>
                      <a:pt x="45968" y="114018"/>
                    </a:cubicBezTo>
                    <a:cubicBezTo>
                      <a:pt x="48956" y="124473"/>
                      <a:pt x="54930" y="134929"/>
                      <a:pt x="65386" y="139410"/>
                    </a:cubicBezTo>
                    <a:cubicBezTo>
                      <a:pt x="72854" y="142397"/>
                      <a:pt x="80322" y="140903"/>
                      <a:pt x="87790" y="139410"/>
                    </a:cubicBezTo>
                    <a:cubicBezTo>
                      <a:pt x="98246" y="137916"/>
                      <a:pt x="110195" y="134929"/>
                      <a:pt x="113182" y="124473"/>
                    </a:cubicBezTo>
                    <a:cubicBezTo>
                      <a:pt x="141561" y="-6967"/>
                      <a:pt x="63892" y="-992"/>
                      <a:pt x="53436" y="502"/>
                    </a:cubicBezTo>
                    <a:cubicBezTo>
                      <a:pt x="20577" y="3489"/>
                      <a:pt x="-13777" y="30374"/>
                      <a:pt x="5640" y="52779"/>
                    </a:cubicBezTo>
                    <a:cubicBezTo>
                      <a:pt x="10121" y="55766"/>
                      <a:pt x="17589" y="55766"/>
                      <a:pt x="20577" y="57260"/>
                    </a:cubicBezTo>
                    <a:close/>
                  </a:path>
                </a:pathLst>
              </a:custGeom>
              <a:solidFill>
                <a:srgbClr val="936037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8" name="任意多边形: 形状 687"/>
              <p:cNvSpPr/>
              <p:nvPr/>
            </p:nvSpPr>
            <p:spPr>
              <a:xfrm flipH="1">
                <a:off x="7557482" y="4343308"/>
                <a:ext cx="9092" cy="18185"/>
              </a:xfrm>
              <a:custGeom>
                <a:avLst/>
                <a:gdLst>
                  <a:gd name="connsiteX0" fmla="*/ 5975 w 14936"/>
                  <a:gd name="connsiteY0" fmla="*/ 0 h 29872"/>
                  <a:gd name="connsiteX1" fmla="*/ 0 w 14936"/>
                  <a:gd name="connsiteY1" fmla="*/ 7468 h 29872"/>
                  <a:gd name="connsiteX2" fmla="*/ 1494 w 14936"/>
                  <a:gd name="connsiteY2" fmla="*/ 19417 h 29872"/>
                  <a:gd name="connsiteX3" fmla="*/ 7468 w 14936"/>
                  <a:gd name="connsiteY3" fmla="*/ 34354 h 29872"/>
                  <a:gd name="connsiteX4" fmla="*/ 10455 w 14936"/>
                  <a:gd name="connsiteY4" fmla="*/ 37341 h 29872"/>
                  <a:gd name="connsiteX5" fmla="*/ 16430 w 14936"/>
                  <a:gd name="connsiteY5" fmla="*/ 34354 h 29872"/>
                  <a:gd name="connsiteX6" fmla="*/ 17924 w 14936"/>
                  <a:gd name="connsiteY6" fmla="*/ 28379 h 29872"/>
                  <a:gd name="connsiteX7" fmla="*/ 16430 w 14936"/>
                  <a:gd name="connsiteY7" fmla="*/ 10455 h 29872"/>
                  <a:gd name="connsiteX8" fmla="*/ 13443 w 14936"/>
                  <a:gd name="connsiteY8" fmla="*/ 4481 h 29872"/>
                  <a:gd name="connsiteX9" fmla="*/ 5975 w 14936"/>
                  <a:gd name="connsiteY9" fmla="*/ 0 h 2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936" h="29872">
                    <a:moveTo>
                      <a:pt x="5975" y="0"/>
                    </a:moveTo>
                    <a:cubicBezTo>
                      <a:pt x="2987" y="0"/>
                      <a:pt x="0" y="4481"/>
                      <a:pt x="0" y="7468"/>
                    </a:cubicBezTo>
                    <a:cubicBezTo>
                      <a:pt x="0" y="11949"/>
                      <a:pt x="0" y="14936"/>
                      <a:pt x="1494" y="19417"/>
                    </a:cubicBezTo>
                    <a:cubicBezTo>
                      <a:pt x="2987" y="23898"/>
                      <a:pt x="2987" y="29873"/>
                      <a:pt x="7468" y="34354"/>
                    </a:cubicBezTo>
                    <a:cubicBezTo>
                      <a:pt x="8962" y="35847"/>
                      <a:pt x="8962" y="35847"/>
                      <a:pt x="10455" y="37341"/>
                    </a:cubicBezTo>
                    <a:cubicBezTo>
                      <a:pt x="11949" y="37341"/>
                      <a:pt x="14936" y="35847"/>
                      <a:pt x="16430" y="34354"/>
                    </a:cubicBezTo>
                    <a:cubicBezTo>
                      <a:pt x="17924" y="32860"/>
                      <a:pt x="17924" y="29873"/>
                      <a:pt x="17924" y="28379"/>
                    </a:cubicBezTo>
                    <a:cubicBezTo>
                      <a:pt x="17924" y="22405"/>
                      <a:pt x="17924" y="16430"/>
                      <a:pt x="16430" y="10455"/>
                    </a:cubicBezTo>
                    <a:cubicBezTo>
                      <a:pt x="16430" y="7468"/>
                      <a:pt x="14936" y="5975"/>
                      <a:pt x="13443" y="4481"/>
                    </a:cubicBezTo>
                    <a:cubicBezTo>
                      <a:pt x="11949" y="1494"/>
                      <a:pt x="8962" y="0"/>
                      <a:pt x="5975" y="0"/>
                    </a:cubicBezTo>
                    <a:close/>
                  </a:path>
                </a:pathLst>
              </a:custGeom>
              <a:solidFill>
                <a:srgbClr val="FFCEA1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9" name="任意多边形: 形状 688"/>
              <p:cNvSpPr/>
              <p:nvPr/>
            </p:nvSpPr>
            <p:spPr>
              <a:xfrm flipH="1">
                <a:off x="7692052" y="4315121"/>
                <a:ext cx="36370" cy="54555"/>
              </a:xfrm>
              <a:custGeom>
                <a:avLst/>
                <a:gdLst>
                  <a:gd name="connsiteX0" fmla="*/ 58252 w 59745"/>
                  <a:gd name="connsiteY0" fmla="*/ 29873 h 89618"/>
                  <a:gd name="connsiteX1" fmla="*/ 52277 w 59745"/>
                  <a:gd name="connsiteY1" fmla="*/ 17924 h 89618"/>
                  <a:gd name="connsiteX2" fmla="*/ 40328 w 59745"/>
                  <a:gd name="connsiteY2" fmla="*/ 8962 h 89618"/>
                  <a:gd name="connsiteX3" fmla="*/ 40328 w 59745"/>
                  <a:gd name="connsiteY3" fmla="*/ 23898 h 89618"/>
                  <a:gd name="connsiteX4" fmla="*/ 26885 w 59745"/>
                  <a:gd name="connsiteY4" fmla="*/ 26885 h 89618"/>
                  <a:gd name="connsiteX5" fmla="*/ 7468 w 59745"/>
                  <a:gd name="connsiteY5" fmla="*/ 0 h 89618"/>
                  <a:gd name="connsiteX6" fmla="*/ 0 w 59745"/>
                  <a:gd name="connsiteY6" fmla="*/ 16430 h 89618"/>
                  <a:gd name="connsiteX7" fmla="*/ 1494 w 59745"/>
                  <a:gd name="connsiteY7" fmla="*/ 52277 h 89618"/>
                  <a:gd name="connsiteX8" fmla="*/ 14936 w 59745"/>
                  <a:gd name="connsiteY8" fmla="*/ 73188 h 89618"/>
                  <a:gd name="connsiteX9" fmla="*/ 34354 w 59745"/>
                  <a:gd name="connsiteY9" fmla="*/ 89618 h 89618"/>
                  <a:gd name="connsiteX10" fmla="*/ 35847 w 59745"/>
                  <a:gd name="connsiteY10" fmla="*/ 91112 h 89618"/>
                  <a:gd name="connsiteX11" fmla="*/ 64226 w 59745"/>
                  <a:gd name="connsiteY11" fmla="*/ 58252 h 89618"/>
                  <a:gd name="connsiteX12" fmla="*/ 58252 w 59745"/>
                  <a:gd name="connsiteY12" fmla="*/ 29873 h 89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9745" h="89618">
                    <a:moveTo>
                      <a:pt x="58252" y="29873"/>
                    </a:moveTo>
                    <a:cubicBezTo>
                      <a:pt x="56758" y="25392"/>
                      <a:pt x="55265" y="20911"/>
                      <a:pt x="52277" y="17924"/>
                    </a:cubicBezTo>
                    <a:cubicBezTo>
                      <a:pt x="49290" y="14936"/>
                      <a:pt x="46303" y="5974"/>
                      <a:pt x="40328" y="8962"/>
                    </a:cubicBezTo>
                    <a:cubicBezTo>
                      <a:pt x="41822" y="17924"/>
                      <a:pt x="44809" y="20911"/>
                      <a:pt x="40328" y="23898"/>
                    </a:cubicBezTo>
                    <a:cubicBezTo>
                      <a:pt x="35847" y="26885"/>
                      <a:pt x="31366" y="29873"/>
                      <a:pt x="26885" y="26885"/>
                    </a:cubicBezTo>
                    <a:cubicBezTo>
                      <a:pt x="17924" y="22405"/>
                      <a:pt x="14936" y="20911"/>
                      <a:pt x="7468" y="0"/>
                    </a:cubicBezTo>
                    <a:cubicBezTo>
                      <a:pt x="7468" y="0"/>
                      <a:pt x="0" y="8962"/>
                      <a:pt x="0" y="16430"/>
                    </a:cubicBezTo>
                    <a:cubicBezTo>
                      <a:pt x="0" y="23898"/>
                      <a:pt x="0" y="46303"/>
                      <a:pt x="1494" y="52277"/>
                    </a:cubicBezTo>
                    <a:cubicBezTo>
                      <a:pt x="4481" y="61239"/>
                      <a:pt x="7468" y="65720"/>
                      <a:pt x="14936" y="73188"/>
                    </a:cubicBezTo>
                    <a:cubicBezTo>
                      <a:pt x="23898" y="80656"/>
                      <a:pt x="23898" y="85137"/>
                      <a:pt x="34354" y="89618"/>
                    </a:cubicBezTo>
                    <a:cubicBezTo>
                      <a:pt x="34354" y="89618"/>
                      <a:pt x="35847" y="91112"/>
                      <a:pt x="35847" y="91112"/>
                    </a:cubicBezTo>
                    <a:cubicBezTo>
                      <a:pt x="50784" y="88124"/>
                      <a:pt x="64226" y="73188"/>
                      <a:pt x="64226" y="58252"/>
                    </a:cubicBezTo>
                    <a:cubicBezTo>
                      <a:pt x="64226" y="46303"/>
                      <a:pt x="61239" y="38834"/>
                      <a:pt x="58252" y="29873"/>
                    </a:cubicBezTo>
                    <a:close/>
                  </a:path>
                </a:pathLst>
              </a:custGeom>
              <a:solidFill>
                <a:srgbClr val="FFCEA1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0" name="任意多边形: 形状 689"/>
              <p:cNvSpPr/>
              <p:nvPr/>
            </p:nvSpPr>
            <p:spPr>
              <a:xfrm flipH="1">
                <a:off x="7634769" y="4351491"/>
                <a:ext cx="72741" cy="90926"/>
              </a:xfrm>
              <a:custGeom>
                <a:avLst/>
                <a:gdLst>
                  <a:gd name="connsiteX0" fmla="*/ 79163 w 119490"/>
                  <a:gd name="connsiteY0" fmla="*/ 138908 h 149363"/>
                  <a:gd name="connsiteX1" fmla="*/ 79163 w 119490"/>
                  <a:gd name="connsiteY1" fmla="*/ 138908 h 149363"/>
                  <a:gd name="connsiteX2" fmla="*/ 0 w 119490"/>
                  <a:gd name="connsiteY2" fmla="*/ 28379 h 149363"/>
                  <a:gd name="connsiteX3" fmla="*/ 29873 w 119490"/>
                  <a:gd name="connsiteY3" fmla="*/ 0 h 149363"/>
                  <a:gd name="connsiteX4" fmla="*/ 125465 w 119490"/>
                  <a:gd name="connsiteY4" fmla="*/ 95593 h 149363"/>
                  <a:gd name="connsiteX5" fmla="*/ 126959 w 119490"/>
                  <a:gd name="connsiteY5" fmla="*/ 97086 h 149363"/>
                  <a:gd name="connsiteX6" fmla="*/ 126959 w 119490"/>
                  <a:gd name="connsiteY6" fmla="*/ 97086 h 149363"/>
                  <a:gd name="connsiteX7" fmla="*/ 131440 w 119490"/>
                  <a:gd name="connsiteY7" fmla="*/ 129946 h 149363"/>
                  <a:gd name="connsiteX8" fmla="*/ 122478 w 119490"/>
                  <a:gd name="connsiteY8" fmla="*/ 141895 h 149363"/>
                  <a:gd name="connsiteX9" fmla="*/ 79163 w 119490"/>
                  <a:gd name="connsiteY9" fmla="*/ 138908 h 149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9490" h="149363">
                    <a:moveTo>
                      <a:pt x="79163" y="138908"/>
                    </a:moveTo>
                    <a:lnTo>
                      <a:pt x="79163" y="138908"/>
                    </a:lnTo>
                    <a:cubicBezTo>
                      <a:pt x="77669" y="137414"/>
                      <a:pt x="7468" y="47796"/>
                      <a:pt x="0" y="28379"/>
                    </a:cubicBezTo>
                    <a:cubicBezTo>
                      <a:pt x="0" y="28379"/>
                      <a:pt x="17924" y="1493"/>
                      <a:pt x="29873" y="0"/>
                    </a:cubicBezTo>
                    <a:cubicBezTo>
                      <a:pt x="52277" y="11949"/>
                      <a:pt x="91112" y="59745"/>
                      <a:pt x="125465" y="95593"/>
                    </a:cubicBezTo>
                    <a:lnTo>
                      <a:pt x="126959" y="97086"/>
                    </a:lnTo>
                    <a:lnTo>
                      <a:pt x="126959" y="97086"/>
                    </a:lnTo>
                    <a:cubicBezTo>
                      <a:pt x="134427" y="106048"/>
                      <a:pt x="135921" y="119491"/>
                      <a:pt x="131440" y="129946"/>
                    </a:cubicBezTo>
                    <a:cubicBezTo>
                      <a:pt x="129946" y="134427"/>
                      <a:pt x="126959" y="138908"/>
                      <a:pt x="122478" y="141895"/>
                    </a:cubicBezTo>
                    <a:cubicBezTo>
                      <a:pt x="109035" y="153844"/>
                      <a:pt x="89618" y="152351"/>
                      <a:pt x="79163" y="138908"/>
                    </a:cubicBezTo>
                    <a:close/>
                  </a:path>
                </a:pathLst>
              </a:custGeom>
              <a:solidFill>
                <a:srgbClr val="1B89B8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1" name="任意多边形: 形状 690"/>
              <p:cNvSpPr/>
              <p:nvPr/>
            </p:nvSpPr>
            <p:spPr>
              <a:xfrm flipH="1">
                <a:off x="7598775" y="4256928"/>
                <a:ext cx="27278" cy="36370"/>
              </a:xfrm>
              <a:custGeom>
                <a:avLst/>
                <a:gdLst>
                  <a:gd name="connsiteX0" fmla="*/ 40947 w 44809"/>
                  <a:gd name="connsiteY0" fmla="*/ 61239 h 59745"/>
                  <a:gd name="connsiteX1" fmla="*/ 52896 w 44809"/>
                  <a:gd name="connsiteY1" fmla="*/ 53771 h 59745"/>
                  <a:gd name="connsiteX2" fmla="*/ 49909 w 44809"/>
                  <a:gd name="connsiteY2" fmla="*/ 38835 h 59745"/>
                  <a:gd name="connsiteX3" fmla="*/ 40947 w 44809"/>
                  <a:gd name="connsiteY3" fmla="*/ 16430 h 59745"/>
                  <a:gd name="connsiteX4" fmla="*/ 24517 w 44809"/>
                  <a:gd name="connsiteY4" fmla="*/ 0 h 59745"/>
                  <a:gd name="connsiteX5" fmla="*/ 31985 w 44809"/>
                  <a:gd name="connsiteY5" fmla="*/ 29873 h 59745"/>
                  <a:gd name="connsiteX6" fmla="*/ 11074 w 44809"/>
                  <a:gd name="connsiteY6" fmla="*/ 16430 h 59745"/>
                  <a:gd name="connsiteX7" fmla="*/ 619 w 44809"/>
                  <a:gd name="connsiteY7" fmla="*/ 13443 h 59745"/>
                  <a:gd name="connsiteX8" fmla="*/ 2112 w 44809"/>
                  <a:gd name="connsiteY8" fmla="*/ 22405 h 59745"/>
                  <a:gd name="connsiteX9" fmla="*/ 9581 w 44809"/>
                  <a:gd name="connsiteY9" fmla="*/ 29873 h 59745"/>
                  <a:gd name="connsiteX10" fmla="*/ 26010 w 44809"/>
                  <a:gd name="connsiteY10" fmla="*/ 50784 h 59745"/>
                  <a:gd name="connsiteX11" fmla="*/ 40947 w 44809"/>
                  <a:gd name="connsiteY11" fmla="*/ 61239 h 59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4809" h="59745">
                    <a:moveTo>
                      <a:pt x="40947" y="61239"/>
                    </a:moveTo>
                    <a:cubicBezTo>
                      <a:pt x="51402" y="59745"/>
                      <a:pt x="51402" y="56758"/>
                      <a:pt x="52896" y="53771"/>
                    </a:cubicBezTo>
                    <a:cubicBezTo>
                      <a:pt x="52896" y="49290"/>
                      <a:pt x="51402" y="44809"/>
                      <a:pt x="49909" y="38835"/>
                    </a:cubicBezTo>
                    <a:cubicBezTo>
                      <a:pt x="46921" y="31366"/>
                      <a:pt x="43934" y="22405"/>
                      <a:pt x="40947" y="16430"/>
                    </a:cubicBezTo>
                    <a:cubicBezTo>
                      <a:pt x="36466" y="8962"/>
                      <a:pt x="33479" y="2987"/>
                      <a:pt x="24517" y="0"/>
                    </a:cubicBezTo>
                    <a:cubicBezTo>
                      <a:pt x="27504" y="10455"/>
                      <a:pt x="28998" y="17924"/>
                      <a:pt x="31985" y="29873"/>
                    </a:cubicBezTo>
                    <a:cubicBezTo>
                      <a:pt x="24517" y="23898"/>
                      <a:pt x="18542" y="20911"/>
                      <a:pt x="11074" y="16430"/>
                    </a:cubicBezTo>
                    <a:cubicBezTo>
                      <a:pt x="8087" y="13443"/>
                      <a:pt x="3606" y="11949"/>
                      <a:pt x="619" y="13443"/>
                    </a:cubicBezTo>
                    <a:cubicBezTo>
                      <a:pt x="-875" y="16430"/>
                      <a:pt x="619" y="20911"/>
                      <a:pt x="2112" y="22405"/>
                    </a:cubicBezTo>
                    <a:cubicBezTo>
                      <a:pt x="5100" y="25392"/>
                      <a:pt x="8087" y="26885"/>
                      <a:pt x="9581" y="29873"/>
                    </a:cubicBezTo>
                    <a:cubicBezTo>
                      <a:pt x="17049" y="37341"/>
                      <a:pt x="18542" y="43316"/>
                      <a:pt x="26010" y="50784"/>
                    </a:cubicBezTo>
                    <a:cubicBezTo>
                      <a:pt x="30491" y="55264"/>
                      <a:pt x="37959" y="61239"/>
                      <a:pt x="40947" y="61239"/>
                    </a:cubicBezTo>
                    <a:close/>
                  </a:path>
                </a:pathLst>
              </a:custGeom>
              <a:solidFill>
                <a:srgbClr val="FFCEA1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2" name="任意多边形: 形状 691"/>
              <p:cNvSpPr/>
              <p:nvPr/>
            </p:nvSpPr>
            <p:spPr>
              <a:xfrm flipH="1">
                <a:off x="7516565" y="4379679"/>
                <a:ext cx="45463" cy="18185"/>
              </a:xfrm>
              <a:custGeom>
                <a:avLst/>
                <a:gdLst>
                  <a:gd name="connsiteX0" fmla="*/ 71694 w 74681"/>
                  <a:gd name="connsiteY0" fmla="*/ 0 h 29872"/>
                  <a:gd name="connsiteX1" fmla="*/ 79163 w 74681"/>
                  <a:gd name="connsiteY1" fmla="*/ 8962 h 29872"/>
                  <a:gd name="connsiteX2" fmla="*/ 79163 w 74681"/>
                  <a:gd name="connsiteY2" fmla="*/ 16430 h 29872"/>
                  <a:gd name="connsiteX3" fmla="*/ 74682 w 74681"/>
                  <a:gd name="connsiteY3" fmla="*/ 23898 h 29872"/>
                  <a:gd name="connsiteX4" fmla="*/ 34354 w 74681"/>
                  <a:gd name="connsiteY4" fmla="*/ 37341 h 29872"/>
                  <a:gd name="connsiteX5" fmla="*/ 0 w 74681"/>
                  <a:gd name="connsiteY5" fmla="*/ 31366 h 29872"/>
                  <a:gd name="connsiteX6" fmla="*/ 7468 w 74681"/>
                  <a:gd name="connsiteY6" fmla="*/ 19417 h 29872"/>
                  <a:gd name="connsiteX7" fmla="*/ 59746 w 74681"/>
                  <a:gd name="connsiteY7" fmla="*/ 13443 h 29872"/>
                  <a:gd name="connsiteX8" fmla="*/ 71694 w 74681"/>
                  <a:gd name="connsiteY8" fmla="*/ 0 h 2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681" h="29872">
                    <a:moveTo>
                      <a:pt x="71694" y="0"/>
                    </a:moveTo>
                    <a:cubicBezTo>
                      <a:pt x="74682" y="2987"/>
                      <a:pt x="79163" y="8962"/>
                      <a:pt x="79163" y="8962"/>
                    </a:cubicBezTo>
                    <a:cubicBezTo>
                      <a:pt x="79163" y="8962"/>
                      <a:pt x="80656" y="11949"/>
                      <a:pt x="79163" y="16430"/>
                    </a:cubicBezTo>
                    <a:cubicBezTo>
                      <a:pt x="79163" y="19417"/>
                      <a:pt x="77669" y="22405"/>
                      <a:pt x="74682" y="23898"/>
                    </a:cubicBezTo>
                    <a:cubicBezTo>
                      <a:pt x="64226" y="32860"/>
                      <a:pt x="49290" y="35847"/>
                      <a:pt x="34354" y="37341"/>
                    </a:cubicBezTo>
                    <a:cubicBezTo>
                      <a:pt x="20911" y="38835"/>
                      <a:pt x="13443" y="35847"/>
                      <a:pt x="0" y="31366"/>
                    </a:cubicBezTo>
                    <a:cubicBezTo>
                      <a:pt x="2987" y="26885"/>
                      <a:pt x="4481" y="25392"/>
                      <a:pt x="7468" y="19417"/>
                    </a:cubicBezTo>
                    <a:cubicBezTo>
                      <a:pt x="8962" y="17924"/>
                      <a:pt x="29873" y="23898"/>
                      <a:pt x="59746" y="13443"/>
                    </a:cubicBezTo>
                    <a:cubicBezTo>
                      <a:pt x="68707" y="10455"/>
                      <a:pt x="73188" y="5975"/>
                      <a:pt x="71694" y="0"/>
                    </a:cubicBezTo>
                    <a:close/>
                  </a:path>
                </a:pathLst>
              </a:custGeom>
              <a:solidFill>
                <a:srgbClr val="17749C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3" name="任意多边形: 形状 692"/>
              <p:cNvSpPr/>
              <p:nvPr/>
            </p:nvSpPr>
            <p:spPr>
              <a:xfrm flipH="1">
                <a:off x="8118494" y="4199360"/>
                <a:ext cx="27278" cy="27278"/>
              </a:xfrm>
              <a:custGeom>
                <a:avLst/>
                <a:gdLst>
                  <a:gd name="connsiteX0" fmla="*/ 0 w 44809"/>
                  <a:gd name="connsiteY0" fmla="*/ 4949 h 44809"/>
                  <a:gd name="connsiteX1" fmla="*/ 22405 w 44809"/>
                  <a:gd name="connsiteY1" fmla="*/ 1962 h 44809"/>
                  <a:gd name="connsiteX2" fmla="*/ 37341 w 44809"/>
                  <a:gd name="connsiteY2" fmla="*/ 19886 h 44809"/>
                  <a:gd name="connsiteX3" fmla="*/ 43315 w 44809"/>
                  <a:gd name="connsiteY3" fmla="*/ 31835 h 44809"/>
                  <a:gd name="connsiteX4" fmla="*/ 55264 w 44809"/>
                  <a:gd name="connsiteY4" fmla="*/ 43784 h 44809"/>
                  <a:gd name="connsiteX5" fmla="*/ 46303 w 44809"/>
                  <a:gd name="connsiteY5" fmla="*/ 49758 h 44809"/>
                  <a:gd name="connsiteX6" fmla="*/ 32860 w 44809"/>
                  <a:gd name="connsiteY6" fmla="*/ 39303 h 44809"/>
                  <a:gd name="connsiteX7" fmla="*/ 19417 w 44809"/>
                  <a:gd name="connsiteY7" fmla="*/ 34822 h 44809"/>
                  <a:gd name="connsiteX8" fmla="*/ 8962 w 44809"/>
                  <a:gd name="connsiteY8" fmla="*/ 21379 h 44809"/>
                  <a:gd name="connsiteX9" fmla="*/ 0 w 44809"/>
                  <a:gd name="connsiteY9" fmla="*/ 4949 h 44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4809" h="44809">
                    <a:moveTo>
                      <a:pt x="0" y="4949"/>
                    </a:moveTo>
                    <a:cubicBezTo>
                      <a:pt x="7468" y="-1025"/>
                      <a:pt x="14936" y="-1025"/>
                      <a:pt x="22405" y="1962"/>
                    </a:cubicBezTo>
                    <a:cubicBezTo>
                      <a:pt x="29873" y="4949"/>
                      <a:pt x="34354" y="12418"/>
                      <a:pt x="37341" y="19886"/>
                    </a:cubicBezTo>
                    <a:cubicBezTo>
                      <a:pt x="38835" y="24367"/>
                      <a:pt x="40328" y="28848"/>
                      <a:pt x="43315" y="31835"/>
                    </a:cubicBezTo>
                    <a:cubicBezTo>
                      <a:pt x="46303" y="36316"/>
                      <a:pt x="53771" y="37809"/>
                      <a:pt x="55264" y="43784"/>
                    </a:cubicBezTo>
                    <a:cubicBezTo>
                      <a:pt x="56758" y="49758"/>
                      <a:pt x="50783" y="52746"/>
                      <a:pt x="46303" y="49758"/>
                    </a:cubicBezTo>
                    <a:cubicBezTo>
                      <a:pt x="35847" y="45277"/>
                      <a:pt x="34354" y="40797"/>
                      <a:pt x="32860" y="39303"/>
                    </a:cubicBezTo>
                    <a:cubicBezTo>
                      <a:pt x="29873" y="36316"/>
                      <a:pt x="23898" y="37809"/>
                      <a:pt x="19417" y="34822"/>
                    </a:cubicBezTo>
                    <a:cubicBezTo>
                      <a:pt x="14936" y="31835"/>
                      <a:pt x="10455" y="25860"/>
                      <a:pt x="8962" y="21379"/>
                    </a:cubicBezTo>
                    <a:lnTo>
                      <a:pt x="0" y="4949"/>
                    </a:lnTo>
                    <a:close/>
                  </a:path>
                </a:pathLst>
              </a:custGeom>
              <a:solidFill>
                <a:srgbClr val="FFBB7D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4" name="任意多边形: 形状 693"/>
              <p:cNvSpPr/>
              <p:nvPr/>
            </p:nvSpPr>
            <p:spPr>
              <a:xfrm flipH="1">
                <a:off x="8125591" y="4200555"/>
                <a:ext cx="27278" cy="45463"/>
              </a:xfrm>
              <a:custGeom>
                <a:avLst/>
                <a:gdLst>
                  <a:gd name="connsiteX0" fmla="*/ 20620 w 44809"/>
                  <a:gd name="connsiteY0" fmla="*/ 70201 h 74681"/>
                  <a:gd name="connsiteX1" fmla="*/ 31075 w 44809"/>
                  <a:gd name="connsiteY1" fmla="*/ 80656 h 74681"/>
                  <a:gd name="connsiteX2" fmla="*/ 43024 w 44809"/>
                  <a:gd name="connsiteY2" fmla="*/ 83644 h 74681"/>
                  <a:gd name="connsiteX3" fmla="*/ 53480 w 44809"/>
                  <a:gd name="connsiteY3" fmla="*/ 74682 h 74681"/>
                  <a:gd name="connsiteX4" fmla="*/ 53480 w 44809"/>
                  <a:gd name="connsiteY4" fmla="*/ 62733 h 74681"/>
                  <a:gd name="connsiteX5" fmla="*/ 50492 w 44809"/>
                  <a:gd name="connsiteY5" fmla="*/ 46303 h 74681"/>
                  <a:gd name="connsiteX6" fmla="*/ 44518 w 44809"/>
                  <a:gd name="connsiteY6" fmla="*/ 31366 h 74681"/>
                  <a:gd name="connsiteX7" fmla="*/ 16139 w 44809"/>
                  <a:gd name="connsiteY7" fmla="*/ 0 h 74681"/>
                  <a:gd name="connsiteX8" fmla="*/ 1202 w 44809"/>
                  <a:gd name="connsiteY8" fmla="*/ 17924 h 74681"/>
                  <a:gd name="connsiteX9" fmla="*/ 5683 w 44809"/>
                  <a:gd name="connsiteY9" fmla="*/ 40328 h 74681"/>
                  <a:gd name="connsiteX10" fmla="*/ 10164 w 44809"/>
                  <a:gd name="connsiteY10" fmla="*/ 59745 h 74681"/>
                  <a:gd name="connsiteX11" fmla="*/ 20620 w 44809"/>
                  <a:gd name="connsiteY11" fmla="*/ 70201 h 74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4809" h="74681">
                    <a:moveTo>
                      <a:pt x="20620" y="70201"/>
                    </a:moveTo>
                    <a:cubicBezTo>
                      <a:pt x="20620" y="77669"/>
                      <a:pt x="26594" y="83644"/>
                      <a:pt x="31075" y="80656"/>
                    </a:cubicBezTo>
                    <a:cubicBezTo>
                      <a:pt x="32569" y="85137"/>
                      <a:pt x="40037" y="89618"/>
                      <a:pt x="43024" y="83644"/>
                    </a:cubicBezTo>
                    <a:cubicBezTo>
                      <a:pt x="47505" y="86631"/>
                      <a:pt x="53480" y="79163"/>
                      <a:pt x="53480" y="74682"/>
                    </a:cubicBezTo>
                    <a:cubicBezTo>
                      <a:pt x="53480" y="65720"/>
                      <a:pt x="53480" y="65720"/>
                      <a:pt x="53480" y="62733"/>
                    </a:cubicBezTo>
                    <a:cubicBezTo>
                      <a:pt x="53480" y="56758"/>
                      <a:pt x="51986" y="50783"/>
                      <a:pt x="50492" y="46303"/>
                    </a:cubicBezTo>
                    <a:cubicBezTo>
                      <a:pt x="48999" y="40328"/>
                      <a:pt x="47505" y="35847"/>
                      <a:pt x="44518" y="31366"/>
                    </a:cubicBezTo>
                    <a:cubicBezTo>
                      <a:pt x="35556" y="19417"/>
                      <a:pt x="29581" y="5974"/>
                      <a:pt x="16139" y="0"/>
                    </a:cubicBezTo>
                    <a:cubicBezTo>
                      <a:pt x="10164" y="2987"/>
                      <a:pt x="4190" y="5974"/>
                      <a:pt x="1202" y="17924"/>
                    </a:cubicBezTo>
                    <a:cubicBezTo>
                      <a:pt x="-1785" y="26885"/>
                      <a:pt x="1202" y="32860"/>
                      <a:pt x="5683" y="40328"/>
                    </a:cubicBezTo>
                    <a:cubicBezTo>
                      <a:pt x="10164" y="47796"/>
                      <a:pt x="10164" y="50783"/>
                      <a:pt x="10164" y="59745"/>
                    </a:cubicBezTo>
                    <a:cubicBezTo>
                      <a:pt x="11658" y="70201"/>
                      <a:pt x="19126" y="73188"/>
                      <a:pt x="20620" y="70201"/>
                    </a:cubicBezTo>
                    <a:close/>
                  </a:path>
                </a:pathLst>
              </a:custGeom>
              <a:solidFill>
                <a:srgbClr val="FFBB7D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5" name="任意多边形: 形状 694"/>
              <p:cNvSpPr/>
              <p:nvPr/>
            </p:nvSpPr>
            <p:spPr>
              <a:xfrm flipH="1">
                <a:off x="8138720" y="4112135"/>
                <a:ext cx="45463" cy="90926"/>
              </a:xfrm>
              <a:custGeom>
                <a:avLst/>
                <a:gdLst>
                  <a:gd name="connsiteX0" fmla="*/ 84007 w 74681"/>
                  <a:gd name="connsiteY0" fmla="*/ 128816 h 149363"/>
                  <a:gd name="connsiteX1" fmla="*/ 88488 w 74681"/>
                  <a:gd name="connsiteY1" fmla="*/ 151220 h 149363"/>
                  <a:gd name="connsiteX2" fmla="*/ 55628 w 74681"/>
                  <a:gd name="connsiteY2" fmla="*/ 160182 h 149363"/>
                  <a:gd name="connsiteX3" fmla="*/ 48160 w 74681"/>
                  <a:gd name="connsiteY3" fmla="*/ 142259 h 149363"/>
                  <a:gd name="connsiteX4" fmla="*/ 1857 w 74681"/>
                  <a:gd name="connsiteY4" fmla="*/ 40692 h 149363"/>
                  <a:gd name="connsiteX5" fmla="*/ 21274 w 74681"/>
                  <a:gd name="connsiteY5" fmla="*/ 1857 h 149363"/>
                  <a:gd name="connsiteX6" fmla="*/ 21274 w 74681"/>
                  <a:gd name="connsiteY6" fmla="*/ 1857 h 149363"/>
                  <a:gd name="connsiteX7" fmla="*/ 60109 w 74681"/>
                  <a:gd name="connsiteY7" fmla="*/ 21274 h 149363"/>
                  <a:gd name="connsiteX8" fmla="*/ 84007 w 74681"/>
                  <a:gd name="connsiteY8" fmla="*/ 128816 h 149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681" h="149363">
                    <a:moveTo>
                      <a:pt x="84007" y="128816"/>
                    </a:moveTo>
                    <a:cubicBezTo>
                      <a:pt x="88488" y="139272"/>
                      <a:pt x="89982" y="146740"/>
                      <a:pt x="88488" y="151220"/>
                    </a:cubicBezTo>
                    <a:cubicBezTo>
                      <a:pt x="86994" y="157195"/>
                      <a:pt x="58615" y="166157"/>
                      <a:pt x="55628" y="160182"/>
                    </a:cubicBezTo>
                    <a:cubicBezTo>
                      <a:pt x="52641" y="155701"/>
                      <a:pt x="49654" y="149727"/>
                      <a:pt x="48160" y="142259"/>
                    </a:cubicBezTo>
                    <a:lnTo>
                      <a:pt x="1857" y="40692"/>
                    </a:lnTo>
                    <a:cubicBezTo>
                      <a:pt x="-4117" y="24262"/>
                      <a:pt x="4844" y="7832"/>
                      <a:pt x="21274" y="1857"/>
                    </a:cubicBezTo>
                    <a:lnTo>
                      <a:pt x="21274" y="1857"/>
                    </a:lnTo>
                    <a:cubicBezTo>
                      <a:pt x="37704" y="-4117"/>
                      <a:pt x="54134" y="4844"/>
                      <a:pt x="60109" y="21274"/>
                    </a:cubicBezTo>
                    <a:lnTo>
                      <a:pt x="84007" y="128816"/>
                    </a:lnTo>
                    <a:close/>
                  </a:path>
                </a:pathLst>
              </a:custGeom>
              <a:solidFill>
                <a:srgbClr val="1B89B8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6" name="任意多边形: 形状 695"/>
              <p:cNvSpPr/>
              <p:nvPr/>
            </p:nvSpPr>
            <p:spPr>
              <a:xfrm flipH="1">
                <a:off x="8121677" y="4430370"/>
                <a:ext cx="54555" cy="27278"/>
              </a:xfrm>
              <a:custGeom>
                <a:avLst/>
                <a:gdLst>
                  <a:gd name="connsiteX0" fmla="*/ 6721 w 89618"/>
                  <a:gd name="connsiteY0" fmla="*/ 3361 h 44809"/>
                  <a:gd name="connsiteX1" fmla="*/ 6721 w 89618"/>
                  <a:gd name="connsiteY1" fmla="*/ 21284 h 44809"/>
                  <a:gd name="connsiteX2" fmla="*/ 56011 w 89618"/>
                  <a:gd name="connsiteY2" fmla="*/ 49663 h 44809"/>
                  <a:gd name="connsiteX3" fmla="*/ 87378 w 89618"/>
                  <a:gd name="connsiteY3" fmla="*/ 49663 h 44809"/>
                  <a:gd name="connsiteX4" fmla="*/ 87378 w 89618"/>
                  <a:gd name="connsiteY4" fmla="*/ 49663 h 44809"/>
                  <a:gd name="connsiteX5" fmla="*/ 87378 w 89618"/>
                  <a:gd name="connsiteY5" fmla="*/ 31740 h 44809"/>
                  <a:gd name="connsiteX6" fmla="*/ 38088 w 89618"/>
                  <a:gd name="connsiteY6" fmla="*/ 3361 h 44809"/>
                  <a:gd name="connsiteX7" fmla="*/ 6721 w 89618"/>
                  <a:gd name="connsiteY7" fmla="*/ 3361 h 44809"/>
                  <a:gd name="connsiteX8" fmla="*/ 6721 w 89618"/>
                  <a:gd name="connsiteY8" fmla="*/ 3361 h 44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618" h="44809">
                    <a:moveTo>
                      <a:pt x="6721" y="3361"/>
                    </a:moveTo>
                    <a:cubicBezTo>
                      <a:pt x="-2240" y="7842"/>
                      <a:pt x="-2240" y="16803"/>
                      <a:pt x="6721" y="21284"/>
                    </a:cubicBezTo>
                    <a:lnTo>
                      <a:pt x="56011" y="49663"/>
                    </a:lnTo>
                    <a:cubicBezTo>
                      <a:pt x="64973" y="54144"/>
                      <a:pt x="78416" y="54144"/>
                      <a:pt x="87378" y="49663"/>
                    </a:cubicBezTo>
                    <a:lnTo>
                      <a:pt x="87378" y="49663"/>
                    </a:lnTo>
                    <a:cubicBezTo>
                      <a:pt x="96339" y="45183"/>
                      <a:pt x="96339" y="36221"/>
                      <a:pt x="87378" y="31740"/>
                    </a:cubicBezTo>
                    <a:lnTo>
                      <a:pt x="38088" y="3361"/>
                    </a:lnTo>
                    <a:cubicBezTo>
                      <a:pt x="29126" y="-1120"/>
                      <a:pt x="14190" y="-1120"/>
                      <a:pt x="6721" y="3361"/>
                    </a:cubicBezTo>
                    <a:lnTo>
                      <a:pt x="6721" y="3361"/>
                    </a:lnTo>
                    <a:close/>
                  </a:path>
                </a:pathLst>
              </a:custGeom>
              <a:solidFill>
                <a:srgbClr val="575756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7" name="任意多边形: 形状 696"/>
              <p:cNvSpPr/>
              <p:nvPr/>
            </p:nvSpPr>
            <p:spPr>
              <a:xfrm flipH="1">
                <a:off x="8122132" y="4413321"/>
                <a:ext cx="54555" cy="36370"/>
              </a:xfrm>
              <a:custGeom>
                <a:avLst/>
                <a:gdLst>
                  <a:gd name="connsiteX0" fmla="*/ 52277 w 89618"/>
                  <a:gd name="connsiteY0" fmla="*/ 2987 h 59745"/>
                  <a:gd name="connsiteX1" fmla="*/ 16430 w 89618"/>
                  <a:gd name="connsiteY1" fmla="*/ 0 h 59745"/>
                  <a:gd name="connsiteX2" fmla="*/ 0 w 89618"/>
                  <a:gd name="connsiteY2" fmla="*/ 40328 h 59745"/>
                  <a:gd name="connsiteX3" fmla="*/ 92605 w 89618"/>
                  <a:gd name="connsiteY3" fmla="*/ 70201 h 59745"/>
                  <a:gd name="connsiteX4" fmla="*/ 62733 w 89618"/>
                  <a:gd name="connsiteY4" fmla="*/ 26885 h 59745"/>
                  <a:gd name="connsiteX5" fmla="*/ 52277 w 89618"/>
                  <a:gd name="connsiteY5" fmla="*/ 2987 h 59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618" h="59745">
                    <a:moveTo>
                      <a:pt x="52277" y="2987"/>
                    </a:moveTo>
                    <a:lnTo>
                      <a:pt x="16430" y="0"/>
                    </a:lnTo>
                    <a:cubicBezTo>
                      <a:pt x="8962" y="10456"/>
                      <a:pt x="1493" y="22405"/>
                      <a:pt x="0" y="40328"/>
                    </a:cubicBezTo>
                    <a:lnTo>
                      <a:pt x="92605" y="70201"/>
                    </a:lnTo>
                    <a:cubicBezTo>
                      <a:pt x="95593" y="58252"/>
                      <a:pt x="80656" y="38835"/>
                      <a:pt x="62733" y="26885"/>
                    </a:cubicBezTo>
                    <a:cubicBezTo>
                      <a:pt x="55264" y="20911"/>
                      <a:pt x="59745" y="10456"/>
                      <a:pt x="52277" y="2987"/>
                    </a:cubicBezTo>
                    <a:close/>
                  </a:path>
                </a:pathLst>
              </a:custGeom>
              <a:solidFill>
                <a:srgbClr val="575756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8" name="任意多边形: 形状 697"/>
              <p:cNvSpPr/>
              <p:nvPr/>
            </p:nvSpPr>
            <p:spPr>
              <a:xfrm flipH="1">
                <a:off x="8134861" y="4202373"/>
                <a:ext cx="127296" cy="118203"/>
              </a:xfrm>
              <a:custGeom>
                <a:avLst/>
                <a:gdLst>
                  <a:gd name="connsiteX0" fmla="*/ 222552 w 209108"/>
                  <a:gd name="connsiteY0" fmla="*/ 144882 h 194172"/>
                  <a:gd name="connsiteX1" fmla="*/ 188198 w 209108"/>
                  <a:gd name="connsiteY1" fmla="*/ 207615 h 194172"/>
                  <a:gd name="connsiteX2" fmla="*/ 25392 w 209108"/>
                  <a:gd name="connsiteY2" fmla="*/ 98580 h 194172"/>
                  <a:gd name="connsiteX3" fmla="*/ 4481 w 209108"/>
                  <a:gd name="connsiteY3" fmla="*/ 65720 h 194172"/>
                  <a:gd name="connsiteX4" fmla="*/ 0 w 209108"/>
                  <a:gd name="connsiteY4" fmla="*/ 35847 h 194172"/>
                  <a:gd name="connsiteX5" fmla="*/ 74682 w 209108"/>
                  <a:gd name="connsiteY5" fmla="*/ 22405 h 194172"/>
                  <a:gd name="connsiteX6" fmla="*/ 137414 w 209108"/>
                  <a:gd name="connsiteY6" fmla="*/ 0 h 194172"/>
                  <a:gd name="connsiteX7" fmla="*/ 140402 w 209108"/>
                  <a:gd name="connsiteY7" fmla="*/ 50784 h 194172"/>
                  <a:gd name="connsiteX8" fmla="*/ 222552 w 209108"/>
                  <a:gd name="connsiteY8" fmla="*/ 144882 h 194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9108" h="194172">
                    <a:moveTo>
                      <a:pt x="222552" y="144882"/>
                    </a:moveTo>
                    <a:lnTo>
                      <a:pt x="188198" y="207615"/>
                    </a:lnTo>
                    <a:lnTo>
                      <a:pt x="25392" y="98580"/>
                    </a:lnTo>
                    <a:cubicBezTo>
                      <a:pt x="13443" y="91112"/>
                      <a:pt x="5975" y="79163"/>
                      <a:pt x="4481" y="65720"/>
                    </a:cubicBezTo>
                    <a:lnTo>
                      <a:pt x="0" y="35847"/>
                    </a:lnTo>
                    <a:lnTo>
                      <a:pt x="74682" y="22405"/>
                    </a:lnTo>
                    <a:lnTo>
                      <a:pt x="137414" y="0"/>
                    </a:lnTo>
                    <a:lnTo>
                      <a:pt x="140402" y="50784"/>
                    </a:lnTo>
                    <a:lnTo>
                      <a:pt x="222552" y="144882"/>
                    </a:lnTo>
                    <a:close/>
                  </a:path>
                </a:pathLst>
              </a:custGeom>
              <a:solidFill>
                <a:srgbClr val="3C3C3B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9" name="任意多边形: 形状 698"/>
              <p:cNvSpPr/>
              <p:nvPr/>
            </p:nvSpPr>
            <p:spPr>
              <a:xfrm flipH="1">
                <a:off x="8133497" y="4403774"/>
                <a:ext cx="45463" cy="27278"/>
              </a:xfrm>
              <a:custGeom>
                <a:avLst/>
                <a:gdLst>
                  <a:gd name="connsiteX0" fmla="*/ 64973 w 74681"/>
                  <a:gd name="connsiteY0" fmla="*/ 6721 h 44809"/>
                  <a:gd name="connsiteX1" fmla="*/ 64973 w 74681"/>
                  <a:gd name="connsiteY1" fmla="*/ 38088 h 44809"/>
                  <a:gd name="connsiteX2" fmla="*/ 11202 w 74681"/>
                  <a:gd name="connsiteY2" fmla="*/ 38088 h 44809"/>
                  <a:gd name="connsiteX3" fmla="*/ 11202 w 74681"/>
                  <a:gd name="connsiteY3" fmla="*/ 6721 h 44809"/>
                  <a:gd name="connsiteX4" fmla="*/ 64973 w 74681"/>
                  <a:gd name="connsiteY4" fmla="*/ 6721 h 44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681" h="44809">
                    <a:moveTo>
                      <a:pt x="64973" y="6721"/>
                    </a:moveTo>
                    <a:cubicBezTo>
                      <a:pt x="79909" y="15683"/>
                      <a:pt x="79909" y="29126"/>
                      <a:pt x="64973" y="38088"/>
                    </a:cubicBezTo>
                    <a:cubicBezTo>
                      <a:pt x="50037" y="47050"/>
                      <a:pt x="26139" y="47050"/>
                      <a:pt x="11202" y="38088"/>
                    </a:cubicBezTo>
                    <a:cubicBezTo>
                      <a:pt x="-3734" y="29126"/>
                      <a:pt x="-3734" y="15683"/>
                      <a:pt x="11202" y="6721"/>
                    </a:cubicBezTo>
                    <a:cubicBezTo>
                      <a:pt x="26139" y="-2240"/>
                      <a:pt x="50037" y="-2240"/>
                      <a:pt x="64973" y="6721"/>
                    </a:cubicBezTo>
                    <a:close/>
                  </a:path>
                </a:pathLst>
              </a:custGeom>
              <a:solidFill>
                <a:srgbClr val="3C3C3B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0" name="任意多边形: 形状 699"/>
              <p:cNvSpPr/>
              <p:nvPr/>
            </p:nvSpPr>
            <p:spPr>
              <a:xfrm flipH="1">
                <a:off x="8123950" y="4284632"/>
                <a:ext cx="54555" cy="136389"/>
              </a:xfrm>
              <a:custGeom>
                <a:avLst/>
                <a:gdLst>
                  <a:gd name="connsiteX0" fmla="*/ 0 w 89618"/>
                  <a:gd name="connsiteY0" fmla="*/ 217372 h 224045"/>
                  <a:gd name="connsiteX1" fmla="*/ 20911 w 89618"/>
                  <a:gd name="connsiteY1" fmla="*/ 29174 h 224045"/>
                  <a:gd name="connsiteX2" fmla="*/ 38835 w 89618"/>
                  <a:gd name="connsiteY2" fmla="*/ 9756 h 224045"/>
                  <a:gd name="connsiteX3" fmla="*/ 71694 w 89618"/>
                  <a:gd name="connsiteY3" fmla="*/ 795 h 224045"/>
                  <a:gd name="connsiteX4" fmla="*/ 97086 w 89618"/>
                  <a:gd name="connsiteY4" fmla="*/ 29174 h 224045"/>
                  <a:gd name="connsiteX5" fmla="*/ 76175 w 89618"/>
                  <a:gd name="connsiteY5" fmla="*/ 217372 h 224045"/>
                  <a:gd name="connsiteX6" fmla="*/ 65720 w 89618"/>
                  <a:gd name="connsiteY6" fmla="*/ 226333 h 224045"/>
                  <a:gd name="connsiteX7" fmla="*/ 0 w 89618"/>
                  <a:gd name="connsiteY7" fmla="*/ 217372 h 224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9618" h="224045">
                    <a:moveTo>
                      <a:pt x="0" y="217372"/>
                    </a:moveTo>
                    <a:cubicBezTo>
                      <a:pt x="1494" y="160613"/>
                      <a:pt x="16430" y="35148"/>
                      <a:pt x="20911" y="29174"/>
                    </a:cubicBezTo>
                    <a:cubicBezTo>
                      <a:pt x="25392" y="21705"/>
                      <a:pt x="31366" y="14237"/>
                      <a:pt x="38835" y="9756"/>
                    </a:cubicBezTo>
                    <a:cubicBezTo>
                      <a:pt x="49290" y="3782"/>
                      <a:pt x="59745" y="-2193"/>
                      <a:pt x="71694" y="795"/>
                    </a:cubicBezTo>
                    <a:cubicBezTo>
                      <a:pt x="85137" y="3782"/>
                      <a:pt x="95593" y="15731"/>
                      <a:pt x="97086" y="29174"/>
                    </a:cubicBezTo>
                    <a:cubicBezTo>
                      <a:pt x="98580" y="42616"/>
                      <a:pt x="79163" y="209903"/>
                      <a:pt x="76175" y="217372"/>
                    </a:cubicBezTo>
                    <a:cubicBezTo>
                      <a:pt x="73188" y="224840"/>
                      <a:pt x="73188" y="224840"/>
                      <a:pt x="65720" y="226333"/>
                    </a:cubicBezTo>
                    <a:lnTo>
                      <a:pt x="0" y="217372"/>
                    </a:lnTo>
                    <a:close/>
                  </a:path>
                </a:pathLst>
              </a:custGeom>
              <a:solidFill>
                <a:srgbClr val="3C3C3B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1" name="任意多边形: 形状 700"/>
              <p:cNvSpPr/>
              <p:nvPr/>
            </p:nvSpPr>
            <p:spPr>
              <a:xfrm flipH="1">
                <a:off x="8048936" y="4389453"/>
                <a:ext cx="54555" cy="27278"/>
              </a:xfrm>
              <a:custGeom>
                <a:avLst/>
                <a:gdLst>
                  <a:gd name="connsiteX0" fmla="*/ 6721 w 89618"/>
                  <a:gd name="connsiteY0" fmla="*/ 3361 h 44809"/>
                  <a:gd name="connsiteX1" fmla="*/ 6721 w 89618"/>
                  <a:gd name="connsiteY1" fmla="*/ 21284 h 44809"/>
                  <a:gd name="connsiteX2" fmla="*/ 56011 w 89618"/>
                  <a:gd name="connsiteY2" fmla="*/ 49663 h 44809"/>
                  <a:gd name="connsiteX3" fmla="*/ 87378 w 89618"/>
                  <a:gd name="connsiteY3" fmla="*/ 49663 h 44809"/>
                  <a:gd name="connsiteX4" fmla="*/ 87378 w 89618"/>
                  <a:gd name="connsiteY4" fmla="*/ 49663 h 44809"/>
                  <a:gd name="connsiteX5" fmla="*/ 87378 w 89618"/>
                  <a:gd name="connsiteY5" fmla="*/ 31740 h 44809"/>
                  <a:gd name="connsiteX6" fmla="*/ 38088 w 89618"/>
                  <a:gd name="connsiteY6" fmla="*/ 3361 h 44809"/>
                  <a:gd name="connsiteX7" fmla="*/ 6721 w 89618"/>
                  <a:gd name="connsiteY7" fmla="*/ 3361 h 44809"/>
                  <a:gd name="connsiteX8" fmla="*/ 6721 w 89618"/>
                  <a:gd name="connsiteY8" fmla="*/ 3361 h 44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618" h="44809">
                    <a:moveTo>
                      <a:pt x="6721" y="3361"/>
                    </a:moveTo>
                    <a:cubicBezTo>
                      <a:pt x="-2240" y="7842"/>
                      <a:pt x="-2240" y="16803"/>
                      <a:pt x="6721" y="21284"/>
                    </a:cubicBezTo>
                    <a:lnTo>
                      <a:pt x="56011" y="49663"/>
                    </a:lnTo>
                    <a:cubicBezTo>
                      <a:pt x="64973" y="54144"/>
                      <a:pt x="78416" y="54144"/>
                      <a:pt x="87378" y="49663"/>
                    </a:cubicBezTo>
                    <a:lnTo>
                      <a:pt x="87378" y="49663"/>
                    </a:lnTo>
                    <a:cubicBezTo>
                      <a:pt x="96339" y="45183"/>
                      <a:pt x="96339" y="36221"/>
                      <a:pt x="87378" y="31740"/>
                    </a:cubicBezTo>
                    <a:lnTo>
                      <a:pt x="38088" y="3361"/>
                    </a:lnTo>
                    <a:cubicBezTo>
                      <a:pt x="29126" y="-1120"/>
                      <a:pt x="14190" y="-1120"/>
                      <a:pt x="6721" y="3361"/>
                    </a:cubicBezTo>
                    <a:lnTo>
                      <a:pt x="6721" y="3361"/>
                    </a:lnTo>
                    <a:close/>
                  </a:path>
                </a:pathLst>
              </a:custGeom>
              <a:solidFill>
                <a:srgbClr val="575756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2" name="任意多边形: 形状 701"/>
              <p:cNvSpPr/>
              <p:nvPr/>
            </p:nvSpPr>
            <p:spPr>
              <a:xfrm flipH="1">
                <a:off x="8048482" y="4372405"/>
                <a:ext cx="54555" cy="36370"/>
              </a:xfrm>
              <a:custGeom>
                <a:avLst/>
                <a:gdLst>
                  <a:gd name="connsiteX0" fmla="*/ 52277 w 89618"/>
                  <a:gd name="connsiteY0" fmla="*/ 2987 h 59745"/>
                  <a:gd name="connsiteX1" fmla="*/ 16430 w 89618"/>
                  <a:gd name="connsiteY1" fmla="*/ 0 h 59745"/>
                  <a:gd name="connsiteX2" fmla="*/ 0 w 89618"/>
                  <a:gd name="connsiteY2" fmla="*/ 40328 h 59745"/>
                  <a:gd name="connsiteX3" fmla="*/ 92605 w 89618"/>
                  <a:gd name="connsiteY3" fmla="*/ 70201 h 59745"/>
                  <a:gd name="connsiteX4" fmla="*/ 62733 w 89618"/>
                  <a:gd name="connsiteY4" fmla="*/ 26885 h 59745"/>
                  <a:gd name="connsiteX5" fmla="*/ 52277 w 89618"/>
                  <a:gd name="connsiteY5" fmla="*/ 2987 h 59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618" h="59745">
                    <a:moveTo>
                      <a:pt x="52277" y="2987"/>
                    </a:moveTo>
                    <a:lnTo>
                      <a:pt x="16430" y="0"/>
                    </a:lnTo>
                    <a:cubicBezTo>
                      <a:pt x="8962" y="10456"/>
                      <a:pt x="1494" y="22405"/>
                      <a:pt x="0" y="40328"/>
                    </a:cubicBezTo>
                    <a:lnTo>
                      <a:pt x="92605" y="70201"/>
                    </a:lnTo>
                    <a:cubicBezTo>
                      <a:pt x="95593" y="58252"/>
                      <a:pt x="80656" y="38835"/>
                      <a:pt x="62733" y="26885"/>
                    </a:cubicBezTo>
                    <a:cubicBezTo>
                      <a:pt x="55264" y="22405"/>
                      <a:pt x="58252" y="10456"/>
                      <a:pt x="52277" y="2987"/>
                    </a:cubicBezTo>
                    <a:close/>
                  </a:path>
                </a:pathLst>
              </a:custGeom>
              <a:solidFill>
                <a:srgbClr val="575756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3" name="任意多边形: 形状 702"/>
              <p:cNvSpPr/>
              <p:nvPr/>
            </p:nvSpPr>
            <p:spPr>
              <a:xfrm flipH="1">
                <a:off x="8069395" y="4188734"/>
                <a:ext cx="154574" cy="100019"/>
              </a:xfrm>
              <a:custGeom>
                <a:avLst/>
                <a:gdLst>
                  <a:gd name="connsiteX0" fmla="*/ 253918 w 253917"/>
                  <a:gd name="connsiteY0" fmla="*/ 94099 h 164299"/>
                  <a:gd name="connsiteX1" fmla="*/ 230020 w 253917"/>
                  <a:gd name="connsiteY1" fmla="*/ 165793 h 164299"/>
                  <a:gd name="connsiteX2" fmla="*/ 213590 w 253917"/>
                  <a:gd name="connsiteY2" fmla="*/ 159819 h 164299"/>
                  <a:gd name="connsiteX3" fmla="*/ 0 w 253917"/>
                  <a:gd name="connsiteY3" fmla="*/ 83644 h 164299"/>
                  <a:gd name="connsiteX4" fmla="*/ 101567 w 253917"/>
                  <a:gd name="connsiteY4" fmla="*/ 0 h 164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3917" h="164299">
                    <a:moveTo>
                      <a:pt x="253918" y="94099"/>
                    </a:moveTo>
                    <a:lnTo>
                      <a:pt x="230020" y="165793"/>
                    </a:lnTo>
                    <a:lnTo>
                      <a:pt x="213590" y="159819"/>
                    </a:lnTo>
                    <a:lnTo>
                      <a:pt x="0" y="83644"/>
                    </a:lnTo>
                    <a:lnTo>
                      <a:pt x="101567" y="0"/>
                    </a:lnTo>
                    <a:close/>
                  </a:path>
                </a:pathLst>
              </a:custGeom>
              <a:solidFill>
                <a:srgbClr val="3C3C3B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4" name="任意多边形: 形状 703"/>
              <p:cNvSpPr/>
              <p:nvPr/>
            </p:nvSpPr>
            <p:spPr>
              <a:xfrm flipH="1">
                <a:off x="8062575" y="4364448"/>
                <a:ext cx="45463" cy="18185"/>
              </a:xfrm>
              <a:custGeom>
                <a:avLst/>
                <a:gdLst>
                  <a:gd name="connsiteX0" fmla="*/ 64973 w 74681"/>
                  <a:gd name="connsiteY0" fmla="*/ 5601 h 29872"/>
                  <a:gd name="connsiteX1" fmla="*/ 64973 w 74681"/>
                  <a:gd name="connsiteY1" fmla="*/ 36968 h 29872"/>
                  <a:gd name="connsiteX2" fmla="*/ 11202 w 74681"/>
                  <a:gd name="connsiteY2" fmla="*/ 36968 h 29872"/>
                  <a:gd name="connsiteX3" fmla="*/ 11202 w 74681"/>
                  <a:gd name="connsiteY3" fmla="*/ 5601 h 29872"/>
                  <a:gd name="connsiteX4" fmla="*/ 64973 w 74681"/>
                  <a:gd name="connsiteY4" fmla="*/ 5601 h 2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681" h="29872">
                    <a:moveTo>
                      <a:pt x="64973" y="5601"/>
                    </a:moveTo>
                    <a:cubicBezTo>
                      <a:pt x="79910" y="14563"/>
                      <a:pt x="79910" y="28006"/>
                      <a:pt x="64973" y="36968"/>
                    </a:cubicBezTo>
                    <a:cubicBezTo>
                      <a:pt x="50037" y="45929"/>
                      <a:pt x="26139" y="45929"/>
                      <a:pt x="11202" y="36968"/>
                    </a:cubicBezTo>
                    <a:cubicBezTo>
                      <a:pt x="-3734" y="28006"/>
                      <a:pt x="-3734" y="14563"/>
                      <a:pt x="11202" y="5601"/>
                    </a:cubicBezTo>
                    <a:cubicBezTo>
                      <a:pt x="26139" y="-1867"/>
                      <a:pt x="50037" y="-1867"/>
                      <a:pt x="64973" y="5601"/>
                    </a:cubicBezTo>
                    <a:close/>
                  </a:path>
                </a:pathLst>
              </a:custGeom>
              <a:solidFill>
                <a:srgbClr val="3C3C3B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5" name="任意多边形: 形状 704"/>
              <p:cNvSpPr/>
              <p:nvPr/>
            </p:nvSpPr>
            <p:spPr>
              <a:xfrm flipH="1">
                <a:off x="8062616" y="4244968"/>
                <a:ext cx="45463" cy="127296"/>
              </a:xfrm>
              <a:custGeom>
                <a:avLst/>
                <a:gdLst>
                  <a:gd name="connsiteX0" fmla="*/ 814 w 74681"/>
                  <a:gd name="connsiteY0" fmla="*/ 218301 h 209108"/>
                  <a:gd name="connsiteX1" fmla="*/ 6789 w 74681"/>
                  <a:gd name="connsiteY1" fmla="*/ 48027 h 209108"/>
                  <a:gd name="connsiteX2" fmla="*/ 21725 w 74681"/>
                  <a:gd name="connsiteY2" fmla="*/ 12179 h 209108"/>
                  <a:gd name="connsiteX3" fmla="*/ 53091 w 74681"/>
                  <a:gd name="connsiteY3" fmla="*/ 230 h 209108"/>
                  <a:gd name="connsiteX4" fmla="*/ 82964 w 74681"/>
                  <a:gd name="connsiteY4" fmla="*/ 37571 h 209108"/>
                  <a:gd name="connsiteX5" fmla="*/ 76990 w 74681"/>
                  <a:gd name="connsiteY5" fmla="*/ 218301 h 209108"/>
                  <a:gd name="connsiteX6" fmla="*/ 54585 w 74681"/>
                  <a:gd name="connsiteY6" fmla="*/ 218301 h 209108"/>
                  <a:gd name="connsiteX7" fmla="*/ 814 w 74681"/>
                  <a:gd name="connsiteY7" fmla="*/ 218301 h 209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4681" h="209108">
                    <a:moveTo>
                      <a:pt x="814" y="218301"/>
                    </a:moveTo>
                    <a:cubicBezTo>
                      <a:pt x="-2173" y="163037"/>
                      <a:pt x="3801" y="54001"/>
                      <a:pt x="6789" y="48027"/>
                    </a:cubicBezTo>
                    <a:cubicBezTo>
                      <a:pt x="9776" y="40559"/>
                      <a:pt x="15750" y="16660"/>
                      <a:pt x="21725" y="12179"/>
                    </a:cubicBezTo>
                    <a:cubicBezTo>
                      <a:pt x="30687" y="4711"/>
                      <a:pt x="41142" y="-1263"/>
                      <a:pt x="53091" y="230"/>
                    </a:cubicBezTo>
                    <a:cubicBezTo>
                      <a:pt x="66534" y="1724"/>
                      <a:pt x="78483" y="10686"/>
                      <a:pt x="82964" y="37571"/>
                    </a:cubicBezTo>
                    <a:cubicBezTo>
                      <a:pt x="84458" y="51014"/>
                      <a:pt x="79977" y="210833"/>
                      <a:pt x="76990" y="218301"/>
                    </a:cubicBezTo>
                    <a:cubicBezTo>
                      <a:pt x="75496" y="225769"/>
                      <a:pt x="63547" y="215314"/>
                      <a:pt x="54585" y="218301"/>
                    </a:cubicBezTo>
                    <a:lnTo>
                      <a:pt x="814" y="218301"/>
                    </a:lnTo>
                    <a:close/>
                  </a:path>
                </a:pathLst>
              </a:custGeom>
              <a:solidFill>
                <a:srgbClr val="3C3C3B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6" name="任意多边形: 形状 705"/>
              <p:cNvSpPr/>
              <p:nvPr/>
            </p:nvSpPr>
            <p:spPr>
              <a:xfrm flipH="1">
                <a:off x="8148224" y="4042619"/>
                <a:ext cx="54555" cy="100019"/>
              </a:xfrm>
              <a:custGeom>
                <a:avLst/>
                <a:gdLst>
                  <a:gd name="connsiteX0" fmla="*/ 89165 w 89618"/>
                  <a:gd name="connsiteY0" fmla="*/ 136962 h 164299"/>
                  <a:gd name="connsiteX1" fmla="*/ 66761 w 89618"/>
                  <a:gd name="connsiteY1" fmla="*/ 174302 h 164299"/>
                  <a:gd name="connsiteX2" fmla="*/ 66761 w 89618"/>
                  <a:gd name="connsiteY2" fmla="*/ 174302 h 164299"/>
                  <a:gd name="connsiteX3" fmla="*/ 29420 w 89618"/>
                  <a:gd name="connsiteY3" fmla="*/ 151898 h 164299"/>
                  <a:gd name="connsiteX4" fmla="*/ 1041 w 89618"/>
                  <a:gd name="connsiteY4" fmla="*/ 38382 h 164299"/>
                  <a:gd name="connsiteX5" fmla="*/ 23445 w 89618"/>
                  <a:gd name="connsiteY5" fmla="*/ 1041 h 164299"/>
                  <a:gd name="connsiteX6" fmla="*/ 23445 w 89618"/>
                  <a:gd name="connsiteY6" fmla="*/ 1041 h 164299"/>
                  <a:gd name="connsiteX7" fmla="*/ 60786 w 89618"/>
                  <a:gd name="connsiteY7" fmla="*/ 23445 h 164299"/>
                  <a:gd name="connsiteX8" fmla="*/ 89165 w 89618"/>
                  <a:gd name="connsiteY8" fmla="*/ 136962 h 164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618" h="164299">
                    <a:moveTo>
                      <a:pt x="89165" y="136962"/>
                    </a:moveTo>
                    <a:cubicBezTo>
                      <a:pt x="93646" y="153391"/>
                      <a:pt x="83191" y="169821"/>
                      <a:pt x="66761" y="174302"/>
                    </a:cubicBezTo>
                    <a:lnTo>
                      <a:pt x="66761" y="174302"/>
                    </a:lnTo>
                    <a:cubicBezTo>
                      <a:pt x="50331" y="178783"/>
                      <a:pt x="33901" y="168328"/>
                      <a:pt x="29420" y="151898"/>
                    </a:cubicBezTo>
                    <a:lnTo>
                      <a:pt x="1041" y="38382"/>
                    </a:lnTo>
                    <a:cubicBezTo>
                      <a:pt x="-3440" y="21952"/>
                      <a:pt x="7015" y="5522"/>
                      <a:pt x="23445" y="1041"/>
                    </a:cubicBezTo>
                    <a:lnTo>
                      <a:pt x="23445" y="1041"/>
                    </a:lnTo>
                    <a:cubicBezTo>
                      <a:pt x="39875" y="-3440"/>
                      <a:pt x="56305" y="7015"/>
                      <a:pt x="60786" y="23445"/>
                    </a:cubicBezTo>
                    <a:lnTo>
                      <a:pt x="89165" y="136962"/>
                    </a:lnTo>
                    <a:close/>
                  </a:path>
                </a:pathLst>
              </a:custGeom>
              <a:solidFill>
                <a:srgbClr val="1B89B8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7" name="任意多边形: 形状 706"/>
              <p:cNvSpPr/>
              <p:nvPr/>
            </p:nvSpPr>
            <p:spPr>
              <a:xfrm flipH="1">
                <a:off x="8170323" y="4176005"/>
                <a:ext cx="81833" cy="54555"/>
              </a:xfrm>
              <a:custGeom>
                <a:avLst/>
                <a:gdLst>
                  <a:gd name="connsiteX0" fmla="*/ 0 w 134427"/>
                  <a:gd name="connsiteY0" fmla="*/ 85137 h 89618"/>
                  <a:gd name="connsiteX1" fmla="*/ 37341 w 134427"/>
                  <a:gd name="connsiteY1" fmla="*/ 89618 h 89618"/>
                  <a:gd name="connsiteX2" fmla="*/ 73188 w 134427"/>
                  <a:gd name="connsiteY2" fmla="*/ 76175 h 89618"/>
                  <a:gd name="connsiteX3" fmla="*/ 126959 w 134427"/>
                  <a:gd name="connsiteY3" fmla="*/ 43315 h 89618"/>
                  <a:gd name="connsiteX4" fmla="*/ 147870 w 134427"/>
                  <a:gd name="connsiteY4" fmla="*/ 22405 h 89618"/>
                  <a:gd name="connsiteX5" fmla="*/ 147870 w 134427"/>
                  <a:gd name="connsiteY5" fmla="*/ 22405 h 89618"/>
                  <a:gd name="connsiteX6" fmla="*/ 144882 w 134427"/>
                  <a:gd name="connsiteY6" fmla="*/ 0 h 89618"/>
                  <a:gd name="connsiteX7" fmla="*/ 141895 w 134427"/>
                  <a:gd name="connsiteY7" fmla="*/ 0 h 89618"/>
                  <a:gd name="connsiteX8" fmla="*/ 83643 w 134427"/>
                  <a:gd name="connsiteY8" fmla="*/ 41822 h 89618"/>
                  <a:gd name="connsiteX9" fmla="*/ 70201 w 134427"/>
                  <a:gd name="connsiteY9" fmla="*/ 47796 h 89618"/>
                  <a:gd name="connsiteX10" fmla="*/ 5974 w 134427"/>
                  <a:gd name="connsiteY10" fmla="*/ 56758 h 89618"/>
                  <a:gd name="connsiteX11" fmla="*/ 0 w 134427"/>
                  <a:gd name="connsiteY11" fmla="*/ 85137 h 89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4427" h="89618">
                    <a:moveTo>
                      <a:pt x="0" y="85137"/>
                    </a:moveTo>
                    <a:cubicBezTo>
                      <a:pt x="10455" y="91112"/>
                      <a:pt x="23898" y="92605"/>
                      <a:pt x="37341" y="89618"/>
                    </a:cubicBezTo>
                    <a:cubicBezTo>
                      <a:pt x="49290" y="86631"/>
                      <a:pt x="61239" y="82150"/>
                      <a:pt x="73188" y="76175"/>
                    </a:cubicBezTo>
                    <a:cubicBezTo>
                      <a:pt x="92605" y="67214"/>
                      <a:pt x="110529" y="55264"/>
                      <a:pt x="126959" y="43315"/>
                    </a:cubicBezTo>
                    <a:cubicBezTo>
                      <a:pt x="134427" y="37341"/>
                      <a:pt x="143389" y="31366"/>
                      <a:pt x="147870" y="22405"/>
                    </a:cubicBezTo>
                    <a:cubicBezTo>
                      <a:pt x="147870" y="22405"/>
                      <a:pt x="147870" y="22405"/>
                      <a:pt x="147870" y="22405"/>
                    </a:cubicBezTo>
                    <a:lnTo>
                      <a:pt x="144882" y="0"/>
                    </a:lnTo>
                    <a:lnTo>
                      <a:pt x="141895" y="0"/>
                    </a:lnTo>
                    <a:cubicBezTo>
                      <a:pt x="123972" y="16430"/>
                      <a:pt x="104554" y="31366"/>
                      <a:pt x="83643" y="41822"/>
                    </a:cubicBezTo>
                    <a:cubicBezTo>
                      <a:pt x="79163" y="44809"/>
                      <a:pt x="74682" y="46303"/>
                      <a:pt x="70201" y="47796"/>
                    </a:cubicBezTo>
                    <a:cubicBezTo>
                      <a:pt x="49290" y="56758"/>
                      <a:pt x="28379" y="61239"/>
                      <a:pt x="5974" y="56758"/>
                    </a:cubicBezTo>
                    <a:cubicBezTo>
                      <a:pt x="2987" y="67214"/>
                      <a:pt x="1493" y="76175"/>
                      <a:pt x="0" y="85137"/>
                    </a:cubicBezTo>
                    <a:close/>
                  </a:path>
                </a:pathLst>
              </a:custGeom>
              <a:solidFill>
                <a:srgbClr val="432918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8" name="任意多边形: 形状 707"/>
              <p:cNvSpPr/>
              <p:nvPr/>
            </p:nvSpPr>
            <p:spPr>
              <a:xfrm flipH="1">
                <a:off x="8170322" y="4037137"/>
                <a:ext cx="100019" cy="181852"/>
              </a:xfrm>
              <a:custGeom>
                <a:avLst/>
                <a:gdLst>
                  <a:gd name="connsiteX0" fmla="*/ 177742 w 164299"/>
                  <a:gd name="connsiteY0" fmla="*/ 213180 h 298726"/>
                  <a:gd name="connsiteX1" fmla="*/ 147870 w 164299"/>
                  <a:gd name="connsiteY1" fmla="*/ 263964 h 298726"/>
                  <a:gd name="connsiteX2" fmla="*/ 143389 w 164299"/>
                  <a:gd name="connsiteY2" fmla="*/ 265458 h 298726"/>
                  <a:gd name="connsiteX3" fmla="*/ 128452 w 164299"/>
                  <a:gd name="connsiteY3" fmla="*/ 274419 h 298726"/>
                  <a:gd name="connsiteX4" fmla="*/ 125465 w 164299"/>
                  <a:gd name="connsiteY4" fmla="*/ 275913 h 298726"/>
                  <a:gd name="connsiteX5" fmla="*/ 94099 w 164299"/>
                  <a:gd name="connsiteY5" fmla="*/ 293837 h 298726"/>
                  <a:gd name="connsiteX6" fmla="*/ 92605 w 164299"/>
                  <a:gd name="connsiteY6" fmla="*/ 293837 h 298726"/>
                  <a:gd name="connsiteX7" fmla="*/ 52277 w 164299"/>
                  <a:gd name="connsiteY7" fmla="*/ 299811 h 298726"/>
                  <a:gd name="connsiteX8" fmla="*/ 46303 w 164299"/>
                  <a:gd name="connsiteY8" fmla="*/ 298318 h 298726"/>
                  <a:gd name="connsiteX9" fmla="*/ 4481 w 164299"/>
                  <a:gd name="connsiteY9" fmla="*/ 241559 h 298726"/>
                  <a:gd name="connsiteX10" fmla="*/ 0 w 164299"/>
                  <a:gd name="connsiteY10" fmla="*/ 72779 h 298726"/>
                  <a:gd name="connsiteX11" fmla="*/ 61239 w 164299"/>
                  <a:gd name="connsiteY11" fmla="*/ 11540 h 298726"/>
                  <a:gd name="connsiteX12" fmla="*/ 119491 w 164299"/>
                  <a:gd name="connsiteY12" fmla="*/ 4072 h 298726"/>
                  <a:gd name="connsiteX13" fmla="*/ 164300 w 164299"/>
                  <a:gd name="connsiteY13" fmla="*/ 56349 h 298726"/>
                  <a:gd name="connsiteX14" fmla="*/ 165793 w 164299"/>
                  <a:gd name="connsiteY14" fmla="*/ 75766 h 298726"/>
                  <a:gd name="connsiteX15" fmla="*/ 167287 w 164299"/>
                  <a:gd name="connsiteY15" fmla="*/ 101158 h 298726"/>
                  <a:gd name="connsiteX16" fmla="*/ 167287 w 164299"/>
                  <a:gd name="connsiteY16" fmla="*/ 107132 h 298726"/>
                  <a:gd name="connsiteX17" fmla="*/ 173261 w 164299"/>
                  <a:gd name="connsiteY17" fmla="*/ 163890 h 298726"/>
                  <a:gd name="connsiteX18" fmla="*/ 174755 w 164299"/>
                  <a:gd name="connsiteY18" fmla="*/ 193763 h 298726"/>
                  <a:gd name="connsiteX19" fmla="*/ 177742 w 164299"/>
                  <a:gd name="connsiteY19" fmla="*/ 213180 h 298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64299" h="298726">
                    <a:moveTo>
                      <a:pt x="177742" y="213180"/>
                    </a:moveTo>
                    <a:cubicBezTo>
                      <a:pt x="177742" y="234091"/>
                      <a:pt x="165793" y="253508"/>
                      <a:pt x="147870" y="263964"/>
                    </a:cubicBezTo>
                    <a:lnTo>
                      <a:pt x="143389" y="265458"/>
                    </a:lnTo>
                    <a:lnTo>
                      <a:pt x="128452" y="274419"/>
                    </a:lnTo>
                    <a:lnTo>
                      <a:pt x="125465" y="275913"/>
                    </a:lnTo>
                    <a:lnTo>
                      <a:pt x="94099" y="293837"/>
                    </a:lnTo>
                    <a:cubicBezTo>
                      <a:pt x="94099" y="293837"/>
                      <a:pt x="94099" y="293837"/>
                      <a:pt x="92605" y="293837"/>
                    </a:cubicBezTo>
                    <a:cubicBezTo>
                      <a:pt x="79163" y="301305"/>
                      <a:pt x="65720" y="302798"/>
                      <a:pt x="52277" y="299811"/>
                    </a:cubicBezTo>
                    <a:cubicBezTo>
                      <a:pt x="50783" y="299811"/>
                      <a:pt x="47796" y="298318"/>
                      <a:pt x="46303" y="298318"/>
                    </a:cubicBezTo>
                    <a:cubicBezTo>
                      <a:pt x="22405" y="290849"/>
                      <a:pt x="4481" y="269939"/>
                      <a:pt x="4481" y="241559"/>
                    </a:cubicBezTo>
                    <a:lnTo>
                      <a:pt x="0" y="72779"/>
                    </a:lnTo>
                    <a:cubicBezTo>
                      <a:pt x="13443" y="48881"/>
                      <a:pt x="34354" y="29463"/>
                      <a:pt x="61239" y="11540"/>
                    </a:cubicBezTo>
                    <a:cubicBezTo>
                      <a:pt x="80656" y="-409"/>
                      <a:pt x="101567" y="-3397"/>
                      <a:pt x="119491" y="4072"/>
                    </a:cubicBezTo>
                    <a:cubicBezTo>
                      <a:pt x="141895" y="11540"/>
                      <a:pt x="158325" y="30957"/>
                      <a:pt x="164300" y="56349"/>
                    </a:cubicBezTo>
                    <a:cubicBezTo>
                      <a:pt x="165793" y="62323"/>
                      <a:pt x="165793" y="69791"/>
                      <a:pt x="165793" y="75766"/>
                    </a:cubicBezTo>
                    <a:lnTo>
                      <a:pt x="167287" y="101158"/>
                    </a:lnTo>
                    <a:lnTo>
                      <a:pt x="167287" y="107132"/>
                    </a:lnTo>
                    <a:lnTo>
                      <a:pt x="173261" y="163890"/>
                    </a:lnTo>
                    <a:lnTo>
                      <a:pt x="174755" y="193763"/>
                    </a:lnTo>
                    <a:lnTo>
                      <a:pt x="177742" y="213180"/>
                    </a:lnTo>
                    <a:close/>
                  </a:path>
                </a:pathLst>
              </a:custGeom>
              <a:solidFill>
                <a:srgbClr val="1B89B8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9" name="任意多边形: 形状 708"/>
              <p:cNvSpPr/>
              <p:nvPr/>
            </p:nvSpPr>
            <p:spPr>
              <a:xfrm flipH="1">
                <a:off x="8216695" y="4095990"/>
                <a:ext cx="36370" cy="118203"/>
              </a:xfrm>
              <a:custGeom>
                <a:avLst/>
                <a:gdLst>
                  <a:gd name="connsiteX0" fmla="*/ 64226 w 59745"/>
                  <a:gd name="connsiteY0" fmla="*/ 198653 h 194172"/>
                  <a:gd name="connsiteX1" fmla="*/ 23898 w 59745"/>
                  <a:gd name="connsiteY1" fmla="*/ 204628 h 194172"/>
                  <a:gd name="connsiteX2" fmla="*/ 17924 w 59745"/>
                  <a:gd name="connsiteY2" fmla="*/ 203134 h 194172"/>
                  <a:gd name="connsiteX3" fmla="*/ 4481 w 59745"/>
                  <a:gd name="connsiteY3" fmla="*/ 137414 h 194172"/>
                  <a:gd name="connsiteX4" fmla="*/ 0 w 59745"/>
                  <a:gd name="connsiteY4" fmla="*/ 104554 h 194172"/>
                  <a:gd name="connsiteX5" fmla="*/ 4481 w 59745"/>
                  <a:gd name="connsiteY5" fmla="*/ 64226 h 194172"/>
                  <a:gd name="connsiteX6" fmla="*/ 13443 w 59745"/>
                  <a:gd name="connsiteY6" fmla="*/ 19417 h 194172"/>
                  <a:gd name="connsiteX7" fmla="*/ 20911 w 59745"/>
                  <a:gd name="connsiteY7" fmla="*/ 0 h 194172"/>
                  <a:gd name="connsiteX8" fmla="*/ 25392 w 59745"/>
                  <a:gd name="connsiteY8" fmla="*/ 91112 h 194172"/>
                  <a:gd name="connsiteX9" fmla="*/ 26885 w 59745"/>
                  <a:gd name="connsiteY9" fmla="*/ 110529 h 194172"/>
                  <a:gd name="connsiteX10" fmla="*/ 31366 w 59745"/>
                  <a:gd name="connsiteY10" fmla="*/ 132933 h 194172"/>
                  <a:gd name="connsiteX11" fmla="*/ 64226 w 59745"/>
                  <a:gd name="connsiteY11" fmla="*/ 198653 h 194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9745" h="194172">
                    <a:moveTo>
                      <a:pt x="64226" y="198653"/>
                    </a:moveTo>
                    <a:cubicBezTo>
                      <a:pt x="50784" y="206122"/>
                      <a:pt x="37341" y="207615"/>
                      <a:pt x="23898" y="204628"/>
                    </a:cubicBezTo>
                    <a:cubicBezTo>
                      <a:pt x="22405" y="204628"/>
                      <a:pt x="19417" y="203134"/>
                      <a:pt x="17924" y="203134"/>
                    </a:cubicBezTo>
                    <a:cubicBezTo>
                      <a:pt x="13443" y="180730"/>
                      <a:pt x="8962" y="159819"/>
                      <a:pt x="4481" y="137414"/>
                    </a:cubicBezTo>
                    <a:cubicBezTo>
                      <a:pt x="2987" y="126959"/>
                      <a:pt x="0" y="115010"/>
                      <a:pt x="0" y="104554"/>
                    </a:cubicBezTo>
                    <a:cubicBezTo>
                      <a:pt x="0" y="91112"/>
                      <a:pt x="2987" y="77669"/>
                      <a:pt x="4481" y="64226"/>
                    </a:cubicBezTo>
                    <a:cubicBezTo>
                      <a:pt x="7468" y="49290"/>
                      <a:pt x="10455" y="34354"/>
                      <a:pt x="13443" y="19417"/>
                    </a:cubicBezTo>
                    <a:cubicBezTo>
                      <a:pt x="14936" y="13443"/>
                      <a:pt x="16430" y="5974"/>
                      <a:pt x="20911" y="0"/>
                    </a:cubicBezTo>
                    <a:cubicBezTo>
                      <a:pt x="22405" y="31366"/>
                      <a:pt x="23898" y="61239"/>
                      <a:pt x="25392" y="91112"/>
                    </a:cubicBezTo>
                    <a:cubicBezTo>
                      <a:pt x="25392" y="97086"/>
                      <a:pt x="25392" y="104554"/>
                      <a:pt x="26885" y="110529"/>
                    </a:cubicBezTo>
                    <a:cubicBezTo>
                      <a:pt x="28379" y="117997"/>
                      <a:pt x="29873" y="125465"/>
                      <a:pt x="31366" y="132933"/>
                    </a:cubicBezTo>
                    <a:cubicBezTo>
                      <a:pt x="37341" y="153844"/>
                      <a:pt x="43316" y="183717"/>
                      <a:pt x="64226" y="198653"/>
                    </a:cubicBezTo>
                    <a:close/>
                  </a:path>
                </a:pathLst>
              </a:custGeom>
              <a:solidFill>
                <a:srgbClr val="1D1D1B">
                  <a:alpha val="10000"/>
                </a:srgbClr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0" name="任意多边形: 形状 709"/>
              <p:cNvSpPr/>
              <p:nvPr/>
            </p:nvSpPr>
            <p:spPr>
              <a:xfrm flipH="1">
                <a:off x="8190326" y="4085988"/>
                <a:ext cx="9092" cy="9092"/>
              </a:xfrm>
              <a:custGeom>
                <a:avLst/>
                <a:gdLst>
                  <a:gd name="connsiteX0" fmla="*/ 8962 w 0"/>
                  <a:gd name="connsiteY0" fmla="*/ 2987 h 0"/>
                  <a:gd name="connsiteX1" fmla="*/ 4481 w 0"/>
                  <a:gd name="connsiteY1" fmla="*/ 10456 h 0"/>
                  <a:gd name="connsiteX2" fmla="*/ 0 w 0"/>
                  <a:gd name="connsiteY2" fmla="*/ 7468 h 0"/>
                  <a:gd name="connsiteX3" fmla="*/ 4481 w 0"/>
                  <a:gd name="connsiteY3" fmla="*/ 0 h 0"/>
                  <a:gd name="connsiteX4" fmla="*/ 8962 w 0"/>
                  <a:gd name="connsiteY4" fmla="*/ 2987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>
                    <a:moveTo>
                      <a:pt x="8962" y="2987"/>
                    </a:moveTo>
                    <a:cubicBezTo>
                      <a:pt x="8962" y="5975"/>
                      <a:pt x="7468" y="8962"/>
                      <a:pt x="4481" y="10456"/>
                    </a:cubicBezTo>
                    <a:cubicBezTo>
                      <a:pt x="1493" y="11949"/>
                      <a:pt x="0" y="10456"/>
                      <a:pt x="0" y="7468"/>
                    </a:cubicBezTo>
                    <a:cubicBezTo>
                      <a:pt x="0" y="4481"/>
                      <a:pt x="1493" y="1494"/>
                      <a:pt x="4481" y="0"/>
                    </a:cubicBezTo>
                    <a:cubicBezTo>
                      <a:pt x="5974" y="0"/>
                      <a:pt x="8962" y="0"/>
                      <a:pt x="8962" y="2987"/>
                    </a:cubicBezTo>
                    <a:close/>
                  </a:path>
                </a:pathLst>
              </a:custGeom>
              <a:solidFill>
                <a:srgbClr val="9D9D9C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1" name="任意多边形: 形状 710"/>
              <p:cNvSpPr/>
              <p:nvPr/>
            </p:nvSpPr>
            <p:spPr>
              <a:xfrm flipH="1">
                <a:off x="8186689" y="4124729"/>
                <a:ext cx="9092" cy="9092"/>
              </a:xfrm>
              <a:custGeom>
                <a:avLst/>
                <a:gdLst>
                  <a:gd name="connsiteX0" fmla="*/ 8962 w 0"/>
                  <a:gd name="connsiteY0" fmla="*/ 3573 h 0"/>
                  <a:gd name="connsiteX1" fmla="*/ 4481 w 0"/>
                  <a:gd name="connsiteY1" fmla="*/ 11041 h 0"/>
                  <a:gd name="connsiteX2" fmla="*/ 0 w 0"/>
                  <a:gd name="connsiteY2" fmla="*/ 8054 h 0"/>
                  <a:gd name="connsiteX3" fmla="*/ 4481 w 0"/>
                  <a:gd name="connsiteY3" fmla="*/ 586 h 0"/>
                  <a:gd name="connsiteX4" fmla="*/ 8962 w 0"/>
                  <a:gd name="connsiteY4" fmla="*/ 3573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>
                    <a:moveTo>
                      <a:pt x="8962" y="3573"/>
                    </a:moveTo>
                    <a:cubicBezTo>
                      <a:pt x="8962" y="6561"/>
                      <a:pt x="7468" y="9548"/>
                      <a:pt x="4481" y="11041"/>
                    </a:cubicBezTo>
                    <a:cubicBezTo>
                      <a:pt x="1494" y="12535"/>
                      <a:pt x="0" y="11041"/>
                      <a:pt x="0" y="8054"/>
                    </a:cubicBezTo>
                    <a:cubicBezTo>
                      <a:pt x="0" y="5067"/>
                      <a:pt x="1494" y="2080"/>
                      <a:pt x="4481" y="586"/>
                    </a:cubicBezTo>
                    <a:cubicBezTo>
                      <a:pt x="7468" y="-908"/>
                      <a:pt x="8962" y="586"/>
                      <a:pt x="8962" y="3573"/>
                    </a:cubicBezTo>
                    <a:close/>
                  </a:path>
                </a:pathLst>
              </a:custGeom>
              <a:solidFill>
                <a:srgbClr val="9D9D9C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2" name="任意多边形: 形状 711"/>
              <p:cNvSpPr/>
              <p:nvPr/>
            </p:nvSpPr>
            <p:spPr>
              <a:xfrm flipH="1">
                <a:off x="8183961" y="4161100"/>
                <a:ext cx="9092" cy="9092"/>
              </a:xfrm>
              <a:custGeom>
                <a:avLst/>
                <a:gdLst>
                  <a:gd name="connsiteX0" fmla="*/ 8962 w 0"/>
                  <a:gd name="connsiteY0" fmla="*/ 3573 h 0"/>
                  <a:gd name="connsiteX1" fmla="*/ 4481 w 0"/>
                  <a:gd name="connsiteY1" fmla="*/ 11041 h 0"/>
                  <a:gd name="connsiteX2" fmla="*/ 0 w 0"/>
                  <a:gd name="connsiteY2" fmla="*/ 8054 h 0"/>
                  <a:gd name="connsiteX3" fmla="*/ 4481 w 0"/>
                  <a:gd name="connsiteY3" fmla="*/ 586 h 0"/>
                  <a:gd name="connsiteX4" fmla="*/ 8962 w 0"/>
                  <a:gd name="connsiteY4" fmla="*/ 3573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>
                    <a:moveTo>
                      <a:pt x="8962" y="3573"/>
                    </a:moveTo>
                    <a:cubicBezTo>
                      <a:pt x="8962" y="6561"/>
                      <a:pt x="7468" y="9548"/>
                      <a:pt x="4481" y="11041"/>
                    </a:cubicBezTo>
                    <a:cubicBezTo>
                      <a:pt x="1493" y="12535"/>
                      <a:pt x="0" y="11041"/>
                      <a:pt x="0" y="8054"/>
                    </a:cubicBezTo>
                    <a:cubicBezTo>
                      <a:pt x="0" y="5067"/>
                      <a:pt x="1493" y="2080"/>
                      <a:pt x="4481" y="586"/>
                    </a:cubicBezTo>
                    <a:cubicBezTo>
                      <a:pt x="7468" y="-908"/>
                      <a:pt x="8962" y="586"/>
                      <a:pt x="8962" y="3573"/>
                    </a:cubicBezTo>
                    <a:close/>
                  </a:path>
                </a:pathLst>
              </a:custGeom>
              <a:solidFill>
                <a:srgbClr val="0E3F60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3" name="任意多边形: 形状 712"/>
              <p:cNvSpPr/>
              <p:nvPr/>
            </p:nvSpPr>
            <p:spPr>
              <a:xfrm flipH="1">
                <a:off x="8181233" y="4193281"/>
                <a:ext cx="9092" cy="9092"/>
              </a:xfrm>
              <a:custGeom>
                <a:avLst/>
                <a:gdLst>
                  <a:gd name="connsiteX0" fmla="*/ 8962 w 0"/>
                  <a:gd name="connsiteY0" fmla="*/ 2987 h 0"/>
                  <a:gd name="connsiteX1" fmla="*/ 4481 w 0"/>
                  <a:gd name="connsiteY1" fmla="*/ 10455 h 0"/>
                  <a:gd name="connsiteX2" fmla="*/ 0 w 0"/>
                  <a:gd name="connsiteY2" fmla="*/ 7468 h 0"/>
                  <a:gd name="connsiteX3" fmla="*/ 4481 w 0"/>
                  <a:gd name="connsiteY3" fmla="*/ 0 h 0"/>
                  <a:gd name="connsiteX4" fmla="*/ 8962 w 0"/>
                  <a:gd name="connsiteY4" fmla="*/ 2987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>
                    <a:moveTo>
                      <a:pt x="8962" y="2987"/>
                    </a:moveTo>
                    <a:cubicBezTo>
                      <a:pt x="8962" y="5975"/>
                      <a:pt x="7468" y="8962"/>
                      <a:pt x="4481" y="10455"/>
                    </a:cubicBezTo>
                    <a:cubicBezTo>
                      <a:pt x="1493" y="11949"/>
                      <a:pt x="0" y="10455"/>
                      <a:pt x="0" y="7468"/>
                    </a:cubicBezTo>
                    <a:cubicBezTo>
                      <a:pt x="0" y="4481"/>
                      <a:pt x="1493" y="1494"/>
                      <a:pt x="4481" y="0"/>
                    </a:cubicBezTo>
                    <a:cubicBezTo>
                      <a:pt x="7468" y="0"/>
                      <a:pt x="8962" y="0"/>
                      <a:pt x="8962" y="2987"/>
                    </a:cubicBezTo>
                    <a:close/>
                  </a:path>
                </a:pathLst>
              </a:custGeom>
              <a:solidFill>
                <a:srgbClr val="0E3F60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4" name="任意多边形: 形状 713"/>
              <p:cNvSpPr/>
              <p:nvPr/>
            </p:nvSpPr>
            <p:spPr>
              <a:xfrm flipH="1">
                <a:off x="8245868" y="4077728"/>
                <a:ext cx="36370" cy="100019"/>
              </a:xfrm>
              <a:custGeom>
                <a:avLst/>
                <a:gdLst>
                  <a:gd name="connsiteX0" fmla="*/ 59871 w 59745"/>
                  <a:gd name="connsiteY0" fmla="*/ 149489 h 164299"/>
                  <a:gd name="connsiteX1" fmla="*/ 27012 w 59745"/>
                  <a:gd name="connsiteY1" fmla="*/ 176375 h 164299"/>
                  <a:gd name="connsiteX2" fmla="*/ 27012 w 59745"/>
                  <a:gd name="connsiteY2" fmla="*/ 176375 h 164299"/>
                  <a:gd name="connsiteX3" fmla="*/ 126 w 59745"/>
                  <a:gd name="connsiteY3" fmla="*/ 143515 h 164299"/>
                  <a:gd name="connsiteX4" fmla="*/ 10581 w 59745"/>
                  <a:gd name="connsiteY4" fmla="*/ 27012 h 164299"/>
                  <a:gd name="connsiteX5" fmla="*/ 43441 w 59745"/>
                  <a:gd name="connsiteY5" fmla="*/ 126 h 164299"/>
                  <a:gd name="connsiteX6" fmla="*/ 43441 w 59745"/>
                  <a:gd name="connsiteY6" fmla="*/ 126 h 164299"/>
                  <a:gd name="connsiteX7" fmla="*/ 70327 w 59745"/>
                  <a:gd name="connsiteY7" fmla="*/ 32986 h 164299"/>
                  <a:gd name="connsiteX8" fmla="*/ 59871 w 59745"/>
                  <a:gd name="connsiteY8" fmla="*/ 149489 h 164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745" h="164299">
                    <a:moveTo>
                      <a:pt x="59871" y="149489"/>
                    </a:moveTo>
                    <a:cubicBezTo>
                      <a:pt x="58378" y="165920"/>
                      <a:pt x="43441" y="177868"/>
                      <a:pt x="27012" y="176375"/>
                    </a:cubicBezTo>
                    <a:lnTo>
                      <a:pt x="27012" y="176375"/>
                    </a:lnTo>
                    <a:cubicBezTo>
                      <a:pt x="10581" y="174881"/>
                      <a:pt x="-1368" y="159945"/>
                      <a:pt x="126" y="143515"/>
                    </a:cubicBezTo>
                    <a:lnTo>
                      <a:pt x="10581" y="27012"/>
                    </a:lnTo>
                    <a:cubicBezTo>
                      <a:pt x="12075" y="10581"/>
                      <a:pt x="27012" y="-1368"/>
                      <a:pt x="43441" y="126"/>
                    </a:cubicBezTo>
                    <a:lnTo>
                      <a:pt x="43441" y="126"/>
                    </a:lnTo>
                    <a:cubicBezTo>
                      <a:pt x="59871" y="1620"/>
                      <a:pt x="71821" y="16556"/>
                      <a:pt x="70327" y="32986"/>
                    </a:cubicBezTo>
                    <a:lnTo>
                      <a:pt x="59871" y="149489"/>
                    </a:lnTo>
                    <a:close/>
                  </a:path>
                </a:pathLst>
              </a:custGeom>
              <a:solidFill>
                <a:srgbClr val="1B89B8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5" name="任意多边形: 形状 714"/>
              <p:cNvSpPr/>
              <p:nvPr/>
            </p:nvSpPr>
            <p:spPr>
              <a:xfrm flipH="1">
                <a:off x="8232293" y="4240562"/>
                <a:ext cx="27278" cy="54555"/>
              </a:xfrm>
              <a:custGeom>
                <a:avLst/>
                <a:gdLst>
                  <a:gd name="connsiteX0" fmla="*/ 1725 w 44809"/>
                  <a:gd name="connsiteY0" fmla="*/ 47796 h 89618"/>
                  <a:gd name="connsiteX1" fmla="*/ 4712 w 44809"/>
                  <a:gd name="connsiteY1" fmla="*/ 59745 h 89618"/>
                  <a:gd name="connsiteX2" fmla="*/ 10686 w 44809"/>
                  <a:gd name="connsiteY2" fmla="*/ 65720 h 89618"/>
                  <a:gd name="connsiteX3" fmla="*/ 27117 w 44809"/>
                  <a:gd name="connsiteY3" fmla="*/ 82150 h 89618"/>
                  <a:gd name="connsiteX4" fmla="*/ 31597 w 44809"/>
                  <a:gd name="connsiteY4" fmla="*/ 86631 h 89618"/>
                  <a:gd name="connsiteX5" fmla="*/ 46534 w 44809"/>
                  <a:gd name="connsiteY5" fmla="*/ 91112 h 89618"/>
                  <a:gd name="connsiteX6" fmla="*/ 51015 w 44809"/>
                  <a:gd name="connsiteY6" fmla="*/ 89618 h 89618"/>
                  <a:gd name="connsiteX7" fmla="*/ 52508 w 44809"/>
                  <a:gd name="connsiteY7" fmla="*/ 88125 h 89618"/>
                  <a:gd name="connsiteX8" fmla="*/ 48027 w 44809"/>
                  <a:gd name="connsiteY8" fmla="*/ 77669 h 89618"/>
                  <a:gd name="connsiteX9" fmla="*/ 42053 w 44809"/>
                  <a:gd name="connsiteY9" fmla="*/ 56758 h 89618"/>
                  <a:gd name="connsiteX10" fmla="*/ 40559 w 44809"/>
                  <a:gd name="connsiteY10" fmla="*/ 35847 h 89618"/>
                  <a:gd name="connsiteX11" fmla="*/ 43546 w 44809"/>
                  <a:gd name="connsiteY11" fmla="*/ 50784 h 89618"/>
                  <a:gd name="connsiteX12" fmla="*/ 55496 w 44809"/>
                  <a:gd name="connsiteY12" fmla="*/ 58252 h 89618"/>
                  <a:gd name="connsiteX13" fmla="*/ 56989 w 44809"/>
                  <a:gd name="connsiteY13" fmla="*/ 58252 h 89618"/>
                  <a:gd name="connsiteX14" fmla="*/ 56989 w 44809"/>
                  <a:gd name="connsiteY14" fmla="*/ 56758 h 89618"/>
                  <a:gd name="connsiteX15" fmla="*/ 56989 w 44809"/>
                  <a:gd name="connsiteY15" fmla="*/ 47796 h 89618"/>
                  <a:gd name="connsiteX16" fmla="*/ 54002 w 44809"/>
                  <a:gd name="connsiteY16" fmla="*/ 41822 h 89618"/>
                  <a:gd name="connsiteX17" fmla="*/ 52508 w 44809"/>
                  <a:gd name="connsiteY17" fmla="*/ 34354 h 89618"/>
                  <a:gd name="connsiteX18" fmla="*/ 36078 w 44809"/>
                  <a:gd name="connsiteY18" fmla="*/ 4481 h 89618"/>
                  <a:gd name="connsiteX19" fmla="*/ 30104 w 44809"/>
                  <a:gd name="connsiteY19" fmla="*/ 1494 h 89618"/>
                  <a:gd name="connsiteX20" fmla="*/ 15167 w 44809"/>
                  <a:gd name="connsiteY20" fmla="*/ 0 h 89618"/>
                  <a:gd name="connsiteX21" fmla="*/ 12180 w 44809"/>
                  <a:gd name="connsiteY21" fmla="*/ 1494 h 89618"/>
                  <a:gd name="connsiteX22" fmla="*/ 10686 w 44809"/>
                  <a:gd name="connsiteY22" fmla="*/ 2987 h 89618"/>
                  <a:gd name="connsiteX23" fmla="*/ 1725 w 44809"/>
                  <a:gd name="connsiteY23" fmla="*/ 23898 h 89618"/>
                  <a:gd name="connsiteX24" fmla="*/ 1725 w 44809"/>
                  <a:gd name="connsiteY24" fmla="*/ 47796 h 89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809" h="89618">
                    <a:moveTo>
                      <a:pt x="1725" y="47796"/>
                    </a:moveTo>
                    <a:cubicBezTo>
                      <a:pt x="1725" y="52277"/>
                      <a:pt x="3218" y="55265"/>
                      <a:pt x="4712" y="59745"/>
                    </a:cubicBezTo>
                    <a:cubicBezTo>
                      <a:pt x="6206" y="62733"/>
                      <a:pt x="7699" y="64226"/>
                      <a:pt x="10686" y="65720"/>
                    </a:cubicBezTo>
                    <a:cubicBezTo>
                      <a:pt x="16661" y="71694"/>
                      <a:pt x="21142" y="76175"/>
                      <a:pt x="27117" y="82150"/>
                    </a:cubicBezTo>
                    <a:cubicBezTo>
                      <a:pt x="28610" y="83644"/>
                      <a:pt x="30104" y="85137"/>
                      <a:pt x="31597" y="86631"/>
                    </a:cubicBezTo>
                    <a:cubicBezTo>
                      <a:pt x="36078" y="89618"/>
                      <a:pt x="40559" y="91112"/>
                      <a:pt x="46534" y="91112"/>
                    </a:cubicBezTo>
                    <a:cubicBezTo>
                      <a:pt x="48027" y="91112"/>
                      <a:pt x="49521" y="91112"/>
                      <a:pt x="51015" y="89618"/>
                    </a:cubicBezTo>
                    <a:cubicBezTo>
                      <a:pt x="51015" y="89618"/>
                      <a:pt x="52508" y="88125"/>
                      <a:pt x="52508" y="88125"/>
                    </a:cubicBezTo>
                    <a:cubicBezTo>
                      <a:pt x="52508" y="83644"/>
                      <a:pt x="51015" y="80656"/>
                      <a:pt x="48027" y="77669"/>
                    </a:cubicBezTo>
                    <a:cubicBezTo>
                      <a:pt x="45040" y="71694"/>
                      <a:pt x="43546" y="64226"/>
                      <a:pt x="42053" y="56758"/>
                    </a:cubicBezTo>
                    <a:cubicBezTo>
                      <a:pt x="40559" y="49290"/>
                      <a:pt x="40559" y="41822"/>
                      <a:pt x="40559" y="35847"/>
                    </a:cubicBezTo>
                    <a:cubicBezTo>
                      <a:pt x="40559" y="40328"/>
                      <a:pt x="42053" y="46303"/>
                      <a:pt x="43546" y="50784"/>
                    </a:cubicBezTo>
                    <a:cubicBezTo>
                      <a:pt x="46534" y="55265"/>
                      <a:pt x="51015" y="58252"/>
                      <a:pt x="55496" y="58252"/>
                    </a:cubicBezTo>
                    <a:cubicBezTo>
                      <a:pt x="55496" y="58252"/>
                      <a:pt x="56989" y="58252"/>
                      <a:pt x="56989" y="58252"/>
                    </a:cubicBezTo>
                    <a:cubicBezTo>
                      <a:pt x="56989" y="58252"/>
                      <a:pt x="56989" y="58252"/>
                      <a:pt x="56989" y="56758"/>
                    </a:cubicBezTo>
                    <a:cubicBezTo>
                      <a:pt x="58483" y="53771"/>
                      <a:pt x="58483" y="50784"/>
                      <a:pt x="56989" y="47796"/>
                    </a:cubicBezTo>
                    <a:cubicBezTo>
                      <a:pt x="55496" y="46303"/>
                      <a:pt x="54002" y="44809"/>
                      <a:pt x="54002" y="41822"/>
                    </a:cubicBezTo>
                    <a:cubicBezTo>
                      <a:pt x="52508" y="38835"/>
                      <a:pt x="52508" y="35847"/>
                      <a:pt x="52508" y="34354"/>
                    </a:cubicBezTo>
                    <a:cubicBezTo>
                      <a:pt x="51015" y="22405"/>
                      <a:pt x="45040" y="11949"/>
                      <a:pt x="36078" y="4481"/>
                    </a:cubicBezTo>
                    <a:cubicBezTo>
                      <a:pt x="34585" y="2987"/>
                      <a:pt x="33091" y="1494"/>
                      <a:pt x="30104" y="1494"/>
                    </a:cubicBezTo>
                    <a:cubicBezTo>
                      <a:pt x="25623" y="0"/>
                      <a:pt x="19648" y="0"/>
                      <a:pt x="15167" y="0"/>
                    </a:cubicBezTo>
                    <a:cubicBezTo>
                      <a:pt x="13674" y="0"/>
                      <a:pt x="12180" y="0"/>
                      <a:pt x="12180" y="1494"/>
                    </a:cubicBezTo>
                    <a:cubicBezTo>
                      <a:pt x="10686" y="1494"/>
                      <a:pt x="10686" y="2987"/>
                      <a:pt x="10686" y="2987"/>
                    </a:cubicBezTo>
                    <a:cubicBezTo>
                      <a:pt x="6206" y="8962"/>
                      <a:pt x="3218" y="16430"/>
                      <a:pt x="1725" y="23898"/>
                    </a:cubicBezTo>
                    <a:cubicBezTo>
                      <a:pt x="-1263" y="32860"/>
                      <a:pt x="231" y="40328"/>
                      <a:pt x="1725" y="47796"/>
                    </a:cubicBezTo>
                    <a:close/>
                  </a:path>
                </a:pathLst>
              </a:custGeom>
              <a:solidFill>
                <a:srgbClr val="FFBB7D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6" name="任意多边形: 形状 715"/>
              <p:cNvSpPr/>
              <p:nvPr/>
            </p:nvSpPr>
            <p:spPr>
              <a:xfrm flipH="1">
                <a:off x="8246100" y="4149327"/>
                <a:ext cx="36370" cy="100019"/>
              </a:xfrm>
              <a:custGeom>
                <a:avLst/>
                <a:gdLst>
                  <a:gd name="connsiteX0" fmla="*/ 70709 w 59745"/>
                  <a:gd name="connsiteY0" fmla="*/ 134936 h 164299"/>
                  <a:gd name="connsiteX1" fmla="*/ 72203 w 59745"/>
                  <a:gd name="connsiteY1" fmla="*/ 157340 h 164299"/>
                  <a:gd name="connsiteX2" fmla="*/ 37849 w 59745"/>
                  <a:gd name="connsiteY2" fmla="*/ 161821 h 164299"/>
                  <a:gd name="connsiteX3" fmla="*/ 31875 w 59745"/>
                  <a:gd name="connsiteY3" fmla="*/ 142404 h 164299"/>
                  <a:gd name="connsiteX4" fmla="*/ 509 w 59745"/>
                  <a:gd name="connsiteY4" fmla="*/ 36356 h 164299"/>
                  <a:gd name="connsiteX5" fmla="*/ 24407 w 59745"/>
                  <a:gd name="connsiteY5" fmla="*/ 509 h 164299"/>
                  <a:gd name="connsiteX6" fmla="*/ 24407 w 59745"/>
                  <a:gd name="connsiteY6" fmla="*/ 509 h 164299"/>
                  <a:gd name="connsiteX7" fmla="*/ 60254 w 59745"/>
                  <a:gd name="connsiteY7" fmla="*/ 24407 h 164299"/>
                  <a:gd name="connsiteX8" fmla="*/ 70709 w 59745"/>
                  <a:gd name="connsiteY8" fmla="*/ 134936 h 164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745" h="164299">
                    <a:moveTo>
                      <a:pt x="70709" y="134936"/>
                    </a:moveTo>
                    <a:cubicBezTo>
                      <a:pt x="73697" y="145391"/>
                      <a:pt x="73697" y="152859"/>
                      <a:pt x="72203" y="157340"/>
                    </a:cubicBezTo>
                    <a:cubicBezTo>
                      <a:pt x="70709" y="163315"/>
                      <a:pt x="40837" y="167796"/>
                      <a:pt x="37849" y="161821"/>
                    </a:cubicBezTo>
                    <a:cubicBezTo>
                      <a:pt x="34862" y="157340"/>
                      <a:pt x="33369" y="149872"/>
                      <a:pt x="31875" y="142404"/>
                    </a:cubicBezTo>
                    <a:lnTo>
                      <a:pt x="509" y="36356"/>
                    </a:lnTo>
                    <a:cubicBezTo>
                      <a:pt x="-2479" y="19926"/>
                      <a:pt x="7977" y="3496"/>
                      <a:pt x="24407" y="509"/>
                    </a:cubicBezTo>
                    <a:lnTo>
                      <a:pt x="24407" y="509"/>
                    </a:lnTo>
                    <a:cubicBezTo>
                      <a:pt x="40837" y="-2479"/>
                      <a:pt x="57267" y="7977"/>
                      <a:pt x="60254" y="24407"/>
                    </a:cubicBezTo>
                    <a:lnTo>
                      <a:pt x="70709" y="134936"/>
                    </a:lnTo>
                    <a:close/>
                  </a:path>
                </a:pathLst>
              </a:custGeom>
              <a:solidFill>
                <a:srgbClr val="1B89B8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7" name="任意多边形: 形状 716"/>
              <p:cNvSpPr/>
              <p:nvPr/>
            </p:nvSpPr>
            <p:spPr>
              <a:xfrm flipH="1">
                <a:off x="8195782" y="4062347"/>
                <a:ext cx="9092" cy="9092"/>
              </a:xfrm>
              <a:custGeom>
                <a:avLst/>
                <a:gdLst>
                  <a:gd name="connsiteX0" fmla="*/ 17924 w 14936"/>
                  <a:gd name="connsiteY0" fmla="*/ 22405 h 14936"/>
                  <a:gd name="connsiteX1" fmla="*/ 7468 w 14936"/>
                  <a:gd name="connsiteY1" fmla="*/ 28379 h 14936"/>
                  <a:gd name="connsiteX2" fmla="*/ 0 w 14936"/>
                  <a:gd name="connsiteY2" fmla="*/ 5974 h 14936"/>
                  <a:gd name="connsiteX3" fmla="*/ 17924 w 14936"/>
                  <a:gd name="connsiteY3" fmla="*/ 0 h 14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36" h="14936">
                    <a:moveTo>
                      <a:pt x="17924" y="22405"/>
                    </a:moveTo>
                    <a:lnTo>
                      <a:pt x="7468" y="28379"/>
                    </a:lnTo>
                    <a:lnTo>
                      <a:pt x="0" y="5974"/>
                    </a:lnTo>
                    <a:lnTo>
                      <a:pt x="17924" y="0"/>
                    </a:lnTo>
                    <a:close/>
                  </a:path>
                </a:pathLst>
              </a:custGeom>
              <a:solidFill>
                <a:srgbClr val="242423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8" name="任意多边形: 形状 717"/>
              <p:cNvSpPr/>
              <p:nvPr/>
            </p:nvSpPr>
            <p:spPr>
              <a:xfrm flipH="1">
                <a:off x="8191236" y="4075986"/>
                <a:ext cx="9092" cy="81833"/>
              </a:xfrm>
              <a:custGeom>
                <a:avLst/>
                <a:gdLst>
                  <a:gd name="connsiteX0" fmla="*/ 1494 w 14936"/>
                  <a:gd name="connsiteY0" fmla="*/ 123972 h 134427"/>
                  <a:gd name="connsiteX1" fmla="*/ 0 w 14936"/>
                  <a:gd name="connsiteY1" fmla="*/ 5974 h 134427"/>
                  <a:gd name="connsiteX2" fmla="*/ 10455 w 14936"/>
                  <a:gd name="connsiteY2" fmla="*/ 0 h 134427"/>
                  <a:gd name="connsiteX3" fmla="*/ 25392 w 14936"/>
                  <a:gd name="connsiteY3" fmla="*/ 112023 h 134427"/>
                  <a:gd name="connsiteX4" fmla="*/ 16430 w 14936"/>
                  <a:gd name="connsiteY4" fmla="*/ 134427 h 134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936" h="134427">
                    <a:moveTo>
                      <a:pt x="1494" y="123972"/>
                    </a:moveTo>
                    <a:lnTo>
                      <a:pt x="0" y="5974"/>
                    </a:lnTo>
                    <a:lnTo>
                      <a:pt x="10455" y="0"/>
                    </a:lnTo>
                    <a:lnTo>
                      <a:pt x="25392" y="112023"/>
                    </a:lnTo>
                    <a:lnTo>
                      <a:pt x="16430" y="134427"/>
                    </a:lnTo>
                    <a:close/>
                  </a:path>
                </a:pathLst>
              </a:custGeom>
              <a:solidFill>
                <a:srgbClr val="3C3C3B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9" name="任意多边形: 形状 718"/>
              <p:cNvSpPr/>
              <p:nvPr/>
            </p:nvSpPr>
            <p:spPr>
              <a:xfrm flipH="1">
                <a:off x="8193735" y="4038707"/>
                <a:ext cx="45463" cy="45463"/>
              </a:xfrm>
              <a:custGeom>
                <a:avLst/>
                <a:gdLst>
                  <a:gd name="connsiteX0" fmla="*/ 14563 w 74681"/>
                  <a:gd name="connsiteY0" fmla="*/ 4481 h 74681"/>
                  <a:gd name="connsiteX1" fmla="*/ 1120 w 74681"/>
                  <a:gd name="connsiteY1" fmla="*/ 22405 h 74681"/>
                  <a:gd name="connsiteX2" fmla="*/ 1120 w 74681"/>
                  <a:gd name="connsiteY2" fmla="*/ 31366 h 74681"/>
                  <a:gd name="connsiteX3" fmla="*/ 16057 w 74681"/>
                  <a:gd name="connsiteY3" fmla="*/ 52277 h 74681"/>
                  <a:gd name="connsiteX4" fmla="*/ 50410 w 74681"/>
                  <a:gd name="connsiteY4" fmla="*/ 77669 h 74681"/>
                  <a:gd name="connsiteX5" fmla="*/ 66840 w 74681"/>
                  <a:gd name="connsiteY5" fmla="*/ 43316 h 74681"/>
                  <a:gd name="connsiteX6" fmla="*/ 86257 w 74681"/>
                  <a:gd name="connsiteY6" fmla="*/ 61239 h 74681"/>
                  <a:gd name="connsiteX7" fmla="*/ 86257 w 74681"/>
                  <a:gd name="connsiteY7" fmla="*/ 31366 h 74681"/>
                  <a:gd name="connsiteX8" fmla="*/ 71321 w 74681"/>
                  <a:gd name="connsiteY8" fmla="*/ 5975 h 74681"/>
                  <a:gd name="connsiteX9" fmla="*/ 45929 w 74681"/>
                  <a:gd name="connsiteY9" fmla="*/ 0 h 74681"/>
                  <a:gd name="connsiteX10" fmla="*/ 20538 w 74681"/>
                  <a:gd name="connsiteY10" fmla="*/ 5975 h 74681"/>
                  <a:gd name="connsiteX11" fmla="*/ 14563 w 74681"/>
                  <a:gd name="connsiteY11" fmla="*/ 4481 h 74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4681" h="74681">
                    <a:moveTo>
                      <a:pt x="14563" y="4481"/>
                    </a:moveTo>
                    <a:cubicBezTo>
                      <a:pt x="11576" y="10455"/>
                      <a:pt x="4108" y="17924"/>
                      <a:pt x="1120" y="22405"/>
                    </a:cubicBezTo>
                    <a:cubicBezTo>
                      <a:pt x="-373" y="25392"/>
                      <a:pt x="-373" y="28379"/>
                      <a:pt x="1120" y="31366"/>
                    </a:cubicBezTo>
                    <a:cubicBezTo>
                      <a:pt x="4108" y="40328"/>
                      <a:pt x="8588" y="46303"/>
                      <a:pt x="16057" y="52277"/>
                    </a:cubicBezTo>
                    <a:cubicBezTo>
                      <a:pt x="26512" y="61239"/>
                      <a:pt x="38461" y="70201"/>
                      <a:pt x="50410" y="77669"/>
                    </a:cubicBezTo>
                    <a:cubicBezTo>
                      <a:pt x="56385" y="67214"/>
                      <a:pt x="62359" y="55264"/>
                      <a:pt x="66840" y="43316"/>
                    </a:cubicBezTo>
                    <a:cubicBezTo>
                      <a:pt x="72815" y="49290"/>
                      <a:pt x="78789" y="55264"/>
                      <a:pt x="86257" y="61239"/>
                    </a:cubicBezTo>
                    <a:cubicBezTo>
                      <a:pt x="87751" y="50784"/>
                      <a:pt x="87751" y="41822"/>
                      <a:pt x="86257" y="31366"/>
                    </a:cubicBezTo>
                    <a:cubicBezTo>
                      <a:pt x="84764" y="20911"/>
                      <a:pt x="78789" y="11949"/>
                      <a:pt x="71321" y="5975"/>
                    </a:cubicBezTo>
                    <a:cubicBezTo>
                      <a:pt x="63853" y="1494"/>
                      <a:pt x="54891" y="0"/>
                      <a:pt x="45929" y="0"/>
                    </a:cubicBezTo>
                    <a:cubicBezTo>
                      <a:pt x="36967" y="0"/>
                      <a:pt x="29499" y="2987"/>
                      <a:pt x="20538" y="5975"/>
                    </a:cubicBezTo>
                    <a:cubicBezTo>
                      <a:pt x="16057" y="5975"/>
                      <a:pt x="16057" y="2987"/>
                      <a:pt x="14563" y="4481"/>
                    </a:cubicBezTo>
                    <a:close/>
                  </a:path>
                </a:pathLst>
              </a:custGeom>
              <a:solidFill>
                <a:srgbClr val="167299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0" name="任意多边形: 形状 719"/>
              <p:cNvSpPr/>
              <p:nvPr/>
            </p:nvSpPr>
            <p:spPr>
              <a:xfrm flipH="1">
                <a:off x="8195782" y="4041094"/>
                <a:ext cx="36370" cy="18185"/>
              </a:xfrm>
              <a:custGeom>
                <a:avLst/>
                <a:gdLst>
                  <a:gd name="connsiteX0" fmla="*/ 61239 w 59745"/>
                  <a:gd name="connsiteY0" fmla="*/ 22965 h 29872"/>
                  <a:gd name="connsiteX1" fmla="*/ 53771 w 59745"/>
                  <a:gd name="connsiteY1" fmla="*/ 30433 h 29872"/>
                  <a:gd name="connsiteX2" fmla="*/ 8962 w 59745"/>
                  <a:gd name="connsiteY2" fmla="*/ 30433 h 29872"/>
                  <a:gd name="connsiteX3" fmla="*/ 8962 w 59745"/>
                  <a:gd name="connsiteY3" fmla="*/ 5041 h 29872"/>
                  <a:gd name="connsiteX4" fmla="*/ 17924 w 59745"/>
                  <a:gd name="connsiteY4" fmla="*/ 2054 h 29872"/>
                  <a:gd name="connsiteX5" fmla="*/ 23898 w 59745"/>
                  <a:gd name="connsiteY5" fmla="*/ 560 h 29872"/>
                  <a:gd name="connsiteX6" fmla="*/ 53771 w 59745"/>
                  <a:gd name="connsiteY6" fmla="*/ 5041 h 29872"/>
                  <a:gd name="connsiteX7" fmla="*/ 62733 w 59745"/>
                  <a:gd name="connsiteY7" fmla="*/ 14003 h 29872"/>
                  <a:gd name="connsiteX8" fmla="*/ 61239 w 59745"/>
                  <a:gd name="connsiteY8" fmla="*/ 22965 h 2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745" h="29872">
                    <a:moveTo>
                      <a:pt x="61239" y="22965"/>
                    </a:moveTo>
                    <a:cubicBezTo>
                      <a:pt x="59745" y="25952"/>
                      <a:pt x="56758" y="28939"/>
                      <a:pt x="53771" y="30433"/>
                    </a:cubicBezTo>
                    <a:cubicBezTo>
                      <a:pt x="41822" y="37901"/>
                      <a:pt x="20911" y="37901"/>
                      <a:pt x="8962" y="30433"/>
                    </a:cubicBezTo>
                    <a:cubicBezTo>
                      <a:pt x="-2987" y="22965"/>
                      <a:pt x="-2987" y="12509"/>
                      <a:pt x="8962" y="5041"/>
                    </a:cubicBezTo>
                    <a:cubicBezTo>
                      <a:pt x="11949" y="3547"/>
                      <a:pt x="14936" y="2054"/>
                      <a:pt x="17924" y="2054"/>
                    </a:cubicBezTo>
                    <a:cubicBezTo>
                      <a:pt x="19417" y="2054"/>
                      <a:pt x="20911" y="560"/>
                      <a:pt x="23898" y="560"/>
                    </a:cubicBezTo>
                    <a:cubicBezTo>
                      <a:pt x="34354" y="-934"/>
                      <a:pt x="44809" y="560"/>
                      <a:pt x="53771" y="5041"/>
                    </a:cubicBezTo>
                    <a:cubicBezTo>
                      <a:pt x="58252" y="8028"/>
                      <a:pt x="61239" y="11016"/>
                      <a:pt x="62733" y="14003"/>
                    </a:cubicBezTo>
                    <a:cubicBezTo>
                      <a:pt x="62733" y="15496"/>
                      <a:pt x="62733" y="18484"/>
                      <a:pt x="61239" y="22965"/>
                    </a:cubicBezTo>
                    <a:close/>
                  </a:path>
                </a:pathLst>
              </a:custGeom>
              <a:solidFill>
                <a:srgbClr val="FFBB7D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1" name="任意多边形: 形状 720"/>
              <p:cNvSpPr/>
              <p:nvPr/>
            </p:nvSpPr>
            <p:spPr>
              <a:xfrm flipH="1">
                <a:off x="8195782" y="4002337"/>
                <a:ext cx="36370" cy="45463"/>
              </a:xfrm>
              <a:custGeom>
                <a:avLst/>
                <a:gdLst>
                  <a:gd name="connsiteX0" fmla="*/ 0 w 59745"/>
                  <a:gd name="connsiteY0" fmla="*/ 0 h 74681"/>
                  <a:gd name="connsiteX1" fmla="*/ 62733 w 59745"/>
                  <a:gd name="connsiteY1" fmla="*/ 0 h 74681"/>
                  <a:gd name="connsiteX2" fmla="*/ 62733 w 59745"/>
                  <a:gd name="connsiteY2" fmla="*/ 80656 h 74681"/>
                  <a:gd name="connsiteX3" fmla="*/ 0 w 59745"/>
                  <a:gd name="connsiteY3" fmla="*/ 80656 h 74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745" h="74681">
                    <a:moveTo>
                      <a:pt x="0" y="0"/>
                    </a:moveTo>
                    <a:lnTo>
                      <a:pt x="62733" y="0"/>
                    </a:lnTo>
                    <a:lnTo>
                      <a:pt x="62733" y="80656"/>
                    </a:lnTo>
                    <a:lnTo>
                      <a:pt x="0" y="80656"/>
                    </a:lnTo>
                    <a:close/>
                  </a:path>
                </a:pathLst>
              </a:custGeom>
              <a:solidFill>
                <a:srgbClr val="FFBB7D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2" name="任意多边形: 形状 721"/>
              <p:cNvSpPr/>
              <p:nvPr/>
            </p:nvSpPr>
            <p:spPr>
              <a:xfrm flipH="1">
                <a:off x="8180701" y="3967553"/>
                <a:ext cx="45463" cy="72741"/>
              </a:xfrm>
              <a:custGeom>
                <a:avLst/>
                <a:gdLst>
                  <a:gd name="connsiteX0" fmla="*/ 619 w 74681"/>
                  <a:gd name="connsiteY0" fmla="*/ 61620 h 119490"/>
                  <a:gd name="connsiteX1" fmla="*/ 3606 w 74681"/>
                  <a:gd name="connsiteY1" fmla="*/ 88505 h 119490"/>
                  <a:gd name="connsiteX2" fmla="*/ 15555 w 74681"/>
                  <a:gd name="connsiteY2" fmla="*/ 112403 h 119490"/>
                  <a:gd name="connsiteX3" fmla="*/ 51402 w 74681"/>
                  <a:gd name="connsiteY3" fmla="*/ 124352 h 119490"/>
                  <a:gd name="connsiteX4" fmla="*/ 60364 w 74681"/>
                  <a:gd name="connsiteY4" fmla="*/ 121365 h 119490"/>
                  <a:gd name="connsiteX5" fmla="*/ 69326 w 74681"/>
                  <a:gd name="connsiteY5" fmla="*/ 106429 h 119490"/>
                  <a:gd name="connsiteX6" fmla="*/ 75300 w 74681"/>
                  <a:gd name="connsiteY6" fmla="*/ 30253 h 119490"/>
                  <a:gd name="connsiteX7" fmla="*/ 73807 w 74681"/>
                  <a:gd name="connsiteY7" fmla="*/ 19798 h 119490"/>
                  <a:gd name="connsiteX8" fmla="*/ 48415 w 74681"/>
                  <a:gd name="connsiteY8" fmla="*/ 381 h 119490"/>
                  <a:gd name="connsiteX9" fmla="*/ 15555 w 74681"/>
                  <a:gd name="connsiteY9" fmla="*/ 7849 h 119490"/>
                  <a:gd name="connsiteX10" fmla="*/ 8087 w 74681"/>
                  <a:gd name="connsiteY10" fmla="*/ 12330 h 119490"/>
                  <a:gd name="connsiteX11" fmla="*/ 2112 w 74681"/>
                  <a:gd name="connsiteY11" fmla="*/ 19798 h 119490"/>
                  <a:gd name="connsiteX12" fmla="*/ 619 w 74681"/>
                  <a:gd name="connsiteY12" fmla="*/ 61620 h 119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4681" h="119490">
                    <a:moveTo>
                      <a:pt x="619" y="61620"/>
                    </a:moveTo>
                    <a:cubicBezTo>
                      <a:pt x="619" y="70582"/>
                      <a:pt x="2112" y="79543"/>
                      <a:pt x="3606" y="88505"/>
                    </a:cubicBezTo>
                    <a:cubicBezTo>
                      <a:pt x="5100" y="97467"/>
                      <a:pt x="9581" y="106429"/>
                      <a:pt x="15555" y="112403"/>
                    </a:cubicBezTo>
                    <a:cubicBezTo>
                      <a:pt x="24517" y="122859"/>
                      <a:pt x="39453" y="127339"/>
                      <a:pt x="51402" y="124352"/>
                    </a:cubicBezTo>
                    <a:cubicBezTo>
                      <a:pt x="54390" y="124352"/>
                      <a:pt x="57377" y="122859"/>
                      <a:pt x="60364" y="121365"/>
                    </a:cubicBezTo>
                    <a:cubicBezTo>
                      <a:pt x="64845" y="118378"/>
                      <a:pt x="67832" y="112403"/>
                      <a:pt x="69326" y="106429"/>
                    </a:cubicBezTo>
                    <a:cubicBezTo>
                      <a:pt x="76794" y="82530"/>
                      <a:pt x="76794" y="55645"/>
                      <a:pt x="75300" y="30253"/>
                    </a:cubicBezTo>
                    <a:cubicBezTo>
                      <a:pt x="75300" y="25773"/>
                      <a:pt x="75300" y="22785"/>
                      <a:pt x="73807" y="19798"/>
                    </a:cubicBezTo>
                    <a:cubicBezTo>
                      <a:pt x="70819" y="9342"/>
                      <a:pt x="58870" y="1874"/>
                      <a:pt x="48415" y="381"/>
                    </a:cubicBezTo>
                    <a:cubicBezTo>
                      <a:pt x="37959" y="-1113"/>
                      <a:pt x="26010" y="1874"/>
                      <a:pt x="15555" y="7849"/>
                    </a:cubicBezTo>
                    <a:cubicBezTo>
                      <a:pt x="12568" y="9342"/>
                      <a:pt x="9581" y="10836"/>
                      <a:pt x="8087" y="12330"/>
                    </a:cubicBezTo>
                    <a:cubicBezTo>
                      <a:pt x="6593" y="13823"/>
                      <a:pt x="5100" y="16811"/>
                      <a:pt x="2112" y="19798"/>
                    </a:cubicBezTo>
                    <a:cubicBezTo>
                      <a:pt x="619" y="19798"/>
                      <a:pt x="-875" y="48177"/>
                      <a:pt x="619" y="61620"/>
                    </a:cubicBezTo>
                    <a:close/>
                  </a:path>
                </a:pathLst>
              </a:custGeom>
              <a:solidFill>
                <a:srgbClr val="FFCEA1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3" name="任意多边形: 形状 722"/>
              <p:cNvSpPr/>
              <p:nvPr/>
            </p:nvSpPr>
            <p:spPr>
              <a:xfrm flipH="1">
                <a:off x="8180701" y="3973008"/>
                <a:ext cx="45463" cy="72741"/>
              </a:xfrm>
              <a:custGeom>
                <a:avLst/>
                <a:gdLst>
                  <a:gd name="connsiteX0" fmla="*/ 619 w 74681"/>
                  <a:gd name="connsiteY0" fmla="*/ 61620 h 119490"/>
                  <a:gd name="connsiteX1" fmla="*/ 3606 w 74681"/>
                  <a:gd name="connsiteY1" fmla="*/ 88505 h 119490"/>
                  <a:gd name="connsiteX2" fmla="*/ 15555 w 74681"/>
                  <a:gd name="connsiteY2" fmla="*/ 112403 h 119490"/>
                  <a:gd name="connsiteX3" fmla="*/ 51402 w 74681"/>
                  <a:gd name="connsiteY3" fmla="*/ 124352 h 119490"/>
                  <a:gd name="connsiteX4" fmla="*/ 60364 w 74681"/>
                  <a:gd name="connsiteY4" fmla="*/ 121365 h 119490"/>
                  <a:gd name="connsiteX5" fmla="*/ 69326 w 74681"/>
                  <a:gd name="connsiteY5" fmla="*/ 106429 h 119490"/>
                  <a:gd name="connsiteX6" fmla="*/ 75300 w 74681"/>
                  <a:gd name="connsiteY6" fmla="*/ 30253 h 119490"/>
                  <a:gd name="connsiteX7" fmla="*/ 73807 w 74681"/>
                  <a:gd name="connsiteY7" fmla="*/ 19798 h 119490"/>
                  <a:gd name="connsiteX8" fmla="*/ 48415 w 74681"/>
                  <a:gd name="connsiteY8" fmla="*/ 381 h 119490"/>
                  <a:gd name="connsiteX9" fmla="*/ 15555 w 74681"/>
                  <a:gd name="connsiteY9" fmla="*/ 7849 h 119490"/>
                  <a:gd name="connsiteX10" fmla="*/ 8087 w 74681"/>
                  <a:gd name="connsiteY10" fmla="*/ 12330 h 119490"/>
                  <a:gd name="connsiteX11" fmla="*/ 2112 w 74681"/>
                  <a:gd name="connsiteY11" fmla="*/ 19798 h 119490"/>
                  <a:gd name="connsiteX12" fmla="*/ 619 w 74681"/>
                  <a:gd name="connsiteY12" fmla="*/ 61620 h 119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4681" h="119490">
                    <a:moveTo>
                      <a:pt x="619" y="61620"/>
                    </a:moveTo>
                    <a:cubicBezTo>
                      <a:pt x="619" y="70581"/>
                      <a:pt x="2112" y="79543"/>
                      <a:pt x="3606" y="88505"/>
                    </a:cubicBezTo>
                    <a:cubicBezTo>
                      <a:pt x="5100" y="97467"/>
                      <a:pt x="9581" y="106429"/>
                      <a:pt x="15555" y="112403"/>
                    </a:cubicBezTo>
                    <a:cubicBezTo>
                      <a:pt x="24517" y="122859"/>
                      <a:pt x="39453" y="127340"/>
                      <a:pt x="51402" y="124352"/>
                    </a:cubicBezTo>
                    <a:cubicBezTo>
                      <a:pt x="54390" y="124352"/>
                      <a:pt x="57377" y="122859"/>
                      <a:pt x="60364" y="121365"/>
                    </a:cubicBezTo>
                    <a:cubicBezTo>
                      <a:pt x="64845" y="118378"/>
                      <a:pt x="67832" y="112403"/>
                      <a:pt x="69326" y="106429"/>
                    </a:cubicBezTo>
                    <a:cubicBezTo>
                      <a:pt x="76794" y="82531"/>
                      <a:pt x="76794" y="55645"/>
                      <a:pt x="75300" y="30253"/>
                    </a:cubicBezTo>
                    <a:cubicBezTo>
                      <a:pt x="75300" y="25772"/>
                      <a:pt x="75300" y="22785"/>
                      <a:pt x="73807" y="19798"/>
                    </a:cubicBezTo>
                    <a:cubicBezTo>
                      <a:pt x="70819" y="9343"/>
                      <a:pt x="58870" y="1874"/>
                      <a:pt x="48415" y="381"/>
                    </a:cubicBezTo>
                    <a:cubicBezTo>
                      <a:pt x="37959" y="-1113"/>
                      <a:pt x="26010" y="1874"/>
                      <a:pt x="15555" y="7849"/>
                    </a:cubicBezTo>
                    <a:cubicBezTo>
                      <a:pt x="12568" y="9343"/>
                      <a:pt x="9581" y="10836"/>
                      <a:pt x="8087" y="12330"/>
                    </a:cubicBezTo>
                    <a:cubicBezTo>
                      <a:pt x="6593" y="13823"/>
                      <a:pt x="5100" y="16811"/>
                      <a:pt x="2112" y="19798"/>
                    </a:cubicBezTo>
                    <a:cubicBezTo>
                      <a:pt x="619" y="21291"/>
                      <a:pt x="-875" y="48177"/>
                      <a:pt x="619" y="61620"/>
                    </a:cubicBezTo>
                    <a:close/>
                  </a:path>
                </a:pathLst>
              </a:custGeom>
              <a:solidFill>
                <a:srgbClr val="FFBB7D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4" name="任意多边形: 形状 723"/>
              <p:cNvSpPr/>
              <p:nvPr/>
            </p:nvSpPr>
            <p:spPr>
              <a:xfrm flipH="1">
                <a:off x="8198509" y="4006883"/>
                <a:ext cx="27278" cy="45463"/>
              </a:xfrm>
              <a:custGeom>
                <a:avLst/>
                <a:gdLst>
                  <a:gd name="connsiteX0" fmla="*/ 50784 w 44809"/>
                  <a:gd name="connsiteY0" fmla="*/ 79163 h 74681"/>
                  <a:gd name="connsiteX1" fmla="*/ 14936 w 44809"/>
                  <a:gd name="connsiteY1" fmla="*/ 67214 h 74681"/>
                  <a:gd name="connsiteX2" fmla="*/ 7468 w 44809"/>
                  <a:gd name="connsiteY2" fmla="*/ 56758 h 74681"/>
                  <a:gd name="connsiteX3" fmla="*/ 2987 w 44809"/>
                  <a:gd name="connsiteY3" fmla="*/ 43316 h 74681"/>
                  <a:gd name="connsiteX4" fmla="*/ 0 w 44809"/>
                  <a:gd name="connsiteY4" fmla="*/ 16430 h 74681"/>
                  <a:gd name="connsiteX5" fmla="*/ 0 w 44809"/>
                  <a:gd name="connsiteY5" fmla="*/ 0 h 74681"/>
                  <a:gd name="connsiteX6" fmla="*/ 0 w 44809"/>
                  <a:gd name="connsiteY6" fmla="*/ 5975 h 74681"/>
                  <a:gd name="connsiteX7" fmla="*/ 2987 w 44809"/>
                  <a:gd name="connsiteY7" fmla="*/ 32860 h 74681"/>
                  <a:gd name="connsiteX8" fmla="*/ 13443 w 44809"/>
                  <a:gd name="connsiteY8" fmla="*/ 55264 h 74681"/>
                  <a:gd name="connsiteX9" fmla="*/ 14936 w 44809"/>
                  <a:gd name="connsiteY9" fmla="*/ 56758 h 74681"/>
                  <a:gd name="connsiteX10" fmla="*/ 50784 w 44809"/>
                  <a:gd name="connsiteY10" fmla="*/ 68707 h 74681"/>
                  <a:gd name="connsiteX11" fmla="*/ 50784 w 44809"/>
                  <a:gd name="connsiteY11" fmla="*/ 68707 h 74681"/>
                  <a:gd name="connsiteX12" fmla="*/ 50784 w 44809"/>
                  <a:gd name="connsiteY12" fmla="*/ 79163 h 74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809" h="74681">
                    <a:moveTo>
                      <a:pt x="50784" y="79163"/>
                    </a:moveTo>
                    <a:cubicBezTo>
                      <a:pt x="37341" y="82150"/>
                      <a:pt x="23898" y="77669"/>
                      <a:pt x="14936" y="67214"/>
                    </a:cubicBezTo>
                    <a:cubicBezTo>
                      <a:pt x="11949" y="64226"/>
                      <a:pt x="10455" y="61239"/>
                      <a:pt x="7468" y="56758"/>
                    </a:cubicBezTo>
                    <a:cubicBezTo>
                      <a:pt x="4481" y="52277"/>
                      <a:pt x="2987" y="47796"/>
                      <a:pt x="2987" y="43316"/>
                    </a:cubicBezTo>
                    <a:cubicBezTo>
                      <a:pt x="1494" y="34354"/>
                      <a:pt x="0" y="25392"/>
                      <a:pt x="0" y="16430"/>
                    </a:cubicBezTo>
                    <a:cubicBezTo>
                      <a:pt x="0" y="11949"/>
                      <a:pt x="0" y="5975"/>
                      <a:pt x="0" y="0"/>
                    </a:cubicBezTo>
                    <a:cubicBezTo>
                      <a:pt x="0" y="2987"/>
                      <a:pt x="0" y="4481"/>
                      <a:pt x="0" y="5975"/>
                    </a:cubicBezTo>
                    <a:cubicBezTo>
                      <a:pt x="0" y="14936"/>
                      <a:pt x="1494" y="23898"/>
                      <a:pt x="2987" y="32860"/>
                    </a:cubicBezTo>
                    <a:cubicBezTo>
                      <a:pt x="4481" y="40328"/>
                      <a:pt x="7468" y="49290"/>
                      <a:pt x="13443" y="55264"/>
                    </a:cubicBezTo>
                    <a:cubicBezTo>
                      <a:pt x="13443" y="55264"/>
                      <a:pt x="14936" y="56758"/>
                      <a:pt x="14936" y="56758"/>
                    </a:cubicBezTo>
                    <a:cubicBezTo>
                      <a:pt x="23898" y="67214"/>
                      <a:pt x="38835" y="71694"/>
                      <a:pt x="50784" y="68707"/>
                    </a:cubicBezTo>
                    <a:cubicBezTo>
                      <a:pt x="50784" y="68707"/>
                      <a:pt x="50784" y="68707"/>
                      <a:pt x="50784" y="68707"/>
                    </a:cubicBezTo>
                    <a:cubicBezTo>
                      <a:pt x="52277" y="71694"/>
                      <a:pt x="52277" y="74682"/>
                      <a:pt x="50784" y="79163"/>
                    </a:cubicBezTo>
                    <a:close/>
                  </a:path>
                </a:pathLst>
              </a:custGeom>
              <a:solidFill>
                <a:srgbClr val="1D1D1B">
                  <a:alpha val="10000"/>
                </a:srgbClr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5" name="任意多边形: 形状 724"/>
              <p:cNvSpPr/>
              <p:nvPr/>
            </p:nvSpPr>
            <p:spPr>
              <a:xfrm flipH="1">
                <a:off x="8190684" y="3961420"/>
                <a:ext cx="54555" cy="63648"/>
              </a:xfrm>
              <a:custGeom>
                <a:avLst/>
                <a:gdLst>
                  <a:gd name="connsiteX0" fmla="*/ 34940 w 89618"/>
                  <a:gd name="connsiteY0" fmla="*/ 77669 h 104554"/>
                  <a:gd name="connsiteX1" fmla="*/ 25979 w 89618"/>
                  <a:gd name="connsiteY1" fmla="*/ 73188 h 104554"/>
                  <a:gd name="connsiteX2" fmla="*/ 5068 w 89618"/>
                  <a:gd name="connsiteY2" fmla="*/ 100073 h 104554"/>
                  <a:gd name="connsiteX3" fmla="*/ 2081 w 89618"/>
                  <a:gd name="connsiteY3" fmla="*/ 77669 h 104554"/>
                  <a:gd name="connsiteX4" fmla="*/ 3574 w 89618"/>
                  <a:gd name="connsiteY4" fmla="*/ 32860 h 104554"/>
                  <a:gd name="connsiteX5" fmla="*/ 25979 w 89618"/>
                  <a:gd name="connsiteY5" fmla="*/ 7468 h 104554"/>
                  <a:gd name="connsiteX6" fmla="*/ 60332 w 89618"/>
                  <a:gd name="connsiteY6" fmla="*/ 0 h 104554"/>
                  <a:gd name="connsiteX7" fmla="*/ 88711 w 89618"/>
                  <a:gd name="connsiteY7" fmla="*/ 5975 h 104554"/>
                  <a:gd name="connsiteX8" fmla="*/ 55851 w 89618"/>
                  <a:gd name="connsiteY8" fmla="*/ 40328 h 104554"/>
                  <a:gd name="connsiteX9" fmla="*/ 36434 w 89618"/>
                  <a:gd name="connsiteY9" fmla="*/ 37341 h 104554"/>
                  <a:gd name="connsiteX10" fmla="*/ 34940 w 89618"/>
                  <a:gd name="connsiteY10" fmla="*/ 77669 h 10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618" h="104554">
                    <a:moveTo>
                      <a:pt x="34940" y="77669"/>
                    </a:moveTo>
                    <a:cubicBezTo>
                      <a:pt x="34940" y="77669"/>
                      <a:pt x="28966" y="74682"/>
                      <a:pt x="25979" y="73188"/>
                    </a:cubicBezTo>
                    <a:cubicBezTo>
                      <a:pt x="46890" y="147870"/>
                      <a:pt x="6561" y="106048"/>
                      <a:pt x="5068" y="100073"/>
                    </a:cubicBezTo>
                    <a:cubicBezTo>
                      <a:pt x="3574" y="92605"/>
                      <a:pt x="2081" y="85137"/>
                      <a:pt x="2081" y="77669"/>
                    </a:cubicBezTo>
                    <a:cubicBezTo>
                      <a:pt x="587" y="62733"/>
                      <a:pt x="-2400" y="46303"/>
                      <a:pt x="3574" y="32860"/>
                    </a:cubicBezTo>
                    <a:cubicBezTo>
                      <a:pt x="8055" y="22405"/>
                      <a:pt x="15523" y="13443"/>
                      <a:pt x="25979" y="7468"/>
                    </a:cubicBezTo>
                    <a:cubicBezTo>
                      <a:pt x="36434" y="1494"/>
                      <a:pt x="49877" y="0"/>
                      <a:pt x="60332" y="0"/>
                    </a:cubicBezTo>
                    <a:cubicBezTo>
                      <a:pt x="70788" y="0"/>
                      <a:pt x="79749" y="1494"/>
                      <a:pt x="88711" y="5975"/>
                    </a:cubicBezTo>
                    <a:cubicBezTo>
                      <a:pt x="120078" y="25392"/>
                      <a:pt x="102154" y="58252"/>
                      <a:pt x="55851" y="40328"/>
                    </a:cubicBezTo>
                    <a:cubicBezTo>
                      <a:pt x="52864" y="38835"/>
                      <a:pt x="45396" y="29873"/>
                      <a:pt x="36434" y="37341"/>
                    </a:cubicBezTo>
                    <a:cubicBezTo>
                      <a:pt x="28966" y="44809"/>
                      <a:pt x="36434" y="77669"/>
                      <a:pt x="34940" y="77669"/>
                    </a:cubicBezTo>
                    <a:close/>
                  </a:path>
                </a:pathLst>
              </a:custGeom>
              <a:solidFill>
                <a:srgbClr val="683C11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6" name="任意多边形: 形状 725"/>
              <p:cNvSpPr/>
              <p:nvPr/>
            </p:nvSpPr>
            <p:spPr>
              <a:xfrm flipH="1">
                <a:off x="8223060" y="4001427"/>
                <a:ext cx="9092" cy="18185"/>
              </a:xfrm>
              <a:custGeom>
                <a:avLst/>
                <a:gdLst>
                  <a:gd name="connsiteX0" fmla="*/ 5974 w 14936"/>
                  <a:gd name="connsiteY0" fmla="*/ 0 h 29872"/>
                  <a:gd name="connsiteX1" fmla="*/ 13443 w 14936"/>
                  <a:gd name="connsiteY1" fmla="*/ 4481 h 29872"/>
                  <a:gd name="connsiteX2" fmla="*/ 16430 w 14936"/>
                  <a:gd name="connsiteY2" fmla="*/ 16430 h 29872"/>
                  <a:gd name="connsiteX3" fmla="*/ 16430 w 14936"/>
                  <a:gd name="connsiteY3" fmla="*/ 31366 h 29872"/>
                  <a:gd name="connsiteX4" fmla="*/ 13443 w 14936"/>
                  <a:gd name="connsiteY4" fmla="*/ 34353 h 29872"/>
                  <a:gd name="connsiteX5" fmla="*/ 7468 w 14936"/>
                  <a:gd name="connsiteY5" fmla="*/ 32860 h 29872"/>
                  <a:gd name="connsiteX6" fmla="*/ 4481 w 14936"/>
                  <a:gd name="connsiteY6" fmla="*/ 26885 h 29872"/>
                  <a:gd name="connsiteX7" fmla="*/ 0 w 14936"/>
                  <a:gd name="connsiteY7" fmla="*/ 10455 h 29872"/>
                  <a:gd name="connsiteX8" fmla="*/ 0 w 14936"/>
                  <a:gd name="connsiteY8" fmla="*/ 2987 h 29872"/>
                  <a:gd name="connsiteX9" fmla="*/ 5974 w 14936"/>
                  <a:gd name="connsiteY9" fmla="*/ 0 h 2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936" h="29872">
                    <a:moveTo>
                      <a:pt x="5974" y="0"/>
                    </a:moveTo>
                    <a:cubicBezTo>
                      <a:pt x="8962" y="0"/>
                      <a:pt x="11949" y="2987"/>
                      <a:pt x="13443" y="4481"/>
                    </a:cubicBezTo>
                    <a:cubicBezTo>
                      <a:pt x="14936" y="7468"/>
                      <a:pt x="16430" y="11949"/>
                      <a:pt x="16430" y="16430"/>
                    </a:cubicBezTo>
                    <a:cubicBezTo>
                      <a:pt x="16430" y="20911"/>
                      <a:pt x="17924" y="26885"/>
                      <a:pt x="16430" y="31366"/>
                    </a:cubicBezTo>
                    <a:cubicBezTo>
                      <a:pt x="16430" y="32860"/>
                      <a:pt x="14936" y="34353"/>
                      <a:pt x="13443" y="34353"/>
                    </a:cubicBezTo>
                    <a:cubicBezTo>
                      <a:pt x="11949" y="35847"/>
                      <a:pt x="8962" y="34353"/>
                      <a:pt x="7468" y="32860"/>
                    </a:cubicBezTo>
                    <a:cubicBezTo>
                      <a:pt x="5974" y="31366"/>
                      <a:pt x="4481" y="29873"/>
                      <a:pt x="4481" y="26885"/>
                    </a:cubicBezTo>
                    <a:cubicBezTo>
                      <a:pt x="2987" y="20911"/>
                      <a:pt x="1494" y="14936"/>
                      <a:pt x="0" y="10455"/>
                    </a:cubicBezTo>
                    <a:cubicBezTo>
                      <a:pt x="0" y="7468"/>
                      <a:pt x="0" y="5974"/>
                      <a:pt x="0" y="2987"/>
                    </a:cubicBezTo>
                    <a:cubicBezTo>
                      <a:pt x="1494" y="2987"/>
                      <a:pt x="2987" y="1493"/>
                      <a:pt x="5974" y="0"/>
                    </a:cubicBezTo>
                    <a:close/>
                  </a:path>
                </a:pathLst>
              </a:custGeom>
              <a:solidFill>
                <a:srgbClr val="FFBB7D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7" name="任意多边形: 形状 726"/>
              <p:cNvSpPr/>
              <p:nvPr/>
            </p:nvSpPr>
            <p:spPr>
              <a:xfrm flipH="1">
                <a:off x="8145773" y="4224195"/>
                <a:ext cx="36370" cy="45463"/>
              </a:xfrm>
              <a:custGeom>
                <a:avLst/>
                <a:gdLst>
                  <a:gd name="connsiteX0" fmla="*/ 65720 w 59745"/>
                  <a:gd name="connsiteY0" fmla="*/ 79162 h 74681"/>
                  <a:gd name="connsiteX1" fmla="*/ 0 w 59745"/>
                  <a:gd name="connsiteY1" fmla="*/ 28379 h 74681"/>
                  <a:gd name="connsiteX2" fmla="*/ 38835 w 59745"/>
                  <a:gd name="connsiteY2" fmla="*/ 0 h 74681"/>
                  <a:gd name="connsiteX3" fmla="*/ 38835 w 59745"/>
                  <a:gd name="connsiteY3" fmla="*/ 43315 h 74681"/>
                  <a:gd name="connsiteX4" fmla="*/ 65720 w 59745"/>
                  <a:gd name="connsiteY4" fmla="*/ 79162 h 74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745" h="74681">
                    <a:moveTo>
                      <a:pt x="65720" y="79162"/>
                    </a:moveTo>
                    <a:cubicBezTo>
                      <a:pt x="46303" y="58252"/>
                      <a:pt x="23898" y="41822"/>
                      <a:pt x="0" y="28379"/>
                    </a:cubicBezTo>
                    <a:cubicBezTo>
                      <a:pt x="16430" y="26885"/>
                      <a:pt x="32860" y="16430"/>
                      <a:pt x="38835" y="0"/>
                    </a:cubicBezTo>
                    <a:cubicBezTo>
                      <a:pt x="31366" y="13443"/>
                      <a:pt x="32860" y="29873"/>
                      <a:pt x="38835" y="43315"/>
                    </a:cubicBezTo>
                    <a:cubicBezTo>
                      <a:pt x="46303" y="56758"/>
                      <a:pt x="56758" y="67214"/>
                      <a:pt x="65720" y="79162"/>
                    </a:cubicBezTo>
                    <a:close/>
                  </a:path>
                </a:pathLst>
              </a:custGeom>
              <a:solidFill>
                <a:srgbClr val="1D1D1B">
                  <a:alpha val="20000"/>
                </a:srgbClr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1" name="任意多边形: 形状 950"/>
              <p:cNvSpPr/>
              <p:nvPr userDrawn="1"/>
            </p:nvSpPr>
            <p:spPr>
              <a:xfrm flipH="1">
                <a:off x="7291624" y="3255323"/>
                <a:ext cx="509185" cy="290963"/>
              </a:xfrm>
              <a:custGeom>
                <a:avLst/>
                <a:gdLst>
                  <a:gd name="connsiteX0" fmla="*/ 0 w 836435"/>
                  <a:gd name="connsiteY0" fmla="*/ 244956 h 477962"/>
                  <a:gd name="connsiteX1" fmla="*/ 424192 w 836435"/>
                  <a:gd name="connsiteY1" fmla="*/ 0 h 477962"/>
                  <a:gd name="connsiteX2" fmla="*/ 849878 w 836435"/>
                  <a:gd name="connsiteY2" fmla="*/ 244956 h 477962"/>
                  <a:gd name="connsiteX3" fmla="*/ 424192 w 836435"/>
                  <a:gd name="connsiteY3" fmla="*/ 489912 h 477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6435" h="477962">
                    <a:moveTo>
                      <a:pt x="0" y="244956"/>
                    </a:moveTo>
                    <a:lnTo>
                      <a:pt x="424192" y="0"/>
                    </a:lnTo>
                    <a:lnTo>
                      <a:pt x="849878" y="244956"/>
                    </a:lnTo>
                    <a:lnTo>
                      <a:pt x="424192" y="489912"/>
                    </a:lnTo>
                    <a:close/>
                  </a:path>
                </a:pathLst>
              </a:custGeom>
              <a:solidFill>
                <a:srgbClr val="EDEDED"/>
              </a:solidFill>
              <a:ln w="14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94091B-3CFC-4021-B4B6-037DCA5E5DB2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38" name="矩形 37"/>
          <p:cNvSpPr/>
          <p:nvPr userDrawn="1"/>
        </p:nvSpPr>
        <p:spPr>
          <a:xfrm flipH="1">
            <a:off x="0" y="6524625"/>
            <a:ext cx="12192000" cy="360680"/>
          </a:xfrm>
          <a:prstGeom prst="rect">
            <a:avLst/>
          </a:prstGeom>
          <a:gradFill>
            <a:gsLst>
              <a:gs pos="0">
                <a:srgbClr val="0E1A40"/>
              </a:gs>
              <a:gs pos="100000">
                <a:srgbClr val="2F5EB0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39" name="矩形 38"/>
          <p:cNvSpPr/>
          <p:nvPr userDrawn="1"/>
        </p:nvSpPr>
        <p:spPr>
          <a:xfrm flipH="1">
            <a:off x="0" y="6595745"/>
            <a:ext cx="12192000" cy="2889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40" name="矩形 5"/>
          <p:cNvSpPr/>
          <p:nvPr userDrawn="1"/>
        </p:nvSpPr>
        <p:spPr>
          <a:xfrm>
            <a:off x="10549255" y="6492240"/>
            <a:ext cx="1017905" cy="111760"/>
          </a:xfrm>
          <a:custGeom>
            <a:avLst/>
            <a:gdLst>
              <a:gd name="connsiteX0" fmla="*/ 0 w 926584"/>
              <a:gd name="connsiteY0" fmla="*/ 0 h 118098"/>
              <a:gd name="connsiteX1" fmla="*/ 926584 w 926584"/>
              <a:gd name="connsiteY1" fmla="*/ 0 h 118098"/>
              <a:gd name="connsiteX2" fmla="*/ 926584 w 926584"/>
              <a:gd name="connsiteY2" fmla="*/ 118098 h 118098"/>
              <a:gd name="connsiteX3" fmla="*/ 0 w 926584"/>
              <a:gd name="connsiteY3" fmla="*/ 118098 h 118098"/>
              <a:gd name="connsiteX4" fmla="*/ 0 w 926584"/>
              <a:gd name="connsiteY4" fmla="*/ 0 h 118098"/>
              <a:gd name="connsiteX0-1" fmla="*/ 55821 w 982405"/>
              <a:gd name="connsiteY0-2" fmla="*/ 0 h 144680"/>
              <a:gd name="connsiteX1-3" fmla="*/ 982405 w 982405"/>
              <a:gd name="connsiteY1-4" fmla="*/ 0 h 144680"/>
              <a:gd name="connsiteX2-5" fmla="*/ 982405 w 982405"/>
              <a:gd name="connsiteY2-6" fmla="*/ 118098 h 144680"/>
              <a:gd name="connsiteX3-7" fmla="*/ 0 w 982405"/>
              <a:gd name="connsiteY3-8" fmla="*/ 144680 h 144680"/>
              <a:gd name="connsiteX4-9" fmla="*/ 55821 w 982405"/>
              <a:gd name="connsiteY4-10" fmla="*/ 0 h 144680"/>
              <a:gd name="connsiteX0-11" fmla="*/ 55821 w 998354"/>
              <a:gd name="connsiteY0-12" fmla="*/ 0 h 147338"/>
              <a:gd name="connsiteX1-13" fmla="*/ 982405 w 998354"/>
              <a:gd name="connsiteY1-14" fmla="*/ 0 h 147338"/>
              <a:gd name="connsiteX2-15" fmla="*/ 998354 w 998354"/>
              <a:gd name="connsiteY2-16" fmla="*/ 147338 h 147338"/>
              <a:gd name="connsiteX3-17" fmla="*/ 0 w 998354"/>
              <a:gd name="connsiteY3-18" fmla="*/ 144680 h 147338"/>
              <a:gd name="connsiteX4-19" fmla="*/ 55821 w 998354"/>
              <a:gd name="connsiteY4-20" fmla="*/ 0 h 147338"/>
              <a:gd name="connsiteX0-21" fmla="*/ 84307 w 1026840"/>
              <a:gd name="connsiteY0-22" fmla="*/ 0 h 150534"/>
              <a:gd name="connsiteX1-23" fmla="*/ 1010891 w 1026840"/>
              <a:gd name="connsiteY1-24" fmla="*/ 0 h 150534"/>
              <a:gd name="connsiteX2-25" fmla="*/ 1026840 w 1026840"/>
              <a:gd name="connsiteY2-26" fmla="*/ 147338 h 150534"/>
              <a:gd name="connsiteX3-27" fmla="*/ 0 w 1026840"/>
              <a:gd name="connsiteY3-28" fmla="*/ 150534 h 150534"/>
              <a:gd name="connsiteX4-29" fmla="*/ 84307 w 1026840"/>
              <a:gd name="connsiteY4-30" fmla="*/ 0 h 150534"/>
              <a:gd name="connsiteX0-31" fmla="*/ 84307 w 1021143"/>
              <a:gd name="connsiteY0-32" fmla="*/ 0 h 153193"/>
              <a:gd name="connsiteX1-33" fmla="*/ 1010891 w 1021143"/>
              <a:gd name="connsiteY1-34" fmla="*/ 0 h 153193"/>
              <a:gd name="connsiteX2-35" fmla="*/ 1021143 w 1021143"/>
              <a:gd name="connsiteY2-36" fmla="*/ 153193 h 153193"/>
              <a:gd name="connsiteX3-37" fmla="*/ 0 w 1021143"/>
              <a:gd name="connsiteY3-38" fmla="*/ 150534 h 153193"/>
              <a:gd name="connsiteX4-39" fmla="*/ 84307 w 1021143"/>
              <a:gd name="connsiteY4-40" fmla="*/ 0 h 153193"/>
              <a:gd name="connsiteX0-41" fmla="*/ 92853 w 1021143"/>
              <a:gd name="connsiteY0-42" fmla="*/ 0 h 153193"/>
              <a:gd name="connsiteX1-43" fmla="*/ 1010891 w 1021143"/>
              <a:gd name="connsiteY1-44" fmla="*/ 0 h 153193"/>
              <a:gd name="connsiteX2-45" fmla="*/ 1021143 w 1021143"/>
              <a:gd name="connsiteY2-46" fmla="*/ 153193 h 153193"/>
              <a:gd name="connsiteX3-47" fmla="*/ 0 w 1021143"/>
              <a:gd name="connsiteY3-48" fmla="*/ 150534 h 153193"/>
              <a:gd name="connsiteX4-49" fmla="*/ 92853 w 1021143"/>
              <a:gd name="connsiteY4-50" fmla="*/ 0 h 153193"/>
              <a:gd name="connsiteX0-51" fmla="*/ 90004 w 1018294"/>
              <a:gd name="connsiteY0-52" fmla="*/ 0 h 153193"/>
              <a:gd name="connsiteX1-53" fmla="*/ 1008042 w 1018294"/>
              <a:gd name="connsiteY1-54" fmla="*/ 0 h 153193"/>
              <a:gd name="connsiteX2-55" fmla="*/ 1018294 w 1018294"/>
              <a:gd name="connsiteY2-56" fmla="*/ 153193 h 153193"/>
              <a:gd name="connsiteX3-57" fmla="*/ 0 w 1018294"/>
              <a:gd name="connsiteY3-58" fmla="*/ 142728 h 153193"/>
              <a:gd name="connsiteX4-59" fmla="*/ 90004 w 1018294"/>
              <a:gd name="connsiteY4-60" fmla="*/ 0 h 15319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018294" h="153193">
                <a:moveTo>
                  <a:pt x="90004" y="0"/>
                </a:moveTo>
                <a:lnTo>
                  <a:pt x="1008042" y="0"/>
                </a:lnTo>
                <a:lnTo>
                  <a:pt x="1018294" y="153193"/>
                </a:lnTo>
                <a:lnTo>
                  <a:pt x="0" y="142728"/>
                </a:lnTo>
                <a:lnTo>
                  <a:pt x="90004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41" name="矩形 40"/>
          <p:cNvSpPr/>
          <p:nvPr userDrawn="1"/>
        </p:nvSpPr>
        <p:spPr>
          <a:xfrm>
            <a:off x="10640060" y="6492240"/>
            <a:ext cx="1070610" cy="392430"/>
          </a:xfrm>
          <a:prstGeom prst="rect">
            <a:avLst/>
          </a:prstGeom>
          <a:gradFill>
            <a:gsLst>
              <a:gs pos="0">
                <a:srgbClr val="0E1A40"/>
              </a:gs>
              <a:gs pos="100000">
                <a:srgbClr val="2F5EB0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42" name="Rectangle 4"/>
          <p:cNvSpPr txBox="1">
            <a:spLocks noChangeArrowheads="1"/>
          </p:cNvSpPr>
          <p:nvPr userDrawn="1"/>
        </p:nvSpPr>
        <p:spPr bwMode="auto">
          <a:xfrm>
            <a:off x="10558780" y="6492240"/>
            <a:ext cx="1151890" cy="39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ctr" anchorCtr="0" compatLnSpc="1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latin typeface="+mn-lt"/>
                <a:ea typeface="仿宋_GB2312" pitchFamily="49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endParaRPr lang="en-US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Rectangle 4"/>
          <p:cNvSpPr txBox="1">
            <a:spLocks noChangeArrowheads="1"/>
          </p:cNvSpPr>
          <p:nvPr userDrawn="1"/>
        </p:nvSpPr>
        <p:spPr bwMode="auto">
          <a:xfrm flipH="1">
            <a:off x="432435" y="6455410"/>
            <a:ext cx="6449695" cy="510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ctr" anchorCtr="0" compatLnSpc="1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latin typeface="+mn-lt"/>
                <a:ea typeface="仿宋_GB2312" pitchFamily="49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pPr algn="l"/>
            <a:r>
              <a:rPr lang="en-US" altLang="zh-CN" sz="10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ONGFA TECHNOLOGY, FOR A BETTER LIFE!</a:t>
            </a:r>
            <a:endParaRPr lang="zh-CN" altLang="zh-CN" sz="1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628C9-9D5D-4BD9-82EC-BFC1C38FC57B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38" name="矩形 37"/>
          <p:cNvSpPr/>
          <p:nvPr userDrawn="1"/>
        </p:nvSpPr>
        <p:spPr>
          <a:xfrm flipH="1">
            <a:off x="0" y="6524625"/>
            <a:ext cx="12192000" cy="360680"/>
          </a:xfrm>
          <a:prstGeom prst="rect">
            <a:avLst/>
          </a:prstGeom>
          <a:gradFill>
            <a:gsLst>
              <a:gs pos="0">
                <a:srgbClr val="0E1A40"/>
              </a:gs>
              <a:gs pos="100000">
                <a:srgbClr val="2F5EB0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39" name="矩形 38"/>
          <p:cNvSpPr/>
          <p:nvPr userDrawn="1"/>
        </p:nvSpPr>
        <p:spPr>
          <a:xfrm flipH="1">
            <a:off x="0" y="6595745"/>
            <a:ext cx="12192000" cy="2889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40" name="矩形 5"/>
          <p:cNvSpPr/>
          <p:nvPr userDrawn="1"/>
        </p:nvSpPr>
        <p:spPr>
          <a:xfrm>
            <a:off x="10549255" y="6492240"/>
            <a:ext cx="1017905" cy="111760"/>
          </a:xfrm>
          <a:custGeom>
            <a:avLst/>
            <a:gdLst>
              <a:gd name="connsiteX0" fmla="*/ 0 w 926584"/>
              <a:gd name="connsiteY0" fmla="*/ 0 h 118098"/>
              <a:gd name="connsiteX1" fmla="*/ 926584 w 926584"/>
              <a:gd name="connsiteY1" fmla="*/ 0 h 118098"/>
              <a:gd name="connsiteX2" fmla="*/ 926584 w 926584"/>
              <a:gd name="connsiteY2" fmla="*/ 118098 h 118098"/>
              <a:gd name="connsiteX3" fmla="*/ 0 w 926584"/>
              <a:gd name="connsiteY3" fmla="*/ 118098 h 118098"/>
              <a:gd name="connsiteX4" fmla="*/ 0 w 926584"/>
              <a:gd name="connsiteY4" fmla="*/ 0 h 118098"/>
              <a:gd name="connsiteX0-1" fmla="*/ 55821 w 982405"/>
              <a:gd name="connsiteY0-2" fmla="*/ 0 h 144680"/>
              <a:gd name="connsiteX1-3" fmla="*/ 982405 w 982405"/>
              <a:gd name="connsiteY1-4" fmla="*/ 0 h 144680"/>
              <a:gd name="connsiteX2-5" fmla="*/ 982405 w 982405"/>
              <a:gd name="connsiteY2-6" fmla="*/ 118098 h 144680"/>
              <a:gd name="connsiteX3-7" fmla="*/ 0 w 982405"/>
              <a:gd name="connsiteY3-8" fmla="*/ 144680 h 144680"/>
              <a:gd name="connsiteX4-9" fmla="*/ 55821 w 982405"/>
              <a:gd name="connsiteY4-10" fmla="*/ 0 h 144680"/>
              <a:gd name="connsiteX0-11" fmla="*/ 55821 w 998354"/>
              <a:gd name="connsiteY0-12" fmla="*/ 0 h 147338"/>
              <a:gd name="connsiteX1-13" fmla="*/ 982405 w 998354"/>
              <a:gd name="connsiteY1-14" fmla="*/ 0 h 147338"/>
              <a:gd name="connsiteX2-15" fmla="*/ 998354 w 998354"/>
              <a:gd name="connsiteY2-16" fmla="*/ 147338 h 147338"/>
              <a:gd name="connsiteX3-17" fmla="*/ 0 w 998354"/>
              <a:gd name="connsiteY3-18" fmla="*/ 144680 h 147338"/>
              <a:gd name="connsiteX4-19" fmla="*/ 55821 w 998354"/>
              <a:gd name="connsiteY4-20" fmla="*/ 0 h 147338"/>
              <a:gd name="connsiteX0-21" fmla="*/ 84307 w 1026840"/>
              <a:gd name="connsiteY0-22" fmla="*/ 0 h 150534"/>
              <a:gd name="connsiteX1-23" fmla="*/ 1010891 w 1026840"/>
              <a:gd name="connsiteY1-24" fmla="*/ 0 h 150534"/>
              <a:gd name="connsiteX2-25" fmla="*/ 1026840 w 1026840"/>
              <a:gd name="connsiteY2-26" fmla="*/ 147338 h 150534"/>
              <a:gd name="connsiteX3-27" fmla="*/ 0 w 1026840"/>
              <a:gd name="connsiteY3-28" fmla="*/ 150534 h 150534"/>
              <a:gd name="connsiteX4-29" fmla="*/ 84307 w 1026840"/>
              <a:gd name="connsiteY4-30" fmla="*/ 0 h 150534"/>
              <a:gd name="connsiteX0-31" fmla="*/ 84307 w 1021143"/>
              <a:gd name="connsiteY0-32" fmla="*/ 0 h 153193"/>
              <a:gd name="connsiteX1-33" fmla="*/ 1010891 w 1021143"/>
              <a:gd name="connsiteY1-34" fmla="*/ 0 h 153193"/>
              <a:gd name="connsiteX2-35" fmla="*/ 1021143 w 1021143"/>
              <a:gd name="connsiteY2-36" fmla="*/ 153193 h 153193"/>
              <a:gd name="connsiteX3-37" fmla="*/ 0 w 1021143"/>
              <a:gd name="connsiteY3-38" fmla="*/ 150534 h 153193"/>
              <a:gd name="connsiteX4-39" fmla="*/ 84307 w 1021143"/>
              <a:gd name="connsiteY4-40" fmla="*/ 0 h 153193"/>
              <a:gd name="connsiteX0-41" fmla="*/ 92853 w 1021143"/>
              <a:gd name="connsiteY0-42" fmla="*/ 0 h 153193"/>
              <a:gd name="connsiteX1-43" fmla="*/ 1010891 w 1021143"/>
              <a:gd name="connsiteY1-44" fmla="*/ 0 h 153193"/>
              <a:gd name="connsiteX2-45" fmla="*/ 1021143 w 1021143"/>
              <a:gd name="connsiteY2-46" fmla="*/ 153193 h 153193"/>
              <a:gd name="connsiteX3-47" fmla="*/ 0 w 1021143"/>
              <a:gd name="connsiteY3-48" fmla="*/ 150534 h 153193"/>
              <a:gd name="connsiteX4-49" fmla="*/ 92853 w 1021143"/>
              <a:gd name="connsiteY4-50" fmla="*/ 0 h 153193"/>
              <a:gd name="connsiteX0-51" fmla="*/ 90004 w 1018294"/>
              <a:gd name="connsiteY0-52" fmla="*/ 0 h 153193"/>
              <a:gd name="connsiteX1-53" fmla="*/ 1008042 w 1018294"/>
              <a:gd name="connsiteY1-54" fmla="*/ 0 h 153193"/>
              <a:gd name="connsiteX2-55" fmla="*/ 1018294 w 1018294"/>
              <a:gd name="connsiteY2-56" fmla="*/ 153193 h 153193"/>
              <a:gd name="connsiteX3-57" fmla="*/ 0 w 1018294"/>
              <a:gd name="connsiteY3-58" fmla="*/ 142728 h 153193"/>
              <a:gd name="connsiteX4-59" fmla="*/ 90004 w 1018294"/>
              <a:gd name="connsiteY4-60" fmla="*/ 0 h 15319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018294" h="153193">
                <a:moveTo>
                  <a:pt x="90004" y="0"/>
                </a:moveTo>
                <a:lnTo>
                  <a:pt x="1008042" y="0"/>
                </a:lnTo>
                <a:lnTo>
                  <a:pt x="1018294" y="153193"/>
                </a:lnTo>
                <a:lnTo>
                  <a:pt x="0" y="142728"/>
                </a:lnTo>
                <a:lnTo>
                  <a:pt x="90004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41" name="矩形 40"/>
          <p:cNvSpPr/>
          <p:nvPr userDrawn="1"/>
        </p:nvSpPr>
        <p:spPr>
          <a:xfrm>
            <a:off x="10640060" y="6492240"/>
            <a:ext cx="1070610" cy="392430"/>
          </a:xfrm>
          <a:prstGeom prst="rect">
            <a:avLst/>
          </a:prstGeom>
          <a:gradFill>
            <a:gsLst>
              <a:gs pos="0">
                <a:srgbClr val="0E1A40"/>
              </a:gs>
              <a:gs pos="100000">
                <a:srgbClr val="2F5EB0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42" name="Rectangle 4"/>
          <p:cNvSpPr txBox="1">
            <a:spLocks noChangeArrowheads="1"/>
          </p:cNvSpPr>
          <p:nvPr userDrawn="1"/>
        </p:nvSpPr>
        <p:spPr bwMode="auto">
          <a:xfrm>
            <a:off x="10558780" y="6492240"/>
            <a:ext cx="1151890" cy="39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ctr" anchorCtr="0" compatLnSpc="1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latin typeface="+mn-lt"/>
                <a:ea typeface="仿宋_GB2312" pitchFamily="49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endParaRPr lang="en-US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Rectangle 4"/>
          <p:cNvSpPr txBox="1">
            <a:spLocks noChangeArrowheads="1"/>
          </p:cNvSpPr>
          <p:nvPr userDrawn="1"/>
        </p:nvSpPr>
        <p:spPr bwMode="auto">
          <a:xfrm flipH="1">
            <a:off x="432435" y="6455410"/>
            <a:ext cx="6449695" cy="510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ctr" anchorCtr="0" compatLnSpc="1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latin typeface="+mn-lt"/>
                <a:ea typeface="仿宋_GB2312" pitchFamily="49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pPr algn="l"/>
            <a:r>
              <a:rPr lang="en-US" altLang="zh-CN" sz="10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ONGFA TECHNOLOGY, FOR A BETTER LIFE!</a:t>
            </a:r>
            <a:endParaRPr lang="zh-CN" altLang="zh-CN" sz="1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gradFill>
          <a:gsLst>
            <a:gs pos="0">
              <a:schemeClr val="bg1"/>
            </a:gs>
            <a:gs pos="50000">
              <a:schemeClr val="bg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602331" y="1968731"/>
            <a:ext cx="6031194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602331" y="4274967"/>
            <a:ext cx="603119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02333" y="3978696"/>
            <a:ext cx="603119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2">
                    <a:lumMod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5" name="任意多边形: 形状 4"/>
          <p:cNvSpPr/>
          <p:nvPr userDrawn="1"/>
        </p:nvSpPr>
        <p:spPr>
          <a:xfrm>
            <a:off x="0" y="4078514"/>
            <a:ext cx="8759790" cy="2779486"/>
          </a:xfrm>
          <a:custGeom>
            <a:avLst/>
            <a:gdLst>
              <a:gd name="connsiteX0" fmla="*/ 3889196 w 8759790"/>
              <a:gd name="connsiteY0" fmla="*/ 0 h 2779486"/>
              <a:gd name="connsiteX1" fmla="*/ 0 w 8759790"/>
              <a:gd name="connsiteY1" fmla="*/ 2219435 h 2779486"/>
              <a:gd name="connsiteX2" fmla="*/ 0 w 8759790"/>
              <a:gd name="connsiteY2" fmla="*/ 2779486 h 2779486"/>
              <a:gd name="connsiteX3" fmla="*/ 8759790 w 8759790"/>
              <a:gd name="connsiteY3" fmla="*/ 2779486 h 2779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59790" h="2779486">
                <a:moveTo>
                  <a:pt x="3889196" y="0"/>
                </a:moveTo>
                <a:lnTo>
                  <a:pt x="0" y="2219435"/>
                </a:lnTo>
                <a:lnTo>
                  <a:pt x="0" y="2779486"/>
                </a:lnTo>
                <a:lnTo>
                  <a:pt x="8759790" y="27794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1006928" y="949909"/>
            <a:ext cx="3372967" cy="5046243"/>
            <a:chOff x="424329" y="639617"/>
            <a:chExt cx="3716192" cy="5559736"/>
          </a:xfrm>
        </p:grpSpPr>
        <p:sp>
          <p:nvSpPr>
            <p:cNvPr id="33" name="任意多边形: 形状 32"/>
            <p:cNvSpPr/>
            <p:nvPr/>
          </p:nvSpPr>
          <p:spPr>
            <a:xfrm>
              <a:off x="2022066" y="2174500"/>
              <a:ext cx="504439" cy="299937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/>
            <p:cNvSpPr/>
            <p:nvPr/>
          </p:nvSpPr>
          <p:spPr>
            <a:xfrm>
              <a:off x="2019150" y="2471957"/>
              <a:ext cx="13633" cy="57260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/>
            <p:cNvSpPr/>
            <p:nvPr/>
          </p:nvSpPr>
          <p:spPr>
            <a:xfrm>
              <a:off x="2523589" y="2180201"/>
              <a:ext cx="13633" cy="57260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6 h 627326"/>
                <a:gd name="connsiteX3" fmla="*/ 0 w 14936"/>
                <a:gd name="connsiteY3" fmla="*/ 639276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6"/>
                  </a:lnTo>
                  <a:lnTo>
                    <a:pt x="0" y="63927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/>
            <p:cNvSpPr/>
            <p:nvPr/>
          </p:nvSpPr>
          <p:spPr>
            <a:xfrm>
              <a:off x="1516115" y="3049970"/>
              <a:ext cx="504439" cy="299937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6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6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/>
            <p:cNvSpPr/>
            <p:nvPr/>
          </p:nvSpPr>
          <p:spPr>
            <a:xfrm>
              <a:off x="2021950" y="2758061"/>
              <a:ext cx="504439" cy="299937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/>
            <p:cNvSpPr/>
            <p:nvPr/>
          </p:nvSpPr>
          <p:spPr>
            <a:xfrm>
              <a:off x="2019150" y="3055471"/>
              <a:ext cx="13633" cy="57260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/>
            <p:cNvSpPr/>
            <p:nvPr/>
          </p:nvSpPr>
          <p:spPr>
            <a:xfrm>
              <a:off x="2527803" y="2465982"/>
              <a:ext cx="504439" cy="299937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/>
            <p:cNvSpPr/>
            <p:nvPr/>
          </p:nvSpPr>
          <p:spPr>
            <a:xfrm>
              <a:off x="2523589" y="2763714"/>
              <a:ext cx="13633" cy="57260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6 h 627326"/>
                <a:gd name="connsiteX3" fmla="*/ 0 w 14936"/>
                <a:gd name="connsiteY3" fmla="*/ 639276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6"/>
                  </a:lnTo>
                  <a:lnTo>
                    <a:pt x="0" y="63927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/>
            <p:cNvSpPr/>
            <p:nvPr/>
          </p:nvSpPr>
          <p:spPr>
            <a:xfrm>
              <a:off x="1007546" y="4223860"/>
              <a:ext cx="13633" cy="57260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/>
            <p:cNvSpPr/>
            <p:nvPr/>
          </p:nvSpPr>
          <p:spPr>
            <a:xfrm>
              <a:off x="1515982" y="3633163"/>
              <a:ext cx="504439" cy="299937"/>
            </a:xfrm>
            <a:custGeom>
              <a:avLst/>
              <a:gdLst>
                <a:gd name="connsiteX0" fmla="*/ 0 w 552644"/>
                <a:gd name="connsiteY0" fmla="*/ 319829 h 328599"/>
                <a:gd name="connsiteX1" fmla="*/ 553485 w 552644"/>
                <a:gd name="connsiteY1" fmla="*/ 0 h 328599"/>
                <a:gd name="connsiteX2" fmla="*/ 560957 w 552644"/>
                <a:gd name="connsiteY2" fmla="*/ 12932 h 328599"/>
                <a:gd name="connsiteX3" fmla="*/ 7473 w 552644"/>
                <a:gd name="connsiteY3" fmla="*/ 332761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29"/>
                  </a:moveTo>
                  <a:lnTo>
                    <a:pt x="553485" y="0"/>
                  </a:lnTo>
                  <a:lnTo>
                    <a:pt x="560957" y="12932"/>
                  </a:lnTo>
                  <a:lnTo>
                    <a:pt x="7473" y="332761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/>
            <p:cNvSpPr/>
            <p:nvPr/>
          </p:nvSpPr>
          <p:spPr>
            <a:xfrm>
              <a:off x="1513348" y="3930740"/>
              <a:ext cx="13633" cy="57260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/>
            <p:cNvSpPr/>
            <p:nvPr/>
          </p:nvSpPr>
          <p:spPr>
            <a:xfrm>
              <a:off x="2021995" y="3341185"/>
              <a:ext cx="504439" cy="299937"/>
            </a:xfrm>
            <a:custGeom>
              <a:avLst/>
              <a:gdLst>
                <a:gd name="connsiteX0" fmla="*/ 0 w 552644"/>
                <a:gd name="connsiteY0" fmla="*/ 319894 h 328599"/>
                <a:gd name="connsiteX1" fmla="*/ 553485 w 552644"/>
                <a:gd name="connsiteY1" fmla="*/ 0 h 328599"/>
                <a:gd name="connsiteX2" fmla="*/ 560959 w 552644"/>
                <a:gd name="connsiteY2" fmla="*/ 12932 h 328599"/>
                <a:gd name="connsiteX3" fmla="*/ 7474 w 552644"/>
                <a:gd name="connsiteY3" fmla="*/ 332825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94"/>
                  </a:moveTo>
                  <a:lnTo>
                    <a:pt x="553485" y="0"/>
                  </a:lnTo>
                  <a:lnTo>
                    <a:pt x="560959" y="12932"/>
                  </a:lnTo>
                  <a:lnTo>
                    <a:pt x="7474" y="33282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/>
            <p:cNvSpPr/>
            <p:nvPr/>
          </p:nvSpPr>
          <p:spPr>
            <a:xfrm>
              <a:off x="2019150" y="3638984"/>
              <a:ext cx="13633" cy="57260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/>
            <p:cNvSpPr/>
            <p:nvPr/>
          </p:nvSpPr>
          <p:spPr>
            <a:xfrm>
              <a:off x="2527670" y="3049718"/>
              <a:ext cx="504439" cy="299937"/>
            </a:xfrm>
            <a:custGeom>
              <a:avLst/>
              <a:gdLst>
                <a:gd name="connsiteX0" fmla="*/ 0 w 552644"/>
                <a:gd name="connsiteY0" fmla="*/ 319574 h 328599"/>
                <a:gd name="connsiteX1" fmla="*/ 553677 w 552644"/>
                <a:gd name="connsiteY1" fmla="*/ 0 h 328599"/>
                <a:gd name="connsiteX2" fmla="*/ 561143 w 552644"/>
                <a:gd name="connsiteY2" fmla="*/ 12936 h 328599"/>
                <a:gd name="connsiteX3" fmla="*/ 7467 w 552644"/>
                <a:gd name="connsiteY3" fmla="*/ 332510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574"/>
                  </a:moveTo>
                  <a:lnTo>
                    <a:pt x="553677" y="0"/>
                  </a:lnTo>
                  <a:lnTo>
                    <a:pt x="561143" y="12936"/>
                  </a:lnTo>
                  <a:lnTo>
                    <a:pt x="7467" y="33251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/>
            <p:cNvSpPr/>
            <p:nvPr/>
          </p:nvSpPr>
          <p:spPr>
            <a:xfrm>
              <a:off x="2523589" y="3347228"/>
              <a:ext cx="13633" cy="57260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6 h 627326"/>
                <a:gd name="connsiteX3" fmla="*/ 0 w 14936"/>
                <a:gd name="connsiteY3" fmla="*/ 639276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6"/>
                  </a:lnTo>
                  <a:lnTo>
                    <a:pt x="0" y="63927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/>
            <p:cNvSpPr/>
            <p:nvPr/>
          </p:nvSpPr>
          <p:spPr>
            <a:xfrm>
              <a:off x="1011020" y="4509754"/>
              <a:ext cx="504439" cy="299937"/>
            </a:xfrm>
            <a:custGeom>
              <a:avLst/>
              <a:gdLst>
                <a:gd name="connsiteX0" fmla="*/ 0 w 552644"/>
                <a:gd name="connsiteY0" fmla="*/ 319893 h 328599"/>
                <a:gd name="connsiteX1" fmla="*/ 553485 w 552644"/>
                <a:gd name="connsiteY1" fmla="*/ 0 h 328599"/>
                <a:gd name="connsiteX2" fmla="*/ 560959 w 552644"/>
                <a:gd name="connsiteY2" fmla="*/ 12932 h 328599"/>
                <a:gd name="connsiteX3" fmla="*/ 7474 w 552644"/>
                <a:gd name="connsiteY3" fmla="*/ 332825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93"/>
                  </a:moveTo>
                  <a:lnTo>
                    <a:pt x="553485" y="0"/>
                  </a:lnTo>
                  <a:lnTo>
                    <a:pt x="560959" y="12932"/>
                  </a:lnTo>
                  <a:lnTo>
                    <a:pt x="7474" y="33282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/>
            <p:cNvSpPr/>
            <p:nvPr/>
          </p:nvSpPr>
          <p:spPr>
            <a:xfrm>
              <a:off x="1007546" y="4807374"/>
              <a:ext cx="13633" cy="57260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/>
            <p:cNvSpPr/>
            <p:nvPr/>
          </p:nvSpPr>
          <p:spPr>
            <a:xfrm>
              <a:off x="1516811" y="4217825"/>
              <a:ext cx="504439" cy="299937"/>
            </a:xfrm>
            <a:custGeom>
              <a:avLst/>
              <a:gdLst>
                <a:gd name="connsiteX0" fmla="*/ 0 w 552644"/>
                <a:gd name="connsiteY0" fmla="*/ 319894 h 328599"/>
                <a:gd name="connsiteX1" fmla="*/ 553485 w 552644"/>
                <a:gd name="connsiteY1" fmla="*/ 0 h 328599"/>
                <a:gd name="connsiteX2" fmla="*/ 560959 w 552644"/>
                <a:gd name="connsiteY2" fmla="*/ 12932 h 328599"/>
                <a:gd name="connsiteX3" fmla="*/ 7474 w 552644"/>
                <a:gd name="connsiteY3" fmla="*/ 332825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94"/>
                  </a:moveTo>
                  <a:lnTo>
                    <a:pt x="553485" y="0"/>
                  </a:lnTo>
                  <a:lnTo>
                    <a:pt x="560959" y="12932"/>
                  </a:lnTo>
                  <a:lnTo>
                    <a:pt x="7474" y="33282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/>
            <p:cNvSpPr/>
            <p:nvPr/>
          </p:nvSpPr>
          <p:spPr>
            <a:xfrm>
              <a:off x="1513348" y="4515617"/>
              <a:ext cx="13633" cy="57260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/>
            <p:cNvSpPr/>
            <p:nvPr/>
          </p:nvSpPr>
          <p:spPr>
            <a:xfrm>
              <a:off x="2022351" y="3925968"/>
              <a:ext cx="504439" cy="299937"/>
            </a:xfrm>
            <a:custGeom>
              <a:avLst/>
              <a:gdLst>
                <a:gd name="connsiteX0" fmla="*/ 0 w 552644"/>
                <a:gd name="connsiteY0" fmla="*/ 319830 h 328599"/>
                <a:gd name="connsiteX1" fmla="*/ 553485 w 552644"/>
                <a:gd name="connsiteY1" fmla="*/ 0 h 328599"/>
                <a:gd name="connsiteX2" fmla="*/ 560957 w 552644"/>
                <a:gd name="connsiteY2" fmla="*/ 12932 h 328599"/>
                <a:gd name="connsiteX3" fmla="*/ 7473 w 552644"/>
                <a:gd name="connsiteY3" fmla="*/ 332761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30"/>
                  </a:moveTo>
                  <a:lnTo>
                    <a:pt x="553485" y="0"/>
                  </a:lnTo>
                  <a:lnTo>
                    <a:pt x="560957" y="12932"/>
                  </a:lnTo>
                  <a:lnTo>
                    <a:pt x="7473" y="332761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/>
            <p:cNvSpPr/>
            <p:nvPr/>
          </p:nvSpPr>
          <p:spPr>
            <a:xfrm>
              <a:off x="2019150" y="4223860"/>
              <a:ext cx="13633" cy="57260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/>
            <p:cNvSpPr/>
            <p:nvPr/>
          </p:nvSpPr>
          <p:spPr>
            <a:xfrm>
              <a:off x="2527464" y="3632896"/>
              <a:ext cx="504439" cy="299937"/>
            </a:xfrm>
            <a:custGeom>
              <a:avLst/>
              <a:gdLst>
                <a:gd name="connsiteX0" fmla="*/ 0 w 552644"/>
                <a:gd name="connsiteY0" fmla="*/ 319829 h 328599"/>
                <a:gd name="connsiteX1" fmla="*/ 553485 w 552644"/>
                <a:gd name="connsiteY1" fmla="*/ 0 h 328599"/>
                <a:gd name="connsiteX2" fmla="*/ 560957 w 552644"/>
                <a:gd name="connsiteY2" fmla="*/ 12932 h 328599"/>
                <a:gd name="connsiteX3" fmla="*/ 7473 w 552644"/>
                <a:gd name="connsiteY3" fmla="*/ 332761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644" h="328599">
                  <a:moveTo>
                    <a:pt x="0" y="319829"/>
                  </a:moveTo>
                  <a:lnTo>
                    <a:pt x="553485" y="0"/>
                  </a:lnTo>
                  <a:lnTo>
                    <a:pt x="560957" y="12932"/>
                  </a:lnTo>
                  <a:lnTo>
                    <a:pt x="7473" y="332761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/>
            <p:cNvSpPr/>
            <p:nvPr/>
          </p:nvSpPr>
          <p:spPr>
            <a:xfrm>
              <a:off x="2523589" y="3932104"/>
              <a:ext cx="13633" cy="572606"/>
            </a:xfrm>
            <a:custGeom>
              <a:avLst/>
              <a:gdLst>
                <a:gd name="connsiteX0" fmla="*/ 0 w 14936"/>
                <a:gd name="connsiteY0" fmla="*/ 0 h 627326"/>
                <a:gd name="connsiteX1" fmla="*/ 14936 w 14936"/>
                <a:gd name="connsiteY1" fmla="*/ 0 h 627326"/>
                <a:gd name="connsiteX2" fmla="*/ 14936 w 14936"/>
                <a:gd name="connsiteY2" fmla="*/ 639275 h 627326"/>
                <a:gd name="connsiteX3" fmla="*/ 0 w 14936"/>
                <a:gd name="connsiteY3" fmla="*/ 639275 h 62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627326">
                  <a:moveTo>
                    <a:pt x="0" y="0"/>
                  </a:moveTo>
                  <a:lnTo>
                    <a:pt x="14936" y="0"/>
                  </a:lnTo>
                  <a:lnTo>
                    <a:pt x="14936" y="639275"/>
                  </a:lnTo>
                  <a:lnTo>
                    <a:pt x="0" y="639275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/>
            <p:cNvSpPr/>
            <p:nvPr/>
          </p:nvSpPr>
          <p:spPr>
            <a:xfrm>
              <a:off x="3462937" y="2147480"/>
              <a:ext cx="381738" cy="2617630"/>
            </a:xfrm>
            <a:custGeom>
              <a:avLst/>
              <a:gdLst>
                <a:gd name="connsiteX0" fmla="*/ 0 w 418217"/>
                <a:gd name="connsiteY0" fmla="*/ 2872259 h 2867777"/>
                <a:gd name="connsiteX1" fmla="*/ 425686 w 418217"/>
                <a:gd name="connsiteY1" fmla="*/ 2627303 h 2867777"/>
                <a:gd name="connsiteX2" fmla="*/ 424192 w 418217"/>
                <a:gd name="connsiteY2" fmla="*/ 0 h 2867777"/>
                <a:gd name="connsiteX3" fmla="*/ 0 w 418217"/>
                <a:gd name="connsiteY3" fmla="*/ 244956 h 2867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2867777">
                  <a:moveTo>
                    <a:pt x="0" y="2872259"/>
                  </a:moveTo>
                  <a:lnTo>
                    <a:pt x="425686" y="2627303"/>
                  </a:lnTo>
                  <a:lnTo>
                    <a:pt x="424192" y="0"/>
                  </a:lnTo>
                  <a:lnTo>
                    <a:pt x="0" y="24495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/>
            <p:cNvSpPr/>
            <p:nvPr/>
          </p:nvSpPr>
          <p:spPr>
            <a:xfrm>
              <a:off x="3075746" y="2147480"/>
              <a:ext cx="381738" cy="2617630"/>
            </a:xfrm>
            <a:custGeom>
              <a:avLst/>
              <a:gdLst>
                <a:gd name="connsiteX0" fmla="*/ 424192 w 418217"/>
                <a:gd name="connsiteY0" fmla="*/ 2872259 h 2867777"/>
                <a:gd name="connsiteX1" fmla="*/ 0 w 418217"/>
                <a:gd name="connsiteY1" fmla="*/ 2627303 h 2867777"/>
                <a:gd name="connsiteX2" fmla="*/ 0 w 418217"/>
                <a:gd name="connsiteY2" fmla="*/ 0 h 2867777"/>
                <a:gd name="connsiteX3" fmla="*/ 424192 w 418217"/>
                <a:gd name="connsiteY3" fmla="*/ 244956 h 2867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2867777">
                  <a:moveTo>
                    <a:pt x="424192" y="2872259"/>
                  </a:moveTo>
                  <a:lnTo>
                    <a:pt x="0" y="2627303"/>
                  </a:lnTo>
                  <a:lnTo>
                    <a:pt x="0" y="0"/>
                  </a:lnTo>
                  <a:lnTo>
                    <a:pt x="424192" y="24495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/>
            <p:cNvSpPr/>
            <p:nvPr/>
          </p:nvSpPr>
          <p:spPr>
            <a:xfrm>
              <a:off x="3075746" y="1923891"/>
              <a:ext cx="763475" cy="436272"/>
            </a:xfrm>
            <a:custGeom>
              <a:avLst/>
              <a:gdLst>
                <a:gd name="connsiteX0" fmla="*/ 0 w 836435"/>
                <a:gd name="connsiteY0" fmla="*/ 244956 h 477962"/>
                <a:gd name="connsiteX1" fmla="*/ 424192 w 836435"/>
                <a:gd name="connsiteY1" fmla="*/ 0 h 477962"/>
                <a:gd name="connsiteX2" fmla="*/ 848384 w 836435"/>
                <a:gd name="connsiteY2" fmla="*/ 244956 h 477962"/>
                <a:gd name="connsiteX3" fmla="*/ 424192 w 836435"/>
                <a:gd name="connsiteY3" fmla="*/ 489912 h 477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6435" h="477962">
                  <a:moveTo>
                    <a:pt x="0" y="244956"/>
                  </a:moveTo>
                  <a:lnTo>
                    <a:pt x="424192" y="0"/>
                  </a:lnTo>
                  <a:lnTo>
                    <a:pt x="848384" y="244956"/>
                  </a:lnTo>
                  <a:lnTo>
                    <a:pt x="424192" y="489912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/>
            <p:cNvSpPr/>
            <p:nvPr/>
          </p:nvSpPr>
          <p:spPr>
            <a:xfrm>
              <a:off x="2891694" y="2726904"/>
              <a:ext cx="381738" cy="2372227"/>
            </a:xfrm>
            <a:custGeom>
              <a:avLst/>
              <a:gdLst>
                <a:gd name="connsiteX0" fmla="*/ 0 w 418217"/>
                <a:gd name="connsiteY0" fmla="*/ 2598924 h 2598923"/>
                <a:gd name="connsiteX1" fmla="*/ 425686 w 418217"/>
                <a:gd name="connsiteY1" fmla="*/ 2352474 h 2598923"/>
                <a:gd name="connsiteX2" fmla="*/ 425686 w 418217"/>
                <a:gd name="connsiteY2" fmla="*/ 0 h 2598923"/>
                <a:gd name="connsiteX3" fmla="*/ 0 w 418217"/>
                <a:gd name="connsiteY3" fmla="*/ 244956 h 259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2598923">
                  <a:moveTo>
                    <a:pt x="0" y="2598924"/>
                  </a:moveTo>
                  <a:lnTo>
                    <a:pt x="425686" y="2352474"/>
                  </a:lnTo>
                  <a:lnTo>
                    <a:pt x="425686" y="0"/>
                  </a:lnTo>
                  <a:lnTo>
                    <a:pt x="0" y="24495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/>
            <p:cNvSpPr/>
            <p:nvPr/>
          </p:nvSpPr>
          <p:spPr>
            <a:xfrm>
              <a:off x="2504502" y="2726904"/>
              <a:ext cx="381738" cy="2372227"/>
            </a:xfrm>
            <a:custGeom>
              <a:avLst/>
              <a:gdLst>
                <a:gd name="connsiteX0" fmla="*/ 424192 w 418217"/>
                <a:gd name="connsiteY0" fmla="*/ 2598924 h 2598923"/>
                <a:gd name="connsiteX1" fmla="*/ 0 w 418217"/>
                <a:gd name="connsiteY1" fmla="*/ 2352474 h 2598923"/>
                <a:gd name="connsiteX2" fmla="*/ 0 w 418217"/>
                <a:gd name="connsiteY2" fmla="*/ 0 h 2598923"/>
                <a:gd name="connsiteX3" fmla="*/ 424192 w 418217"/>
                <a:gd name="connsiteY3" fmla="*/ 244956 h 259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2598923">
                  <a:moveTo>
                    <a:pt x="424192" y="2598924"/>
                  </a:moveTo>
                  <a:lnTo>
                    <a:pt x="0" y="2352474"/>
                  </a:lnTo>
                  <a:lnTo>
                    <a:pt x="0" y="0"/>
                  </a:lnTo>
                  <a:lnTo>
                    <a:pt x="424192" y="24495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/>
            <p:cNvSpPr/>
            <p:nvPr/>
          </p:nvSpPr>
          <p:spPr>
            <a:xfrm>
              <a:off x="2504502" y="2503315"/>
              <a:ext cx="763475" cy="436272"/>
            </a:xfrm>
            <a:custGeom>
              <a:avLst/>
              <a:gdLst>
                <a:gd name="connsiteX0" fmla="*/ 0 w 836435"/>
                <a:gd name="connsiteY0" fmla="*/ 244956 h 477962"/>
                <a:gd name="connsiteX1" fmla="*/ 424192 w 836435"/>
                <a:gd name="connsiteY1" fmla="*/ 0 h 477962"/>
                <a:gd name="connsiteX2" fmla="*/ 849878 w 836435"/>
                <a:gd name="connsiteY2" fmla="*/ 244956 h 477962"/>
                <a:gd name="connsiteX3" fmla="*/ 424192 w 836435"/>
                <a:gd name="connsiteY3" fmla="*/ 489912 h 477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6435" h="477962">
                  <a:moveTo>
                    <a:pt x="0" y="244956"/>
                  </a:moveTo>
                  <a:lnTo>
                    <a:pt x="424192" y="0"/>
                  </a:lnTo>
                  <a:lnTo>
                    <a:pt x="849878" y="244956"/>
                  </a:lnTo>
                  <a:lnTo>
                    <a:pt x="424192" y="489912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/>
            <p:cNvSpPr/>
            <p:nvPr/>
          </p:nvSpPr>
          <p:spPr>
            <a:xfrm>
              <a:off x="2320451" y="3414032"/>
              <a:ext cx="381738" cy="2004122"/>
            </a:xfrm>
            <a:custGeom>
              <a:avLst/>
              <a:gdLst>
                <a:gd name="connsiteX0" fmla="*/ 0 w 418217"/>
                <a:gd name="connsiteY0" fmla="*/ 2206098 h 2195642"/>
                <a:gd name="connsiteX1" fmla="*/ 425686 w 418217"/>
                <a:gd name="connsiteY1" fmla="*/ 1961142 h 2195642"/>
                <a:gd name="connsiteX2" fmla="*/ 425686 w 418217"/>
                <a:gd name="connsiteY2" fmla="*/ 0 h 2195642"/>
                <a:gd name="connsiteX3" fmla="*/ 0 w 418217"/>
                <a:gd name="connsiteY3" fmla="*/ 244956 h 219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2195642">
                  <a:moveTo>
                    <a:pt x="0" y="2206098"/>
                  </a:moveTo>
                  <a:lnTo>
                    <a:pt x="425686" y="1961142"/>
                  </a:lnTo>
                  <a:lnTo>
                    <a:pt x="425686" y="0"/>
                  </a:lnTo>
                  <a:lnTo>
                    <a:pt x="0" y="24495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/>
            <p:cNvSpPr/>
            <p:nvPr/>
          </p:nvSpPr>
          <p:spPr>
            <a:xfrm>
              <a:off x="1933260" y="3414032"/>
              <a:ext cx="381738" cy="2004122"/>
            </a:xfrm>
            <a:custGeom>
              <a:avLst/>
              <a:gdLst>
                <a:gd name="connsiteX0" fmla="*/ 424192 w 418217"/>
                <a:gd name="connsiteY0" fmla="*/ 2206098 h 2195642"/>
                <a:gd name="connsiteX1" fmla="*/ 0 w 418217"/>
                <a:gd name="connsiteY1" fmla="*/ 1961142 h 2195642"/>
                <a:gd name="connsiteX2" fmla="*/ 0 w 418217"/>
                <a:gd name="connsiteY2" fmla="*/ 0 h 2195642"/>
                <a:gd name="connsiteX3" fmla="*/ 424192 w 418217"/>
                <a:gd name="connsiteY3" fmla="*/ 244956 h 219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2195642">
                  <a:moveTo>
                    <a:pt x="424192" y="2206098"/>
                  </a:moveTo>
                  <a:lnTo>
                    <a:pt x="0" y="1961142"/>
                  </a:lnTo>
                  <a:lnTo>
                    <a:pt x="0" y="0"/>
                  </a:lnTo>
                  <a:lnTo>
                    <a:pt x="424192" y="24495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/>
            <p:cNvSpPr/>
            <p:nvPr/>
          </p:nvSpPr>
          <p:spPr>
            <a:xfrm>
              <a:off x="1933260" y="3190443"/>
              <a:ext cx="763475" cy="436272"/>
            </a:xfrm>
            <a:custGeom>
              <a:avLst/>
              <a:gdLst>
                <a:gd name="connsiteX0" fmla="*/ 0 w 836435"/>
                <a:gd name="connsiteY0" fmla="*/ 244956 h 477962"/>
                <a:gd name="connsiteX1" fmla="*/ 424192 w 836435"/>
                <a:gd name="connsiteY1" fmla="*/ 0 h 477962"/>
                <a:gd name="connsiteX2" fmla="*/ 849878 w 836435"/>
                <a:gd name="connsiteY2" fmla="*/ 244956 h 477962"/>
                <a:gd name="connsiteX3" fmla="*/ 424192 w 836435"/>
                <a:gd name="connsiteY3" fmla="*/ 489912 h 477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6435" h="477962">
                  <a:moveTo>
                    <a:pt x="0" y="244956"/>
                  </a:moveTo>
                  <a:lnTo>
                    <a:pt x="424192" y="0"/>
                  </a:lnTo>
                  <a:lnTo>
                    <a:pt x="849878" y="244956"/>
                  </a:lnTo>
                  <a:lnTo>
                    <a:pt x="424192" y="489912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/>
            <p:cNvSpPr/>
            <p:nvPr/>
          </p:nvSpPr>
          <p:spPr>
            <a:xfrm>
              <a:off x="1750570" y="4290664"/>
              <a:ext cx="381738" cy="1458783"/>
            </a:xfrm>
            <a:custGeom>
              <a:avLst/>
              <a:gdLst>
                <a:gd name="connsiteX0" fmla="*/ 0 w 418217"/>
                <a:gd name="connsiteY0" fmla="*/ 1605657 h 1598188"/>
                <a:gd name="connsiteX1" fmla="*/ 424192 w 418217"/>
                <a:gd name="connsiteY1" fmla="*/ 1360701 h 1598188"/>
                <a:gd name="connsiteX2" fmla="*/ 424192 w 418217"/>
                <a:gd name="connsiteY2" fmla="*/ 0 h 1598188"/>
                <a:gd name="connsiteX3" fmla="*/ 0 w 418217"/>
                <a:gd name="connsiteY3" fmla="*/ 244956 h 1598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1598188">
                  <a:moveTo>
                    <a:pt x="0" y="1605657"/>
                  </a:moveTo>
                  <a:lnTo>
                    <a:pt x="424192" y="1360701"/>
                  </a:lnTo>
                  <a:lnTo>
                    <a:pt x="424192" y="0"/>
                  </a:lnTo>
                  <a:lnTo>
                    <a:pt x="0" y="24495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/>
            <p:cNvSpPr/>
            <p:nvPr/>
          </p:nvSpPr>
          <p:spPr>
            <a:xfrm>
              <a:off x="1362017" y="4290664"/>
              <a:ext cx="381738" cy="1458783"/>
            </a:xfrm>
            <a:custGeom>
              <a:avLst/>
              <a:gdLst>
                <a:gd name="connsiteX0" fmla="*/ 425686 w 418217"/>
                <a:gd name="connsiteY0" fmla="*/ 1605657 h 1598188"/>
                <a:gd name="connsiteX1" fmla="*/ 0 w 418217"/>
                <a:gd name="connsiteY1" fmla="*/ 1360701 h 1598188"/>
                <a:gd name="connsiteX2" fmla="*/ 0 w 418217"/>
                <a:gd name="connsiteY2" fmla="*/ 0 h 1598188"/>
                <a:gd name="connsiteX3" fmla="*/ 425686 w 418217"/>
                <a:gd name="connsiteY3" fmla="*/ 244956 h 1598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1598188">
                  <a:moveTo>
                    <a:pt x="425686" y="1605657"/>
                  </a:moveTo>
                  <a:lnTo>
                    <a:pt x="0" y="1360701"/>
                  </a:lnTo>
                  <a:lnTo>
                    <a:pt x="0" y="0"/>
                  </a:lnTo>
                  <a:lnTo>
                    <a:pt x="425686" y="24495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/>
            <p:cNvSpPr/>
            <p:nvPr/>
          </p:nvSpPr>
          <p:spPr>
            <a:xfrm>
              <a:off x="1362017" y="4067075"/>
              <a:ext cx="763475" cy="436272"/>
            </a:xfrm>
            <a:custGeom>
              <a:avLst/>
              <a:gdLst>
                <a:gd name="connsiteX0" fmla="*/ 0 w 836435"/>
                <a:gd name="connsiteY0" fmla="*/ 244956 h 477962"/>
                <a:gd name="connsiteX1" fmla="*/ 425686 w 836435"/>
                <a:gd name="connsiteY1" fmla="*/ 0 h 477962"/>
                <a:gd name="connsiteX2" fmla="*/ 849878 w 836435"/>
                <a:gd name="connsiteY2" fmla="*/ 244956 h 477962"/>
                <a:gd name="connsiteX3" fmla="*/ 425686 w 836435"/>
                <a:gd name="connsiteY3" fmla="*/ 489912 h 477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6435" h="477962">
                  <a:moveTo>
                    <a:pt x="0" y="244956"/>
                  </a:moveTo>
                  <a:lnTo>
                    <a:pt x="425686" y="0"/>
                  </a:lnTo>
                  <a:lnTo>
                    <a:pt x="849878" y="244956"/>
                  </a:lnTo>
                  <a:lnTo>
                    <a:pt x="425686" y="489912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/>
            <p:cNvSpPr/>
            <p:nvPr/>
          </p:nvSpPr>
          <p:spPr>
            <a:xfrm>
              <a:off x="1179328" y="4702396"/>
              <a:ext cx="381738" cy="1376982"/>
            </a:xfrm>
            <a:custGeom>
              <a:avLst/>
              <a:gdLst>
                <a:gd name="connsiteX0" fmla="*/ 0 w 418217"/>
                <a:gd name="connsiteY0" fmla="*/ 1514545 h 1508570"/>
                <a:gd name="connsiteX1" fmla="*/ 424192 w 418217"/>
                <a:gd name="connsiteY1" fmla="*/ 1269589 h 1508570"/>
                <a:gd name="connsiteX2" fmla="*/ 424192 w 418217"/>
                <a:gd name="connsiteY2" fmla="*/ 0 h 1508570"/>
                <a:gd name="connsiteX3" fmla="*/ 0 w 418217"/>
                <a:gd name="connsiteY3" fmla="*/ 244956 h 150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1508570">
                  <a:moveTo>
                    <a:pt x="0" y="1514545"/>
                  </a:moveTo>
                  <a:lnTo>
                    <a:pt x="424192" y="1269589"/>
                  </a:lnTo>
                  <a:lnTo>
                    <a:pt x="424192" y="0"/>
                  </a:lnTo>
                  <a:lnTo>
                    <a:pt x="0" y="244956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/>
            <p:cNvSpPr/>
            <p:nvPr/>
          </p:nvSpPr>
          <p:spPr>
            <a:xfrm>
              <a:off x="790773" y="4702396"/>
              <a:ext cx="381738" cy="1376982"/>
            </a:xfrm>
            <a:custGeom>
              <a:avLst/>
              <a:gdLst>
                <a:gd name="connsiteX0" fmla="*/ 425686 w 418217"/>
                <a:gd name="connsiteY0" fmla="*/ 1514545 h 1508570"/>
                <a:gd name="connsiteX1" fmla="*/ 0 w 418217"/>
                <a:gd name="connsiteY1" fmla="*/ 1269589 h 1508570"/>
                <a:gd name="connsiteX2" fmla="*/ 0 w 418217"/>
                <a:gd name="connsiteY2" fmla="*/ 0 h 1508570"/>
                <a:gd name="connsiteX3" fmla="*/ 425686 w 418217"/>
                <a:gd name="connsiteY3" fmla="*/ 244956 h 150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217" h="1508570">
                  <a:moveTo>
                    <a:pt x="425686" y="1514545"/>
                  </a:moveTo>
                  <a:lnTo>
                    <a:pt x="0" y="1269589"/>
                  </a:lnTo>
                  <a:lnTo>
                    <a:pt x="0" y="0"/>
                  </a:lnTo>
                  <a:lnTo>
                    <a:pt x="425686" y="24495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/>
            <p:cNvSpPr/>
            <p:nvPr/>
          </p:nvSpPr>
          <p:spPr>
            <a:xfrm>
              <a:off x="790773" y="4478807"/>
              <a:ext cx="763475" cy="436272"/>
            </a:xfrm>
            <a:custGeom>
              <a:avLst/>
              <a:gdLst>
                <a:gd name="connsiteX0" fmla="*/ 0 w 836435"/>
                <a:gd name="connsiteY0" fmla="*/ 244956 h 477962"/>
                <a:gd name="connsiteX1" fmla="*/ 425686 w 836435"/>
                <a:gd name="connsiteY1" fmla="*/ 0 h 477962"/>
                <a:gd name="connsiteX2" fmla="*/ 849878 w 836435"/>
                <a:gd name="connsiteY2" fmla="*/ 244956 h 477962"/>
                <a:gd name="connsiteX3" fmla="*/ 425686 w 836435"/>
                <a:gd name="connsiteY3" fmla="*/ 489912 h 477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6435" h="477962">
                  <a:moveTo>
                    <a:pt x="0" y="244956"/>
                  </a:moveTo>
                  <a:lnTo>
                    <a:pt x="425686" y="0"/>
                  </a:lnTo>
                  <a:lnTo>
                    <a:pt x="849878" y="244956"/>
                  </a:lnTo>
                  <a:lnTo>
                    <a:pt x="425686" y="489912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/>
            <p:cNvSpPr/>
            <p:nvPr/>
          </p:nvSpPr>
          <p:spPr>
            <a:xfrm>
              <a:off x="493563" y="639617"/>
              <a:ext cx="3231136" cy="3721941"/>
            </a:xfrm>
            <a:custGeom>
              <a:avLst/>
              <a:gdLst>
                <a:gd name="connsiteX0" fmla="*/ 921572 w 3539913"/>
                <a:gd name="connsiteY0" fmla="*/ 3126177 h 4077621"/>
                <a:gd name="connsiteX1" fmla="*/ 1620593 w 3539913"/>
                <a:gd name="connsiteY1" fmla="*/ 1947699 h 4077621"/>
                <a:gd name="connsiteX2" fmla="*/ 2449560 w 3539913"/>
                <a:gd name="connsiteY2" fmla="*/ 1357714 h 4077621"/>
                <a:gd name="connsiteX3" fmla="*/ 2933498 w 3539913"/>
                <a:gd name="connsiteY3" fmla="*/ 658693 h 4077621"/>
                <a:gd name="connsiteX4" fmla="*/ 2800564 w 3539913"/>
                <a:gd name="connsiteY4" fmla="*/ 530240 h 4077621"/>
                <a:gd name="connsiteX5" fmla="*/ 3539914 w 3539913"/>
                <a:gd name="connsiteY5" fmla="*/ 0 h 4077621"/>
                <a:gd name="connsiteX6" fmla="*/ 3247161 w 3539913"/>
                <a:gd name="connsiteY6" fmla="*/ 960407 h 4077621"/>
                <a:gd name="connsiteX7" fmla="*/ 3112734 w 3539913"/>
                <a:gd name="connsiteY7" fmla="*/ 830461 h 4077621"/>
                <a:gd name="connsiteX8" fmla="*/ 2564570 w 3539913"/>
                <a:gd name="connsiteY8" fmla="*/ 1623580 h 4077621"/>
                <a:gd name="connsiteX9" fmla="*/ 1755020 w 3539913"/>
                <a:gd name="connsiteY9" fmla="*/ 2200123 h 4077621"/>
                <a:gd name="connsiteX10" fmla="*/ 1053012 w 3539913"/>
                <a:gd name="connsiteY10" fmla="*/ 3383082 h 4077621"/>
                <a:gd name="connsiteX11" fmla="*/ 26885 w 3539913"/>
                <a:gd name="connsiteY11" fmla="*/ 4082102 h 4077621"/>
                <a:gd name="connsiteX12" fmla="*/ 0 w 3539913"/>
                <a:gd name="connsiteY12" fmla="*/ 3754996 h 4077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39913" h="4077621">
                  <a:moveTo>
                    <a:pt x="921572" y="3126177"/>
                  </a:moveTo>
                  <a:lnTo>
                    <a:pt x="1620593" y="1947699"/>
                  </a:lnTo>
                  <a:lnTo>
                    <a:pt x="2449560" y="1357714"/>
                  </a:lnTo>
                  <a:lnTo>
                    <a:pt x="2933498" y="658693"/>
                  </a:lnTo>
                  <a:lnTo>
                    <a:pt x="2800564" y="530240"/>
                  </a:lnTo>
                  <a:lnTo>
                    <a:pt x="3539914" y="0"/>
                  </a:lnTo>
                  <a:lnTo>
                    <a:pt x="3247161" y="960407"/>
                  </a:lnTo>
                  <a:lnTo>
                    <a:pt x="3112734" y="830461"/>
                  </a:lnTo>
                  <a:lnTo>
                    <a:pt x="2564570" y="1623580"/>
                  </a:lnTo>
                  <a:lnTo>
                    <a:pt x="1755020" y="2200123"/>
                  </a:lnTo>
                  <a:lnTo>
                    <a:pt x="1053012" y="3383082"/>
                  </a:lnTo>
                  <a:lnTo>
                    <a:pt x="26885" y="4082102"/>
                  </a:lnTo>
                  <a:lnTo>
                    <a:pt x="0" y="3754996"/>
                  </a:lnTo>
                  <a:close/>
                </a:path>
              </a:pathLst>
            </a:custGeom>
            <a:solidFill>
              <a:srgbClr val="FFFF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/>
            <p:cNvSpPr/>
            <p:nvPr/>
          </p:nvSpPr>
          <p:spPr>
            <a:xfrm>
              <a:off x="3334782" y="1397639"/>
              <a:ext cx="545340" cy="354471"/>
            </a:xfrm>
            <a:custGeom>
              <a:avLst/>
              <a:gdLst>
                <a:gd name="connsiteX0" fmla="*/ 134427 w 597453"/>
                <a:gd name="connsiteY0" fmla="*/ 129946 h 388344"/>
                <a:gd name="connsiteX1" fmla="*/ 0 w 597453"/>
                <a:gd name="connsiteY1" fmla="*/ 0 h 388344"/>
                <a:gd name="connsiteX2" fmla="*/ 466014 w 597453"/>
                <a:gd name="connsiteY2" fmla="*/ 268854 h 388344"/>
                <a:gd name="connsiteX3" fmla="*/ 598947 w 597453"/>
                <a:gd name="connsiteY3" fmla="*/ 397307 h 38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3" h="388344">
                  <a:moveTo>
                    <a:pt x="134427" y="129946"/>
                  </a:moveTo>
                  <a:lnTo>
                    <a:pt x="0" y="0"/>
                  </a:lnTo>
                  <a:lnTo>
                    <a:pt x="466014" y="268854"/>
                  </a:lnTo>
                  <a:lnTo>
                    <a:pt x="598947" y="397307"/>
                  </a:lnTo>
                  <a:close/>
                </a:path>
              </a:pathLst>
            </a:custGeom>
            <a:solidFill>
              <a:srgbClr val="E60B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/>
            <p:cNvSpPr/>
            <p:nvPr/>
          </p:nvSpPr>
          <p:spPr>
            <a:xfrm>
              <a:off x="917565" y="885020"/>
              <a:ext cx="3217503" cy="3721941"/>
            </a:xfrm>
            <a:custGeom>
              <a:avLst/>
              <a:gdLst>
                <a:gd name="connsiteX0" fmla="*/ 921572 w 3524977"/>
                <a:gd name="connsiteY0" fmla="*/ 3124683 h 4077621"/>
                <a:gd name="connsiteX1" fmla="*/ 1620593 w 3524977"/>
                <a:gd name="connsiteY1" fmla="*/ 1947699 h 4077621"/>
                <a:gd name="connsiteX2" fmla="*/ 2449560 w 3524977"/>
                <a:gd name="connsiteY2" fmla="*/ 1357714 h 4077621"/>
                <a:gd name="connsiteX3" fmla="*/ 2934991 w 3524977"/>
                <a:gd name="connsiteY3" fmla="*/ 658693 h 4077621"/>
                <a:gd name="connsiteX4" fmla="*/ 2800564 w 3524977"/>
                <a:gd name="connsiteY4" fmla="*/ 528747 h 4077621"/>
                <a:gd name="connsiteX5" fmla="*/ 3539913 w 3524977"/>
                <a:gd name="connsiteY5" fmla="*/ 0 h 4077621"/>
                <a:gd name="connsiteX6" fmla="*/ 3247161 w 3524977"/>
                <a:gd name="connsiteY6" fmla="*/ 958913 h 4077621"/>
                <a:gd name="connsiteX7" fmla="*/ 3114227 w 3524977"/>
                <a:gd name="connsiteY7" fmla="*/ 830461 h 4077621"/>
                <a:gd name="connsiteX8" fmla="*/ 2564570 w 3524977"/>
                <a:gd name="connsiteY8" fmla="*/ 1623580 h 4077621"/>
                <a:gd name="connsiteX9" fmla="*/ 1755020 w 3524977"/>
                <a:gd name="connsiteY9" fmla="*/ 2200123 h 4077621"/>
                <a:gd name="connsiteX10" fmla="*/ 1053012 w 3524977"/>
                <a:gd name="connsiteY10" fmla="*/ 3381588 h 4077621"/>
                <a:gd name="connsiteX11" fmla="*/ 26885 w 3524977"/>
                <a:gd name="connsiteY11" fmla="*/ 4082102 h 4077621"/>
                <a:gd name="connsiteX12" fmla="*/ 0 w 3524977"/>
                <a:gd name="connsiteY12" fmla="*/ 3753503 h 4077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24977" h="4077621">
                  <a:moveTo>
                    <a:pt x="921572" y="3124683"/>
                  </a:moveTo>
                  <a:lnTo>
                    <a:pt x="1620593" y="1947699"/>
                  </a:lnTo>
                  <a:lnTo>
                    <a:pt x="2449560" y="1357714"/>
                  </a:lnTo>
                  <a:lnTo>
                    <a:pt x="2934991" y="658693"/>
                  </a:lnTo>
                  <a:lnTo>
                    <a:pt x="2800564" y="528747"/>
                  </a:lnTo>
                  <a:lnTo>
                    <a:pt x="3539913" y="0"/>
                  </a:lnTo>
                  <a:lnTo>
                    <a:pt x="3247161" y="958913"/>
                  </a:lnTo>
                  <a:lnTo>
                    <a:pt x="3114227" y="830461"/>
                  </a:lnTo>
                  <a:lnTo>
                    <a:pt x="2564570" y="1623580"/>
                  </a:lnTo>
                  <a:lnTo>
                    <a:pt x="1755020" y="2200123"/>
                  </a:lnTo>
                  <a:lnTo>
                    <a:pt x="1053012" y="3381588"/>
                  </a:lnTo>
                  <a:lnTo>
                    <a:pt x="26885" y="4082102"/>
                  </a:lnTo>
                  <a:lnTo>
                    <a:pt x="0" y="3753503"/>
                  </a:lnTo>
                  <a:close/>
                </a:path>
              </a:pathLst>
            </a:custGeom>
            <a:solidFill>
              <a:srgbClr val="C700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/>
            <p:cNvSpPr/>
            <p:nvPr/>
          </p:nvSpPr>
          <p:spPr>
            <a:xfrm>
              <a:off x="493563" y="4067075"/>
              <a:ext cx="436272" cy="531706"/>
            </a:xfrm>
            <a:custGeom>
              <a:avLst/>
              <a:gdLst>
                <a:gd name="connsiteX0" fmla="*/ 0 w 477962"/>
                <a:gd name="connsiteY0" fmla="*/ 0 h 582517"/>
                <a:gd name="connsiteX1" fmla="*/ 26885 w 477962"/>
                <a:gd name="connsiteY1" fmla="*/ 327106 h 582517"/>
                <a:gd name="connsiteX2" fmla="*/ 491406 w 477962"/>
                <a:gd name="connsiteY2" fmla="*/ 595960 h 582517"/>
                <a:gd name="connsiteX3" fmla="*/ 464520 w 477962"/>
                <a:gd name="connsiteY3" fmla="*/ 267360 h 58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7962" h="582517">
                  <a:moveTo>
                    <a:pt x="0" y="0"/>
                  </a:moveTo>
                  <a:lnTo>
                    <a:pt x="26885" y="327106"/>
                  </a:lnTo>
                  <a:lnTo>
                    <a:pt x="491406" y="595960"/>
                  </a:lnTo>
                  <a:lnTo>
                    <a:pt x="464520" y="267360"/>
                  </a:lnTo>
                  <a:close/>
                </a:path>
              </a:pathLst>
            </a:custGeom>
            <a:solidFill>
              <a:srgbClr val="E60B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/>
            <p:cNvSpPr/>
            <p:nvPr userDrawn="1"/>
          </p:nvSpPr>
          <p:spPr>
            <a:xfrm>
              <a:off x="493563" y="3493105"/>
              <a:ext cx="1254281" cy="804375"/>
            </a:xfrm>
            <a:custGeom>
              <a:avLst/>
              <a:gdLst>
                <a:gd name="connsiteX0" fmla="*/ 0 w 1374143"/>
                <a:gd name="connsiteY0" fmla="*/ 628820 h 881244"/>
                <a:gd name="connsiteX1" fmla="*/ 921572 w 1374143"/>
                <a:gd name="connsiteY1" fmla="*/ 0 h 881244"/>
                <a:gd name="connsiteX2" fmla="*/ 1386093 w 1374143"/>
                <a:gd name="connsiteY2" fmla="*/ 267360 h 881244"/>
                <a:gd name="connsiteX3" fmla="*/ 464520 w 1374143"/>
                <a:gd name="connsiteY3" fmla="*/ 896180 h 88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4143" h="881244">
                  <a:moveTo>
                    <a:pt x="0" y="628820"/>
                  </a:moveTo>
                  <a:lnTo>
                    <a:pt x="921572" y="0"/>
                  </a:lnTo>
                  <a:lnTo>
                    <a:pt x="1386093" y="267360"/>
                  </a:lnTo>
                  <a:lnTo>
                    <a:pt x="464520" y="896180"/>
                  </a:lnTo>
                  <a:close/>
                </a:path>
              </a:pathLst>
            </a:custGeom>
            <a:solidFill>
              <a:srgbClr val="FF0C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/>
            <p:cNvSpPr/>
            <p:nvPr/>
          </p:nvSpPr>
          <p:spPr>
            <a:xfrm>
              <a:off x="1334749" y="2417424"/>
              <a:ext cx="1049778" cy="1308815"/>
            </a:xfrm>
            <a:custGeom>
              <a:avLst/>
              <a:gdLst>
                <a:gd name="connsiteX0" fmla="*/ 699021 w 1150098"/>
                <a:gd name="connsiteY0" fmla="*/ 0 h 1433888"/>
                <a:gd name="connsiteX1" fmla="*/ 0 w 1150098"/>
                <a:gd name="connsiteY1" fmla="*/ 1178478 h 1433888"/>
                <a:gd name="connsiteX2" fmla="*/ 464520 w 1150098"/>
                <a:gd name="connsiteY2" fmla="*/ 1445838 h 1433888"/>
                <a:gd name="connsiteX3" fmla="*/ 1163541 w 1150098"/>
                <a:gd name="connsiteY3" fmla="*/ 268854 h 1433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0098" h="1433888">
                  <a:moveTo>
                    <a:pt x="699021" y="0"/>
                  </a:moveTo>
                  <a:lnTo>
                    <a:pt x="0" y="1178478"/>
                  </a:lnTo>
                  <a:lnTo>
                    <a:pt x="464520" y="1445838"/>
                  </a:lnTo>
                  <a:lnTo>
                    <a:pt x="1163541" y="268854"/>
                  </a:lnTo>
                  <a:close/>
                </a:path>
              </a:pathLst>
            </a:custGeom>
            <a:solidFill>
              <a:srgbClr val="E60B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/>
            <p:cNvSpPr/>
            <p:nvPr/>
          </p:nvSpPr>
          <p:spPr>
            <a:xfrm>
              <a:off x="1972797" y="1878901"/>
              <a:ext cx="1172480" cy="777109"/>
            </a:xfrm>
            <a:custGeom>
              <a:avLst/>
              <a:gdLst>
                <a:gd name="connsiteX0" fmla="*/ 0 w 1284525"/>
                <a:gd name="connsiteY0" fmla="*/ 589985 h 851371"/>
                <a:gd name="connsiteX1" fmla="*/ 828967 w 1284525"/>
                <a:gd name="connsiteY1" fmla="*/ 0 h 851371"/>
                <a:gd name="connsiteX2" fmla="*/ 1293487 w 1284525"/>
                <a:gd name="connsiteY2" fmla="*/ 268854 h 851371"/>
                <a:gd name="connsiteX3" fmla="*/ 464520 w 1284525"/>
                <a:gd name="connsiteY3" fmla="*/ 858840 h 851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4525" h="851371">
                  <a:moveTo>
                    <a:pt x="0" y="589985"/>
                  </a:moveTo>
                  <a:lnTo>
                    <a:pt x="828967" y="0"/>
                  </a:lnTo>
                  <a:lnTo>
                    <a:pt x="1293487" y="268854"/>
                  </a:lnTo>
                  <a:lnTo>
                    <a:pt x="464520" y="858840"/>
                  </a:lnTo>
                  <a:close/>
                </a:path>
              </a:pathLst>
            </a:custGeom>
            <a:solidFill>
              <a:srgbClr val="FF0C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/>
            <p:cNvSpPr/>
            <p:nvPr/>
          </p:nvSpPr>
          <p:spPr>
            <a:xfrm>
              <a:off x="2729455" y="1240854"/>
              <a:ext cx="858910" cy="872543"/>
            </a:xfrm>
            <a:custGeom>
              <a:avLst/>
              <a:gdLst>
                <a:gd name="connsiteX0" fmla="*/ 483938 w 940989"/>
                <a:gd name="connsiteY0" fmla="*/ 0 h 955925"/>
                <a:gd name="connsiteX1" fmla="*/ 0 w 940989"/>
                <a:gd name="connsiteY1" fmla="*/ 699021 h 955925"/>
                <a:gd name="connsiteX2" fmla="*/ 464520 w 940989"/>
                <a:gd name="connsiteY2" fmla="*/ 967875 h 955925"/>
                <a:gd name="connsiteX3" fmla="*/ 949951 w 940989"/>
                <a:gd name="connsiteY3" fmla="*/ 268854 h 955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0989" h="955925">
                  <a:moveTo>
                    <a:pt x="483938" y="0"/>
                  </a:moveTo>
                  <a:lnTo>
                    <a:pt x="0" y="699021"/>
                  </a:lnTo>
                  <a:lnTo>
                    <a:pt x="464520" y="967875"/>
                  </a:lnTo>
                  <a:lnTo>
                    <a:pt x="949951" y="268854"/>
                  </a:lnTo>
                  <a:close/>
                </a:path>
              </a:pathLst>
            </a:custGeom>
            <a:solidFill>
              <a:srgbClr val="E60B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/>
            <p:cNvSpPr/>
            <p:nvPr/>
          </p:nvSpPr>
          <p:spPr>
            <a:xfrm>
              <a:off x="3049842" y="1123606"/>
              <a:ext cx="545340" cy="354471"/>
            </a:xfrm>
            <a:custGeom>
              <a:avLst/>
              <a:gdLst>
                <a:gd name="connsiteX0" fmla="*/ 132934 w 597453"/>
                <a:gd name="connsiteY0" fmla="*/ 128453 h 388344"/>
                <a:gd name="connsiteX1" fmla="*/ 0 w 597453"/>
                <a:gd name="connsiteY1" fmla="*/ 0 h 388344"/>
                <a:gd name="connsiteX2" fmla="*/ 464520 w 597453"/>
                <a:gd name="connsiteY2" fmla="*/ 267361 h 388344"/>
                <a:gd name="connsiteX3" fmla="*/ 598947 w 597453"/>
                <a:gd name="connsiteY3" fmla="*/ 397307 h 38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3" h="388344">
                  <a:moveTo>
                    <a:pt x="132934" y="128453"/>
                  </a:moveTo>
                  <a:lnTo>
                    <a:pt x="0" y="0"/>
                  </a:lnTo>
                  <a:lnTo>
                    <a:pt x="464520" y="267361"/>
                  </a:lnTo>
                  <a:lnTo>
                    <a:pt x="598947" y="397307"/>
                  </a:lnTo>
                  <a:close/>
                </a:path>
              </a:pathLst>
            </a:custGeom>
            <a:solidFill>
              <a:srgbClr val="E60B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/>
            <p:cNvSpPr/>
            <p:nvPr/>
          </p:nvSpPr>
          <p:spPr>
            <a:xfrm>
              <a:off x="3049842" y="639617"/>
              <a:ext cx="1090679" cy="722575"/>
            </a:xfrm>
            <a:custGeom>
              <a:avLst/>
              <a:gdLst>
                <a:gd name="connsiteX0" fmla="*/ 739349 w 1194907"/>
                <a:gd name="connsiteY0" fmla="*/ 0 h 791626"/>
                <a:gd name="connsiteX1" fmla="*/ 0 w 1194907"/>
                <a:gd name="connsiteY1" fmla="*/ 530240 h 791626"/>
                <a:gd name="connsiteX2" fmla="*/ 464520 w 1194907"/>
                <a:gd name="connsiteY2" fmla="*/ 797601 h 791626"/>
                <a:gd name="connsiteX3" fmla="*/ 1203869 w 1194907"/>
                <a:gd name="connsiteY3" fmla="*/ 268854 h 791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4907" h="791626">
                  <a:moveTo>
                    <a:pt x="739349" y="0"/>
                  </a:moveTo>
                  <a:lnTo>
                    <a:pt x="0" y="530240"/>
                  </a:lnTo>
                  <a:lnTo>
                    <a:pt x="464520" y="797601"/>
                  </a:lnTo>
                  <a:lnTo>
                    <a:pt x="1203869" y="268854"/>
                  </a:lnTo>
                  <a:close/>
                </a:path>
              </a:pathLst>
            </a:custGeom>
            <a:solidFill>
              <a:srgbClr val="FF0C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0" name="任意多边形: 形状 309"/>
            <p:cNvSpPr/>
            <p:nvPr/>
          </p:nvSpPr>
          <p:spPr>
            <a:xfrm>
              <a:off x="1997750" y="5336766"/>
              <a:ext cx="81801" cy="149969"/>
            </a:xfrm>
            <a:custGeom>
              <a:avLst/>
              <a:gdLst>
                <a:gd name="connsiteX0" fmla="*/ 90659 w 89618"/>
                <a:gd name="connsiteY0" fmla="*/ 138455 h 164299"/>
                <a:gd name="connsiteX1" fmla="*/ 68254 w 89618"/>
                <a:gd name="connsiteY1" fmla="*/ 175796 h 164299"/>
                <a:gd name="connsiteX2" fmla="*/ 68254 w 89618"/>
                <a:gd name="connsiteY2" fmla="*/ 175796 h 164299"/>
                <a:gd name="connsiteX3" fmla="*/ 30913 w 89618"/>
                <a:gd name="connsiteY3" fmla="*/ 153391 h 164299"/>
                <a:gd name="connsiteX4" fmla="*/ 1041 w 89618"/>
                <a:gd name="connsiteY4" fmla="*/ 38382 h 164299"/>
                <a:gd name="connsiteX5" fmla="*/ 23445 w 89618"/>
                <a:gd name="connsiteY5" fmla="*/ 1041 h 164299"/>
                <a:gd name="connsiteX6" fmla="*/ 23445 w 89618"/>
                <a:gd name="connsiteY6" fmla="*/ 1041 h 164299"/>
                <a:gd name="connsiteX7" fmla="*/ 60786 w 89618"/>
                <a:gd name="connsiteY7" fmla="*/ 23445 h 164299"/>
                <a:gd name="connsiteX8" fmla="*/ 90659 w 89618"/>
                <a:gd name="connsiteY8" fmla="*/ 138455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164299">
                  <a:moveTo>
                    <a:pt x="90659" y="138455"/>
                  </a:moveTo>
                  <a:cubicBezTo>
                    <a:pt x="95140" y="154885"/>
                    <a:pt x="84684" y="171315"/>
                    <a:pt x="68254" y="175796"/>
                  </a:cubicBezTo>
                  <a:lnTo>
                    <a:pt x="68254" y="175796"/>
                  </a:lnTo>
                  <a:cubicBezTo>
                    <a:pt x="51824" y="180277"/>
                    <a:pt x="35394" y="169821"/>
                    <a:pt x="30913" y="153391"/>
                  </a:cubicBezTo>
                  <a:lnTo>
                    <a:pt x="1041" y="38382"/>
                  </a:lnTo>
                  <a:cubicBezTo>
                    <a:pt x="-3440" y="21952"/>
                    <a:pt x="7015" y="5522"/>
                    <a:pt x="23445" y="1041"/>
                  </a:cubicBezTo>
                  <a:lnTo>
                    <a:pt x="23445" y="1041"/>
                  </a:lnTo>
                  <a:cubicBezTo>
                    <a:pt x="39875" y="-3440"/>
                    <a:pt x="56305" y="7015"/>
                    <a:pt x="60786" y="23445"/>
                  </a:cubicBezTo>
                  <a:lnTo>
                    <a:pt x="90659" y="138455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1" name="任意多边形: 形状 310"/>
            <p:cNvSpPr/>
            <p:nvPr/>
          </p:nvSpPr>
          <p:spPr>
            <a:xfrm>
              <a:off x="2039601" y="5429061"/>
              <a:ext cx="54534" cy="40900"/>
            </a:xfrm>
            <a:custGeom>
              <a:avLst/>
              <a:gdLst>
                <a:gd name="connsiteX0" fmla="*/ 62733 w 59745"/>
                <a:gd name="connsiteY0" fmla="*/ 23898 h 44809"/>
                <a:gd name="connsiteX1" fmla="*/ 41822 w 59745"/>
                <a:gd name="connsiteY1" fmla="*/ 14936 h 44809"/>
                <a:gd name="connsiteX2" fmla="*/ 0 w 59745"/>
                <a:gd name="connsiteY2" fmla="*/ 0 h 44809"/>
                <a:gd name="connsiteX3" fmla="*/ 0 w 59745"/>
                <a:gd name="connsiteY3" fmla="*/ 49290 h 44809"/>
                <a:gd name="connsiteX4" fmla="*/ 34353 w 59745"/>
                <a:gd name="connsiteY4" fmla="*/ 53771 h 44809"/>
                <a:gd name="connsiteX5" fmla="*/ 53771 w 59745"/>
                <a:gd name="connsiteY5" fmla="*/ 56758 h 44809"/>
                <a:gd name="connsiteX6" fmla="*/ 62733 w 59745"/>
                <a:gd name="connsiteY6" fmla="*/ 23898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745" h="44809">
                  <a:moveTo>
                    <a:pt x="62733" y="23898"/>
                  </a:moveTo>
                  <a:cubicBezTo>
                    <a:pt x="59745" y="20911"/>
                    <a:pt x="52277" y="17924"/>
                    <a:pt x="41822" y="14936"/>
                  </a:cubicBezTo>
                  <a:lnTo>
                    <a:pt x="0" y="0"/>
                  </a:lnTo>
                  <a:lnTo>
                    <a:pt x="0" y="49290"/>
                  </a:lnTo>
                  <a:lnTo>
                    <a:pt x="34353" y="53771"/>
                  </a:lnTo>
                  <a:cubicBezTo>
                    <a:pt x="41822" y="55265"/>
                    <a:pt x="49290" y="56758"/>
                    <a:pt x="53771" y="56758"/>
                  </a:cubicBezTo>
                  <a:cubicBezTo>
                    <a:pt x="58252" y="58252"/>
                    <a:pt x="65720" y="28379"/>
                    <a:pt x="62733" y="23898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2" name="任意多边形: 形状 311"/>
            <p:cNvSpPr/>
            <p:nvPr/>
          </p:nvSpPr>
          <p:spPr>
            <a:xfrm>
              <a:off x="1905311" y="6022117"/>
              <a:ext cx="81801" cy="40900"/>
            </a:xfrm>
            <a:custGeom>
              <a:avLst/>
              <a:gdLst>
                <a:gd name="connsiteX0" fmla="*/ 6721 w 89618"/>
                <a:gd name="connsiteY0" fmla="*/ 4481 h 44809"/>
                <a:gd name="connsiteX1" fmla="*/ 6721 w 89618"/>
                <a:gd name="connsiteY1" fmla="*/ 23898 h 44809"/>
                <a:gd name="connsiteX2" fmla="*/ 58998 w 89618"/>
                <a:gd name="connsiteY2" fmla="*/ 53771 h 44809"/>
                <a:gd name="connsiteX3" fmla="*/ 93352 w 89618"/>
                <a:gd name="connsiteY3" fmla="*/ 53771 h 44809"/>
                <a:gd name="connsiteX4" fmla="*/ 93352 w 89618"/>
                <a:gd name="connsiteY4" fmla="*/ 53771 h 44809"/>
                <a:gd name="connsiteX5" fmla="*/ 93352 w 89618"/>
                <a:gd name="connsiteY5" fmla="*/ 34354 h 44809"/>
                <a:gd name="connsiteX6" fmla="*/ 41075 w 89618"/>
                <a:gd name="connsiteY6" fmla="*/ 4481 h 44809"/>
                <a:gd name="connsiteX7" fmla="*/ 6721 w 89618"/>
                <a:gd name="connsiteY7" fmla="*/ 4481 h 44809"/>
                <a:gd name="connsiteX8" fmla="*/ 6721 w 89618"/>
                <a:gd name="connsiteY8" fmla="*/ 448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4481"/>
                  </a:moveTo>
                  <a:cubicBezTo>
                    <a:pt x="-2240" y="10455"/>
                    <a:pt x="-2240" y="17923"/>
                    <a:pt x="6721" y="23898"/>
                  </a:cubicBezTo>
                  <a:lnTo>
                    <a:pt x="58998" y="53771"/>
                  </a:lnTo>
                  <a:cubicBezTo>
                    <a:pt x="67960" y="59745"/>
                    <a:pt x="82897" y="59745"/>
                    <a:pt x="93352" y="53771"/>
                  </a:cubicBezTo>
                  <a:lnTo>
                    <a:pt x="93352" y="53771"/>
                  </a:lnTo>
                  <a:cubicBezTo>
                    <a:pt x="102314" y="47796"/>
                    <a:pt x="102314" y="40328"/>
                    <a:pt x="93352" y="34354"/>
                  </a:cubicBezTo>
                  <a:lnTo>
                    <a:pt x="41075" y="4481"/>
                  </a:lnTo>
                  <a:cubicBezTo>
                    <a:pt x="32113" y="-1494"/>
                    <a:pt x="17177" y="-1494"/>
                    <a:pt x="6721" y="4481"/>
                  </a:cubicBezTo>
                  <a:lnTo>
                    <a:pt x="6721" y="4481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3" name="任意多边形: 形状 312"/>
            <p:cNvSpPr/>
            <p:nvPr/>
          </p:nvSpPr>
          <p:spPr>
            <a:xfrm>
              <a:off x="1905993" y="5994850"/>
              <a:ext cx="81801" cy="68168"/>
            </a:xfrm>
            <a:custGeom>
              <a:avLst/>
              <a:gdLst>
                <a:gd name="connsiteX0" fmla="*/ 56758 w 89618"/>
                <a:gd name="connsiteY0" fmla="*/ 2987 h 74681"/>
                <a:gd name="connsiteX1" fmla="*/ 17924 w 89618"/>
                <a:gd name="connsiteY1" fmla="*/ 0 h 74681"/>
                <a:gd name="connsiteX2" fmla="*/ 0 w 89618"/>
                <a:gd name="connsiteY2" fmla="*/ 43316 h 74681"/>
                <a:gd name="connsiteX3" fmla="*/ 100073 w 89618"/>
                <a:gd name="connsiteY3" fmla="*/ 76175 h 74681"/>
                <a:gd name="connsiteX4" fmla="*/ 67214 w 89618"/>
                <a:gd name="connsiteY4" fmla="*/ 29873 h 74681"/>
                <a:gd name="connsiteX5" fmla="*/ 56758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56758" y="2987"/>
                  </a:moveTo>
                  <a:lnTo>
                    <a:pt x="17924" y="0"/>
                  </a:lnTo>
                  <a:cubicBezTo>
                    <a:pt x="8962" y="11949"/>
                    <a:pt x="2987" y="23898"/>
                    <a:pt x="0" y="43316"/>
                  </a:cubicBezTo>
                  <a:lnTo>
                    <a:pt x="100073" y="76175"/>
                  </a:lnTo>
                  <a:cubicBezTo>
                    <a:pt x="103061" y="62733"/>
                    <a:pt x="86631" y="43316"/>
                    <a:pt x="67214" y="29873"/>
                  </a:cubicBezTo>
                  <a:cubicBezTo>
                    <a:pt x="59745" y="22405"/>
                    <a:pt x="64226" y="10456"/>
                    <a:pt x="56758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4" name="任意多边形: 形状 313"/>
            <p:cNvSpPr/>
            <p:nvPr/>
          </p:nvSpPr>
          <p:spPr>
            <a:xfrm>
              <a:off x="2010289" y="5962130"/>
              <a:ext cx="81801" cy="40900"/>
            </a:xfrm>
            <a:custGeom>
              <a:avLst/>
              <a:gdLst>
                <a:gd name="connsiteX0" fmla="*/ 6721 w 89618"/>
                <a:gd name="connsiteY0" fmla="*/ 4481 h 44809"/>
                <a:gd name="connsiteX1" fmla="*/ 6721 w 89618"/>
                <a:gd name="connsiteY1" fmla="*/ 23898 h 44809"/>
                <a:gd name="connsiteX2" fmla="*/ 58998 w 89618"/>
                <a:gd name="connsiteY2" fmla="*/ 53771 h 44809"/>
                <a:gd name="connsiteX3" fmla="*/ 93352 w 89618"/>
                <a:gd name="connsiteY3" fmla="*/ 53771 h 44809"/>
                <a:gd name="connsiteX4" fmla="*/ 93352 w 89618"/>
                <a:gd name="connsiteY4" fmla="*/ 53771 h 44809"/>
                <a:gd name="connsiteX5" fmla="*/ 93352 w 89618"/>
                <a:gd name="connsiteY5" fmla="*/ 34354 h 44809"/>
                <a:gd name="connsiteX6" fmla="*/ 41075 w 89618"/>
                <a:gd name="connsiteY6" fmla="*/ 4481 h 44809"/>
                <a:gd name="connsiteX7" fmla="*/ 6721 w 89618"/>
                <a:gd name="connsiteY7" fmla="*/ 4481 h 44809"/>
                <a:gd name="connsiteX8" fmla="*/ 6721 w 89618"/>
                <a:gd name="connsiteY8" fmla="*/ 448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4481"/>
                  </a:moveTo>
                  <a:cubicBezTo>
                    <a:pt x="-2240" y="10456"/>
                    <a:pt x="-2240" y="17924"/>
                    <a:pt x="6721" y="23898"/>
                  </a:cubicBezTo>
                  <a:lnTo>
                    <a:pt x="58998" y="53771"/>
                  </a:lnTo>
                  <a:cubicBezTo>
                    <a:pt x="67960" y="59745"/>
                    <a:pt x="82897" y="59745"/>
                    <a:pt x="93352" y="53771"/>
                  </a:cubicBezTo>
                  <a:lnTo>
                    <a:pt x="93352" y="53771"/>
                  </a:lnTo>
                  <a:cubicBezTo>
                    <a:pt x="102314" y="47796"/>
                    <a:pt x="102314" y="40328"/>
                    <a:pt x="93352" y="34354"/>
                  </a:cubicBezTo>
                  <a:lnTo>
                    <a:pt x="41075" y="4481"/>
                  </a:lnTo>
                  <a:cubicBezTo>
                    <a:pt x="30619" y="-1494"/>
                    <a:pt x="15683" y="-1494"/>
                    <a:pt x="6721" y="4481"/>
                  </a:cubicBezTo>
                  <a:lnTo>
                    <a:pt x="6721" y="4481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5" name="任意多边形: 形状 314"/>
            <p:cNvSpPr/>
            <p:nvPr/>
          </p:nvSpPr>
          <p:spPr>
            <a:xfrm>
              <a:off x="2009607" y="5934863"/>
              <a:ext cx="81801" cy="68168"/>
            </a:xfrm>
            <a:custGeom>
              <a:avLst/>
              <a:gdLst>
                <a:gd name="connsiteX0" fmla="*/ 56758 w 89618"/>
                <a:gd name="connsiteY0" fmla="*/ 2987 h 74681"/>
                <a:gd name="connsiteX1" fmla="*/ 17924 w 89618"/>
                <a:gd name="connsiteY1" fmla="*/ 0 h 74681"/>
                <a:gd name="connsiteX2" fmla="*/ 0 w 89618"/>
                <a:gd name="connsiteY2" fmla="*/ 43315 h 74681"/>
                <a:gd name="connsiteX3" fmla="*/ 100074 w 89618"/>
                <a:gd name="connsiteY3" fmla="*/ 76175 h 74681"/>
                <a:gd name="connsiteX4" fmla="*/ 67214 w 89618"/>
                <a:gd name="connsiteY4" fmla="*/ 29873 h 74681"/>
                <a:gd name="connsiteX5" fmla="*/ 56758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56758" y="2987"/>
                  </a:moveTo>
                  <a:lnTo>
                    <a:pt x="17924" y="0"/>
                  </a:lnTo>
                  <a:cubicBezTo>
                    <a:pt x="8962" y="11949"/>
                    <a:pt x="2987" y="23898"/>
                    <a:pt x="0" y="43315"/>
                  </a:cubicBezTo>
                  <a:lnTo>
                    <a:pt x="100074" y="76175"/>
                  </a:lnTo>
                  <a:cubicBezTo>
                    <a:pt x="103061" y="62733"/>
                    <a:pt x="86631" y="43315"/>
                    <a:pt x="67214" y="29873"/>
                  </a:cubicBezTo>
                  <a:cubicBezTo>
                    <a:pt x="59745" y="22405"/>
                    <a:pt x="64226" y="10456"/>
                    <a:pt x="56758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6" name="任意多边形: 形状 315"/>
            <p:cNvSpPr/>
            <p:nvPr/>
          </p:nvSpPr>
          <p:spPr>
            <a:xfrm>
              <a:off x="1982340" y="5566759"/>
              <a:ext cx="95434" cy="204502"/>
            </a:xfrm>
            <a:custGeom>
              <a:avLst/>
              <a:gdLst>
                <a:gd name="connsiteX0" fmla="*/ 110529 w 104554"/>
                <a:gd name="connsiteY0" fmla="*/ 216577 h 224045"/>
                <a:gd name="connsiteX1" fmla="*/ 28379 w 104554"/>
                <a:gd name="connsiteY1" fmla="*/ 227033 h 224045"/>
                <a:gd name="connsiteX2" fmla="*/ 26885 w 104554"/>
                <a:gd name="connsiteY2" fmla="*/ 209109 h 224045"/>
                <a:gd name="connsiteX3" fmla="*/ 11949 w 104554"/>
                <a:gd name="connsiteY3" fmla="*/ 107542 h 224045"/>
                <a:gd name="connsiteX4" fmla="*/ 0 w 104554"/>
                <a:gd name="connsiteY4" fmla="*/ 10456 h 224045"/>
                <a:gd name="connsiteX5" fmla="*/ 82150 w 104554"/>
                <a:gd name="connsiteY5" fmla="*/ 0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554" h="224045">
                  <a:moveTo>
                    <a:pt x="110529" y="216577"/>
                  </a:moveTo>
                  <a:lnTo>
                    <a:pt x="28379" y="227033"/>
                  </a:lnTo>
                  <a:lnTo>
                    <a:pt x="26885" y="209109"/>
                  </a:lnTo>
                  <a:lnTo>
                    <a:pt x="11949" y="107542"/>
                  </a:lnTo>
                  <a:lnTo>
                    <a:pt x="0" y="10456"/>
                  </a:lnTo>
                  <a:lnTo>
                    <a:pt x="82150" y="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7" name="任意多边形: 形状 316"/>
            <p:cNvSpPr/>
            <p:nvPr/>
          </p:nvSpPr>
          <p:spPr>
            <a:xfrm>
              <a:off x="1993246" y="5649923"/>
              <a:ext cx="13633" cy="95434"/>
            </a:xfrm>
            <a:custGeom>
              <a:avLst/>
              <a:gdLst>
                <a:gd name="connsiteX0" fmla="*/ 28379 w 14936"/>
                <a:gd name="connsiteY0" fmla="*/ 0 h 104554"/>
                <a:gd name="connsiteX1" fmla="*/ 17924 w 14936"/>
                <a:gd name="connsiteY1" fmla="*/ 59745 h 104554"/>
                <a:gd name="connsiteX2" fmla="*/ 13443 w 14936"/>
                <a:gd name="connsiteY2" fmla="*/ 117997 h 104554"/>
                <a:gd name="connsiteX3" fmla="*/ 0 w 14936"/>
                <a:gd name="connsiteY3" fmla="*/ 16430 h 104554"/>
                <a:gd name="connsiteX4" fmla="*/ 2987 w 14936"/>
                <a:gd name="connsiteY4" fmla="*/ 13443 h 104554"/>
                <a:gd name="connsiteX5" fmla="*/ 28379 w 14936"/>
                <a:gd name="connsiteY5" fmla="*/ 0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 h="104554">
                  <a:moveTo>
                    <a:pt x="28379" y="0"/>
                  </a:moveTo>
                  <a:cubicBezTo>
                    <a:pt x="20911" y="19417"/>
                    <a:pt x="19417" y="40328"/>
                    <a:pt x="17924" y="59745"/>
                  </a:cubicBezTo>
                  <a:cubicBezTo>
                    <a:pt x="16430" y="79162"/>
                    <a:pt x="14936" y="98580"/>
                    <a:pt x="13443" y="117997"/>
                  </a:cubicBezTo>
                  <a:lnTo>
                    <a:pt x="0" y="16430"/>
                  </a:lnTo>
                  <a:cubicBezTo>
                    <a:pt x="1494" y="14936"/>
                    <a:pt x="2987" y="14936"/>
                    <a:pt x="2987" y="13443"/>
                  </a:cubicBezTo>
                  <a:cubicBezTo>
                    <a:pt x="11949" y="10456"/>
                    <a:pt x="20911" y="5974"/>
                    <a:pt x="28379" y="0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8" name="任意多边形: 形状 317"/>
            <p:cNvSpPr/>
            <p:nvPr/>
          </p:nvSpPr>
          <p:spPr>
            <a:xfrm>
              <a:off x="2002449" y="5920889"/>
              <a:ext cx="68168" cy="40900"/>
            </a:xfrm>
            <a:custGeom>
              <a:avLst/>
              <a:gdLst>
                <a:gd name="connsiteX0" fmla="*/ 70574 w 74681"/>
                <a:gd name="connsiteY0" fmla="*/ 7841 h 44809"/>
                <a:gd name="connsiteX1" fmla="*/ 70574 w 74681"/>
                <a:gd name="connsiteY1" fmla="*/ 40702 h 44809"/>
                <a:gd name="connsiteX2" fmla="*/ 12322 w 74681"/>
                <a:gd name="connsiteY2" fmla="*/ 40702 h 44809"/>
                <a:gd name="connsiteX3" fmla="*/ 12322 w 74681"/>
                <a:gd name="connsiteY3" fmla="*/ 7841 h 44809"/>
                <a:gd name="connsiteX4" fmla="*/ 70574 w 74681"/>
                <a:gd name="connsiteY4" fmla="*/ 784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70574" y="7841"/>
                  </a:moveTo>
                  <a:cubicBezTo>
                    <a:pt x="87004" y="16803"/>
                    <a:pt x="87004" y="31740"/>
                    <a:pt x="70574" y="40702"/>
                  </a:cubicBezTo>
                  <a:cubicBezTo>
                    <a:pt x="54144" y="49663"/>
                    <a:pt x="28752" y="49663"/>
                    <a:pt x="12322" y="40702"/>
                  </a:cubicBezTo>
                  <a:cubicBezTo>
                    <a:pt x="-4107" y="31740"/>
                    <a:pt x="-4107" y="16803"/>
                    <a:pt x="12322" y="7841"/>
                  </a:cubicBezTo>
                  <a:cubicBezTo>
                    <a:pt x="28752" y="-2614"/>
                    <a:pt x="54144" y="-2614"/>
                    <a:pt x="70574" y="784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9" name="任意多边形: 形状 318"/>
            <p:cNvSpPr/>
            <p:nvPr/>
          </p:nvSpPr>
          <p:spPr>
            <a:xfrm>
              <a:off x="2002047" y="5727424"/>
              <a:ext cx="81801" cy="218135"/>
            </a:xfrm>
            <a:custGeom>
              <a:avLst/>
              <a:gdLst>
                <a:gd name="connsiteX0" fmla="*/ 814 w 89618"/>
                <a:gd name="connsiteY0" fmla="*/ 236224 h 238981"/>
                <a:gd name="connsiteX1" fmla="*/ 6789 w 89618"/>
                <a:gd name="connsiteY1" fmla="*/ 51014 h 238981"/>
                <a:gd name="connsiteX2" fmla="*/ 23219 w 89618"/>
                <a:gd name="connsiteY2" fmla="*/ 12179 h 238981"/>
                <a:gd name="connsiteX3" fmla="*/ 57572 w 89618"/>
                <a:gd name="connsiteY3" fmla="*/ 230 h 238981"/>
                <a:gd name="connsiteX4" fmla="*/ 88939 w 89618"/>
                <a:gd name="connsiteY4" fmla="*/ 40558 h 238981"/>
                <a:gd name="connsiteX5" fmla="*/ 82964 w 89618"/>
                <a:gd name="connsiteY5" fmla="*/ 236224 h 238981"/>
                <a:gd name="connsiteX6" fmla="*/ 59066 w 89618"/>
                <a:gd name="connsiteY6" fmla="*/ 236224 h 238981"/>
                <a:gd name="connsiteX7" fmla="*/ 814 w 89618"/>
                <a:gd name="connsiteY7" fmla="*/ 236224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618" h="238981">
                  <a:moveTo>
                    <a:pt x="814" y="236224"/>
                  </a:moveTo>
                  <a:cubicBezTo>
                    <a:pt x="-2173" y="174985"/>
                    <a:pt x="3802" y="58482"/>
                    <a:pt x="6789" y="51014"/>
                  </a:cubicBezTo>
                  <a:cubicBezTo>
                    <a:pt x="11270" y="43546"/>
                    <a:pt x="15750" y="16660"/>
                    <a:pt x="23219" y="12179"/>
                  </a:cubicBezTo>
                  <a:cubicBezTo>
                    <a:pt x="33674" y="4711"/>
                    <a:pt x="45623" y="-1263"/>
                    <a:pt x="57572" y="230"/>
                  </a:cubicBezTo>
                  <a:cubicBezTo>
                    <a:pt x="72509" y="1724"/>
                    <a:pt x="85951" y="27116"/>
                    <a:pt x="88939" y="40558"/>
                  </a:cubicBezTo>
                  <a:cubicBezTo>
                    <a:pt x="91926" y="55495"/>
                    <a:pt x="84458" y="227263"/>
                    <a:pt x="82964" y="236224"/>
                  </a:cubicBezTo>
                  <a:cubicBezTo>
                    <a:pt x="81471" y="245186"/>
                    <a:pt x="68028" y="233237"/>
                    <a:pt x="59066" y="236224"/>
                  </a:cubicBezTo>
                  <a:lnTo>
                    <a:pt x="814" y="236224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0" name="任意多边形: 形状 319"/>
            <p:cNvSpPr/>
            <p:nvPr/>
          </p:nvSpPr>
          <p:spPr>
            <a:xfrm>
              <a:off x="1922352" y="5615839"/>
              <a:ext cx="68168" cy="190869"/>
            </a:xfrm>
            <a:custGeom>
              <a:avLst/>
              <a:gdLst>
                <a:gd name="connsiteX0" fmla="*/ 0 w 74681"/>
                <a:gd name="connsiteY0" fmla="*/ 0 h 209108"/>
                <a:gd name="connsiteX1" fmla="*/ 82150 w 74681"/>
                <a:gd name="connsiteY1" fmla="*/ 0 h 209108"/>
                <a:gd name="connsiteX2" fmla="*/ 82150 w 74681"/>
                <a:gd name="connsiteY2" fmla="*/ 218071 h 209108"/>
                <a:gd name="connsiteX3" fmla="*/ 0 w 74681"/>
                <a:gd name="connsiteY3" fmla="*/ 218071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209108">
                  <a:moveTo>
                    <a:pt x="0" y="0"/>
                  </a:moveTo>
                  <a:lnTo>
                    <a:pt x="82150" y="0"/>
                  </a:lnTo>
                  <a:lnTo>
                    <a:pt x="82150" y="218071"/>
                  </a:lnTo>
                  <a:lnTo>
                    <a:pt x="0" y="218071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1" name="任意多边形: 形状 320"/>
            <p:cNvSpPr/>
            <p:nvPr/>
          </p:nvSpPr>
          <p:spPr>
            <a:xfrm>
              <a:off x="1895086" y="5330899"/>
              <a:ext cx="163602" cy="299937"/>
            </a:xfrm>
            <a:custGeom>
              <a:avLst/>
              <a:gdLst>
                <a:gd name="connsiteX0" fmla="*/ 180730 w 179236"/>
                <a:gd name="connsiteY0" fmla="*/ 241969 h 328599"/>
                <a:gd name="connsiteX1" fmla="*/ 150857 w 179236"/>
                <a:gd name="connsiteY1" fmla="*/ 294246 h 328599"/>
                <a:gd name="connsiteX2" fmla="*/ 146376 w 179236"/>
                <a:gd name="connsiteY2" fmla="*/ 297233 h 328599"/>
                <a:gd name="connsiteX3" fmla="*/ 131440 w 179236"/>
                <a:gd name="connsiteY3" fmla="*/ 306195 h 328599"/>
                <a:gd name="connsiteX4" fmla="*/ 128453 w 179236"/>
                <a:gd name="connsiteY4" fmla="*/ 307689 h 328599"/>
                <a:gd name="connsiteX5" fmla="*/ 97086 w 179236"/>
                <a:gd name="connsiteY5" fmla="*/ 325612 h 328599"/>
                <a:gd name="connsiteX6" fmla="*/ 55264 w 179236"/>
                <a:gd name="connsiteY6" fmla="*/ 333080 h 328599"/>
                <a:gd name="connsiteX7" fmla="*/ 7468 w 179236"/>
                <a:gd name="connsiteY7" fmla="*/ 273335 h 328599"/>
                <a:gd name="connsiteX8" fmla="*/ 7468 w 179236"/>
                <a:gd name="connsiteY8" fmla="*/ 249437 h 328599"/>
                <a:gd name="connsiteX9" fmla="*/ 5974 w 179236"/>
                <a:gd name="connsiteY9" fmla="*/ 186704 h 328599"/>
                <a:gd name="connsiteX10" fmla="*/ 0 w 179236"/>
                <a:gd name="connsiteY10" fmla="*/ 73188 h 328599"/>
                <a:gd name="connsiteX11" fmla="*/ 62733 w 179236"/>
                <a:gd name="connsiteY11" fmla="*/ 11949 h 328599"/>
                <a:gd name="connsiteX12" fmla="*/ 122478 w 179236"/>
                <a:gd name="connsiteY12" fmla="*/ 2987 h 328599"/>
                <a:gd name="connsiteX13" fmla="*/ 168781 w 179236"/>
                <a:gd name="connsiteY13" fmla="*/ 56758 h 328599"/>
                <a:gd name="connsiteX14" fmla="*/ 168781 w 179236"/>
                <a:gd name="connsiteY14" fmla="*/ 56758 h 328599"/>
                <a:gd name="connsiteX15" fmla="*/ 170274 w 179236"/>
                <a:gd name="connsiteY15" fmla="*/ 76176 h 328599"/>
                <a:gd name="connsiteX16" fmla="*/ 171768 w 179236"/>
                <a:gd name="connsiteY16" fmla="*/ 101567 h 328599"/>
                <a:gd name="connsiteX17" fmla="*/ 171768 w 179236"/>
                <a:gd name="connsiteY17" fmla="*/ 107542 h 328599"/>
                <a:gd name="connsiteX18" fmla="*/ 177742 w 179236"/>
                <a:gd name="connsiteY18" fmla="*/ 194173 h 328599"/>
                <a:gd name="connsiteX19" fmla="*/ 179236 w 179236"/>
                <a:gd name="connsiteY19" fmla="*/ 225539 h 328599"/>
                <a:gd name="connsiteX20" fmla="*/ 180730 w 179236"/>
                <a:gd name="connsiteY20" fmla="*/ 241969 h 3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9236" h="328599">
                  <a:moveTo>
                    <a:pt x="180730" y="241969"/>
                  </a:moveTo>
                  <a:cubicBezTo>
                    <a:pt x="180730" y="262880"/>
                    <a:pt x="168781" y="283791"/>
                    <a:pt x="150857" y="294246"/>
                  </a:cubicBezTo>
                  <a:lnTo>
                    <a:pt x="146376" y="297233"/>
                  </a:lnTo>
                  <a:lnTo>
                    <a:pt x="131440" y="306195"/>
                  </a:lnTo>
                  <a:lnTo>
                    <a:pt x="128453" y="307689"/>
                  </a:lnTo>
                  <a:lnTo>
                    <a:pt x="97086" y="325612"/>
                  </a:lnTo>
                  <a:cubicBezTo>
                    <a:pt x="83644" y="333080"/>
                    <a:pt x="68707" y="334574"/>
                    <a:pt x="55264" y="333080"/>
                  </a:cubicBezTo>
                  <a:cubicBezTo>
                    <a:pt x="28379" y="327106"/>
                    <a:pt x="7468" y="304701"/>
                    <a:pt x="7468" y="273335"/>
                  </a:cubicBezTo>
                  <a:lnTo>
                    <a:pt x="7468" y="249437"/>
                  </a:lnTo>
                  <a:lnTo>
                    <a:pt x="5974" y="186704"/>
                  </a:lnTo>
                  <a:lnTo>
                    <a:pt x="0" y="73188"/>
                  </a:lnTo>
                  <a:cubicBezTo>
                    <a:pt x="13443" y="49290"/>
                    <a:pt x="34354" y="28379"/>
                    <a:pt x="62733" y="11949"/>
                  </a:cubicBezTo>
                  <a:cubicBezTo>
                    <a:pt x="83644" y="0"/>
                    <a:pt x="104554" y="-2987"/>
                    <a:pt x="122478" y="2987"/>
                  </a:cubicBezTo>
                  <a:cubicBezTo>
                    <a:pt x="144882" y="10455"/>
                    <a:pt x="162806" y="29873"/>
                    <a:pt x="168781" y="56758"/>
                  </a:cubicBezTo>
                  <a:lnTo>
                    <a:pt x="168781" y="56758"/>
                  </a:lnTo>
                  <a:cubicBezTo>
                    <a:pt x="170274" y="62733"/>
                    <a:pt x="170274" y="70201"/>
                    <a:pt x="170274" y="76176"/>
                  </a:cubicBezTo>
                  <a:lnTo>
                    <a:pt x="171768" y="101567"/>
                  </a:lnTo>
                  <a:lnTo>
                    <a:pt x="171768" y="107542"/>
                  </a:lnTo>
                  <a:lnTo>
                    <a:pt x="177742" y="194173"/>
                  </a:lnTo>
                  <a:lnTo>
                    <a:pt x="179236" y="225539"/>
                  </a:lnTo>
                  <a:lnTo>
                    <a:pt x="180730" y="241969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2" name="任意多边形: 形状 321"/>
            <p:cNvSpPr/>
            <p:nvPr/>
          </p:nvSpPr>
          <p:spPr>
            <a:xfrm>
              <a:off x="1897812" y="5419518"/>
              <a:ext cx="122701" cy="149969"/>
            </a:xfrm>
            <a:custGeom>
              <a:avLst/>
              <a:gdLst>
                <a:gd name="connsiteX0" fmla="*/ 115010 w 134427"/>
                <a:gd name="connsiteY0" fmla="*/ 170274 h 164299"/>
                <a:gd name="connsiteX1" fmla="*/ 1494 w 134427"/>
                <a:gd name="connsiteY1" fmla="*/ 153844 h 164299"/>
                <a:gd name="connsiteX2" fmla="*/ 0 w 134427"/>
                <a:gd name="connsiteY2" fmla="*/ 91112 h 164299"/>
                <a:gd name="connsiteX3" fmla="*/ 31366 w 134427"/>
                <a:gd name="connsiteY3" fmla="*/ 64226 h 164299"/>
                <a:gd name="connsiteX4" fmla="*/ 40328 w 134427"/>
                <a:gd name="connsiteY4" fmla="*/ 19417 h 164299"/>
                <a:gd name="connsiteX5" fmla="*/ 47796 w 134427"/>
                <a:gd name="connsiteY5" fmla="*/ 0 h 164299"/>
                <a:gd name="connsiteX6" fmla="*/ 52277 w 134427"/>
                <a:gd name="connsiteY6" fmla="*/ 82150 h 164299"/>
                <a:gd name="connsiteX7" fmla="*/ 56758 w 134427"/>
                <a:gd name="connsiteY7" fmla="*/ 95593 h 164299"/>
                <a:gd name="connsiteX8" fmla="*/ 122478 w 134427"/>
                <a:gd name="connsiteY8" fmla="*/ 113516 h 164299"/>
                <a:gd name="connsiteX9" fmla="*/ 115010 w 134427"/>
                <a:gd name="connsiteY9" fmla="*/ 170274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4427" h="164299">
                  <a:moveTo>
                    <a:pt x="115010" y="170274"/>
                  </a:moveTo>
                  <a:cubicBezTo>
                    <a:pt x="77669" y="167287"/>
                    <a:pt x="32860" y="165793"/>
                    <a:pt x="1494" y="153844"/>
                  </a:cubicBezTo>
                  <a:lnTo>
                    <a:pt x="0" y="91112"/>
                  </a:lnTo>
                  <a:cubicBezTo>
                    <a:pt x="13443" y="82150"/>
                    <a:pt x="29873" y="73188"/>
                    <a:pt x="31366" y="64226"/>
                  </a:cubicBezTo>
                  <a:cubicBezTo>
                    <a:pt x="34354" y="49290"/>
                    <a:pt x="37341" y="34353"/>
                    <a:pt x="40328" y="19417"/>
                  </a:cubicBezTo>
                  <a:cubicBezTo>
                    <a:pt x="41822" y="11949"/>
                    <a:pt x="43316" y="5974"/>
                    <a:pt x="47796" y="0"/>
                  </a:cubicBezTo>
                  <a:cubicBezTo>
                    <a:pt x="49290" y="31366"/>
                    <a:pt x="50784" y="50783"/>
                    <a:pt x="52277" y="82150"/>
                  </a:cubicBezTo>
                  <a:cubicBezTo>
                    <a:pt x="52277" y="88124"/>
                    <a:pt x="50784" y="94099"/>
                    <a:pt x="56758" y="95593"/>
                  </a:cubicBezTo>
                  <a:cubicBezTo>
                    <a:pt x="76175" y="101567"/>
                    <a:pt x="115010" y="115010"/>
                    <a:pt x="122478" y="113516"/>
                  </a:cubicBezTo>
                  <a:cubicBezTo>
                    <a:pt x="155338" y="103061"/>
                    <a:pt x="140402" y="171768"/>
                    <a:pt x="115010" y="170274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3" name="任意多边形: 形状 322"/>
            <p:cNvSpPr/>
            <p:nvPr/>
          </p:nvSpPr>
          <p:spPr>
            <a:xfrm>
              <a:off x="1875895" y="5390783"/>
              <a:ext cx="54534" cy="163602"/>
            </a:xfrm>
            <a:custGeom>
              <a:avLst/>
              <a:gdLst>
                <a:gd name="connsiteX0" fmla="*/ 61352 w 59745"/>
                <a:gd name="connsiteY0" fmla="*/ 150971 h 179236"/>
                <a:gd name="connsiteX1" fmla="*/ 28493 w 59745"/>
                <a:gd name="connsiteY1" fmla="*/ 179350 h 179236"/>
                <a:gd name="connsiteX2" fmla="*/ 28493 w 59745"/>
                <a:gd name="connsiteY2" fmla="*/ 179350 h 179236"/>
                <a:gd name="connsiteX3" fmla="*/ 114 w 59745"/>
                <a:gd name="connsiteY3" fmla="*/ 146490 h 179236"/>
                <a:gd name="connsiteX4" fmla="*/ 10569 w 59745"/>
                <a:gd name="connsiteY4" fmla="*/ 28493 h 179236"/>
                <a:gd name="connsiteX5" fmla="*/ 43429 w 59745"/>
                <a:gd name="connsiteY5" fmla="*/ 114 h 179236"/>
                <a:gd name="connsiteX6" fmla="*/ 43429 w 59745"/>
                <a:gd name="connsiteY6" fmla="*/ 114 h 179236"/>
                <a:gd name="connsiteX7" fmla="*/ 71808 w 59745"/>
                <a:gd name="connsiteY7" fmla="*/ 32974 h 179236"/>
                <a:gd name="connsiteX8" fmla="*/ 61352 w 59745"/>
                <a:gd name="connsiteY8" fmla="*/ 150971 h 17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79236">
                  <a:moveTo>
                    <a:pt x="61352" y="150971"/>
                  </a:moveTo>
                  <a:cubicBezTo>
                    <a:pt x="59859" y="167401"/>
                    <a:pt x="44923" y="180843"/>
                    <a:pt x="28493" y="179350"/>
                  </a:cubicBezTo>
                  <a:lnTo>
                    <a:pt x="28493" y="179350"/>
                  </a:lnTo>
                  <a:cubicBezTo>
                    <a:pt x="12062" y="177856"/>
                    <a:pt x="-1380" y="162920"/>
                    <a:pt x="114" y="146490"/>
                  </a:cubicBezTo>
                  <a:lnTo>
                    <a:pt x="10569" y="28493"/>
                  </a:lnTo>
                  <a:cubicBezTo>
                    <a:pt x="12062" y="12062"/>
                    <a:pt x="26999" y="-1380"/>
                    <a:pt x="43429" y="114"/>
                  </a:cubicBezTo>
                  <a:lnTo>
                    <a:pt x="43429" y="114"/>
                  </a:lnTo>
                  <a:cubicBezTo>
                    <a:pt x="59859" y="1607"/>
                    <a:pt x="73302" y="16544"/>
                    <a:pt x="71808" y="32974"/>
                  </a:cubicBezTo>
                  <a:lnTo>
                    <a:pt x="61352" y="150971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4" name="任意多边形: 形状 323"/>
            <p:cNvSpPr/>
            <p:nvPr/>
          </p:nvSpPr>
          <p:spPr>
            <a:xfrm>
              <a:off x="1901561" y="5979171"/>
              <a:ext cx="68168" cy="40900"/>
            </a:xfrm>
            <a:custGeom>
              <a:avLst/>
              <a:gdLst>
                <a:gd name="connsiteX0" fmla="*/ 70574 w 74681"/>
                <a:gd name="connsiteY0" fmla="*/ 6721 h 44809"/>
                <a:gd name="connsiteX1" fmla="*/ 70574 w 74681"/>
                <a:gd name="connsiteY1" fmla="*/ 39581 h 44809"/>
                <a:gd name="connsiteX2" fmla="*/ 12323 w 74681"/>
                <a:gd name="connsiteY2" fmla="*/ 39581 h 44809"/>
                <a:gd name="connsiteX3" fmla="*/ 12323 w 74681"/>
                <a:gd name="connsiteY3" fmla="*/ 6721 h 44809"/>
                <a:gd name="connsiteX4" fmla="*/ 70574 w 74681"/>
                <a:gd name="connsiteY4" fmla="*/ 672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70574" y="6721"/>
                  </a:moveTo>
                  <a:cubicBezTo>
                    <a:pt x="87004" y="15683"/>
                    <a:pt x="87004" y="30620"/>
                    <a:pt x="70574" y="39581"/>
                  </a:cubicBezTo>
                  <a:cubicBezTo>
                    <a:pt x="54144" y="48543"/>
                    <a:pt x="28752" y="48543"/>
                    <a:pt x="12323" y="39581"/>
                  </a:cubicBezTo>
                  <a:cubicBezTo>
                    <a:pt x="-4108" y="30620"/>
                    <a:pt x="-4108" y="15683"/>
                    <a:pt x="12323" y="6721"/>
                  </a:cubicBezTo>
                  <a:cubicBezTo>
                    <a:pt x="28752" y="-2240"/>
                    <a:pt x="54144" y="-2240"/>
                    <a:pt x="70574" y="672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5" name="任意多边形: 形状 324"/>
            <p:cNvSpPr/>
            <p:nvPr/>
          </p:nvSpPr>
          <p:spPr>
            <a:xfrm>
              <a:off x="1901902" y="5788259"/>
              <a:ext cx="95434" cy="218135"/>
            </a:xfrm>
            <a:custGeom>
              <a:avLst/>
              <a:gdLst>
                <a:gd name="connsiteX0" fmla="*/ 0 w 104554"/>
                <a:gd name="connsiteY0" fmla="*/ 233801 h 238981"/>
                <a:gd name="connsiteX1" fmla="*/ 22405 w 104554"/>
                <a:gd name="connsiteY1" fmla="*/ 30667 h 238981"/>
                <a:gd name="connsiteX2" fmla="*/ 41822 w 104554"/>
                <a:gd name="connsiteY2" fmla="*/ 9756 h 238981"/>
                <a:gd name="connsiteX3" fmla="*/ 77669 w 104554"/>
                <a:gd name="connsiteY3" fmla="*/ 795 h 238981"/>
                <a:gd name="connsiteX4" fmla="*/ 106048 w 104554"/>
                <a:gd name="connsiteY4" fmla="*/ 30667 h 238981"/>
                <a:gd name="connsiteX5" fmla="*/ 83644 w 104554"/>
                <a:gd name="connsiteY5" fmla="*/ 233801 h 238981"/>
                <a:gd name="connsiteX6" fmla="*/ 71694 w 104554"/>
                <a:gd name="connsiteY6" fmla="*/ 244257 h 238981"/>
                <a:gd name="connsiteX7" fmla="*/ 0 w 104554"/>
                <a:gd name="connsiteY7" fmla="*/ 233801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554" h="238981">
                  <a:moveTo>
                    <a:pt x="0" y="233801"/>
                  </a:moveTo>
                  <a:cubicBezTo>
                    <a:pt x="1494" y="172563"/>
                    <a:pt x="17924" y="36642"/>
                    <a:pt x="22405" y="30667"/>
                  </a:cubicBezTo>
                  <a:cubicBezTo>
                    <a:pt x="26885" y="23199"/>
                    <a:pt x="34354" y="14237"/>
                    <a:pt x="41822" y="9756"/>
                  </a:cubicBezTo>
                  <a:cubicBezTo>
                    <a:pt x="52277" y="3782"/>
                    <a:pt x="64226" y="-2193"/>
                    <a:pt x="77669" y="795"/>
                  </a:cubicBezTo>
                  <a:cubicBezTo>
                    <a:pt x="92605" y="3782"/>
                    <a:pt x="103061" y="15731"/>
                    <a:pt x="106048" y="30667"/>
                  </a:cubicBezTo>
                  <a:cubicBezTo>
                    <a:pt x="107542" y="45604"/>
                    <a:pt x="86631" y="226333"/>
                    <a:pt x="83644" y="233801"/>
                  </a:cubicBezTo>
                  <a:cubicBezTo>
                    <a:pt x="80656" y="242763"/>
                    <a:pt x="80656" y="241269"/>
                    <a:pt x="71694" y="244257"/>
                  </a:cubicBezTo>
                  <a:lnTo>
                    <a:pt x="0" y="233801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6" name="任意多边形: 形状 325"/>
            <p:cNvSpPr/>
            <p:nvPr/>
          </p:nvSpPr>
          <p:spPr>
            <a:xfrm>
              <a:off x="1876412" y="5497642"/>
              <a:ext cx="149969" cy="68168"/>
            </a:xfrm>
            <a:custGeom>
              <a:avLst/>
              <a:gdLst>
                <a:gd name="connsiteX0" fmla="*/ 144430 w 164299"/>
                <a:gd name="connsiteY0" fmla="*/ 41369 h 74681"/>
                <a:gd name="connsiteX1" fmla="*/ 165340 w 164299"/>
                <a:gd name="connsiteY1" fmla="*/ 50331 h 74681"/>
                <a:gd name="connsiteX2" fmla="*/ 154885 w 164299"/>
                <a:gd name="connsiteY2" fmla="*/ 83191 h 74681"/>
                <a:gd name="connsiteX3" fmla="*/ 135468 w 164299"/>
                <a:gd name="connsiteY3" fmla="*/ 80204 h 74681"/>
                <a:gd name="connsiteX4" fmla="*/ 23445 w 164299"/>
                <a:gd name="connsiteY4" fmla="*/ 60786 h 74681"/>
                <a:gd name="connsiteX5" fmla="*/ 1041 w 164299"/>
                <a:gd name="connsiteY5" fmla="*/ 23445 h 74681"/>
                <a:gd name="connsiteX6" fmla="*/ 1041 w 164299"/>
                <a:gd name="connsiteY6" fmla="*/ 23445 h 74681"/>
                <a:gd name="connsiteX7" fmla="*/ 38382 w 164299"/>
                <a:gd name="connsiteY7" fmla="*/ 1041 h 74681"/>
                <a:gd name="connsiteX8" fmla="*/ 144430 w 164299"/>
                <a:gd name="connsiteY8" fmla="*/ 41369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299" h="74681">
                  <a:moveTo>
                    <a:pt x="144430" y="41369"/>
                  </a:moveTo>
                  <a:cubicBezTo>
                    <a:pt x="156379" y="44356"/>
                    <a:pt x="162353" y="45850"/>
                    <a:pt x="165340" y="50331"/>
                  </a:cubicBezTo>
                  <a:cubicBezTo>
                    <a:pt x="169821" y="54812"/>
                    <a:pt x="160860" y="83191"/>
                    <a:pt x="154885" y="83191"/>
                  </a:cubicBezTo>
                  <a:cubicBezTo>
                    <a:pt x="148911" y="83191"/>
                    <a:pt x="142936" y="81697"/>
                    <a:pt x="135468" y="80204"/>
                  </a:cubicBezTo>
                  <a:lnTo>
                    <a:pt x="23445" y="60786"/>
                  </a:lnTo>
                  <a:cubicBezTo>
                    <a:pt x="7015" y="56305"/>
                    <a:pt x="-3440" y="39875"/>
                    <a:pt x="1041" y="23445"/>
                  </a:cubicBezTo>
                  <a:lnTo>
                    <a:pt x="1041" y="23445"/>
                  </a:lnTo>
                  <a:cubicBezTo>
                    <a:pt x="5522" y="7015"/>
                    <a:pt x="21952" y="-3440"/>
                    <a:pt x="38382" y="1041"/>
                  </a:cubicBezTo>
                  <a:lnTo>
                    <a:pt x="144430" y="41369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7" name="任意多边形: 形状 326"/>
            <p:cNvSpPr/>
            <p:nvPr/>
          </p:nvSpPr>
          <p:spPr>
            <a:xfrm>
              <a:off x="1961890" y="5453601"/>
              <a:ext cx="27267" cy="13633"/>
            </a:xfrm>
            <a:custGeom>
              <a:avLst/>
              <a:gdLst>
                <a:gd name="connsiteX0" fmla="*/ 32860 w 29872"/>
                <a:gd name="connsiteY0" fmla="*/ 10455 h 14936"/>
                <a:gd name="connsiteX1" fmla="*/ 0 w 29872"/>
                <a:gd name="connsiteY1" fmla="*/ 26885 h 14936"/>
                <a:gd name="connsiteX2" fmla="*/ 0 w 29872"/>
                <a:gd name="connsiteY2" fmla="*/ 17923 h 14936"/>
                <a:gd name="connsiteX3" fmla="*/ 32860 w 29872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32860" y="10455"/>
                  </a:moveTo>
                  <a:lnTo>
                    <a:pt x="0" y="26885"/>
                  </a:lnTo>
                  <a:lnTo>
                    <a:pt x="0" y="17923"/>
                  </a:lnTo>
                  <a:lnTo>
                    <a:pt x="32860" y="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8" name="任意多边形: 形状 327"/>
            <p:cNvSpPr/>
            <p:nvPr/>
          </p:nvSpPr>
          <p:spPr>
            <a:xfrm>
              <a:off x="1991884" y="5366347"/>
              <a:ext cx="27267" cy="231769"/>
            </a:xfrm>
            <a:custGeom>
              <a:avLst/>
              <a:gdLst>
                <a:gd name="connsiteX0" fmla="*/ 23898 w 29872"/>
                <a:gd name="connsiteY0" fmla="*/ 265867 h 253917"/>
                <a:gd name="connsiteX1" fmla="*/ 38834 w 29872"/>
                <a:gd name="connsiteY1" fmla="*/ 256905 h 253917"/>
                <a:gd name="connsiteX2" fmla="*/ 17924 w 29872"/>
                <a:gd name="connsiteY2" fmla="*/ 0 h 253917"/>
                <a:gd name="connsiteX3" fmla="*/ 0 w 29872"/>
                <a:gd name="connsiteY3" fmla="*/ 5974 h 253917"/>
                <a:gd name="connsiteX4" fmla="*/ 23898 w 29872"/>
                <a:gd name="connsiteY4" fmla="*/ 265867 h 253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72" h="253917">
                  <a:moveTo>
                    <a:pt x="23898" y="265867"/>
                  </a:moveTo>
                  <a:lnTo>
                    <a:pt x="38834" y="256905"/>
                  </a:lnTo>
                  <a:cubicBezTo>
                    <a:pt x="41822" y="206121"/>
                    <a:pt x="26885" y="100073"/>
                    <a:pt x="17924" y="0"/>
                  </a:cubicBezTo>
                  <a:lnTo>
                    <a:pt x="0" y="5974"/>
                  </a:lnTo>
                  <a:cubicBezTo>
                    <a:pt x="11949" y="107541"/>
                    <a:pt x="26885" y="215083"/>
                    <a:pt x="23898" y="265867"/>
                  </a:cubicBezTo>
                  <a:close/>
                </a:path>
              </a:pathLst>
            </a:custGeom>
            <a:solidFill>
              <a:srgbClr val="F6F6F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9" name="任意多边形: 形状 328"/>
            <p:cNvSpPr/>
            <p:nvPr/>
          </p:nvSpPr>
          <p:spPr>
            <a:xfrm>
              <a:off x="1943143" y="5332263"/>
              <a:ext cx="68168" cy="68168"/>
            </a:xfrm>
            <a:custGeom>
              <a:avLst/>
              <a:gdLst>
                <a:gd name="connsiteX0" fmla="*/ 14563 w 74681"/>
                <a:gd name="connsiteY0" fmla="*/ 2987 h 74681"/>
                <a:gd name="connsiteX1" fmla="*/ 1120 w 74681"/>
                <a:gd name="connsiteY1" fmla="*/ 20911 h 74681"/>
                <a:gd name="connsiteX2" fmla="*/ 1120 w 74681"/>
                <a:gd name="connsiteY2" fmla="*/ 29873 h 74681"/>
                <a:gd name="connsiteX3" fmla="*/ 16057 w 74681"/>
                <a:gd name="connsiteY3" fmla="*/ 50783 h 74681"/>
                <a:gd name="connsiteX4" fmla="*/ 50410 w 74681"/>
                <a:gd name="connsiteY4" fmla="*/ 77669 h 74681"/>
                <a:gd name="connsiteX5" fmla="*/ 66840 w 74681"/>
                <a:gd name="connsiteY5" fmla="*/ 43315 h 74681"/>
                <a:gd name="connsiteX6" fmla="*/ 86257 w 74681"/>
                <a:gd name="connsiteY6" fmla="*/ 61239 h 74681"/>
                <a:gd name="connsiteX7" fmla="*/ 86257 w 74681"/>
                <a:gd name="connsiteY7" fmla="*/ 31366 h 74681"/>
                <a:gd name="connsiteX8" fmla="*/ 69827 w 74681"/>
                <a:gd name="connsiteY8" fmla="*/ 5974 h 74681"/>
                <a:gd name="connsiteX9" fmla="*/ 44436 w 74681"/>
                <a:gd name="connsiteY9" fmla="*/ 0 h 74681"/>
                <a:gd name="connsiteX10" fmla="*/ 19044 w 74681"/>
                <a:gd name="connsiteY10" fmla="*/ 5974 h 74681"/>
                <a:gd name="connsiteX11" fmla="*/ 14563 w 74681"/>
                <a:gd name="connsiteY11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74681">
                  <a:moveTo>
                    <a:pt x="14563" y="2987"/>
                  </a:moveTo>
                  <a:cubicBezTo>
                    <a:pt x="11576" y="8961"/>
                    <a:pt x="4108" y="17923"/>
                    <a:pt x="1120" y="20911"/>
                  </a:cubicBezTo>
                  <a:cubicBezTo>
                    <a:pt x="-373" y="23898"/>
                    <a:pt x="-373" y="26885"/>
                    <a:pt x="1120" y="29873"/>
                  </a:cubicBezTo>
                  <a:cubicBezTo>
                    <a:pt x="4108" y="38834"/>
                    <a:pt x="8588" y="44809"/>
                    <a:pt x="16057" y="50783"/>
                  </a:cubicBezTo>
                  <a:cubicBezTo>
                    <a:pt x="26512" y="59745"/>
                    <a:pt x="38461" y="68707"/>
                    <a:pt x="50410" y="77669"/>
                  </a:cubicBezTo>
                  <a:cubicBezTo>
                    <a:pt x="56385" y="67214"/>
                    <a:pt x="62359" y="55264"/>
                    <a:pt x="66840" y="43315"/>
                  </a:cubicBezTo>
                  <a:cubicBezTo>
                    <a:pt x="72815" y="49290"/>
                    <a:pt x="80283" y="55264"/>
                    <a:pt x="86257" y="61239"/>
                  </a:cubicBezTo>
                  <a:cubicBezTo>
                    <a:pt x="87751" y="50783"/>
                    <a:pt x="87751" y="40328"/>
                    <a:pt x="86257" y="31366"/>
                  </a:cubicBezTo>
                  <a:cubicBezTo>
                    <a:pt x="84764" y="20911"/>
                    <a:pt x="78789" y="11949"/>
                    <a:pt x="69827" y="5974"/>
                  </a:cubicBezTo>
                  <a:cubicBezTo>
                    <a:pt x="62359" y="1493"/>
                    <a:pt x="53397" y="0"/>
                    <a:pt x="44436" y="0"/>
                  </a:cubicBezTo>
                  <a:cubicBezTo>
                    <a:pt x="35474" y="0"/>
                    <a:pt x="26512" y="2987"/>
                    <a:pt x="19044" y="5974"/>
                  </a:cubicBezTo>
                  <a:cubicBezTo>
                    <a:pt x="16057" y="4481"/>
                    <a:pt x="14563" y="0"/>
                    <a:pt x="14563" y="2987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0" name="任意多边形: 形状 329"/>
            <p:cNvSpPr/>
            <p:nvPr/>
          </p:nvSpPr>
          <p:spPr>
            <a:xfrm>
              <a:off x="1952330" y="5336353"/>
              <a:ext cx="54534" cy="27267"/>
            </a:xfrm>
            <a:custGeom>
              <a:avLst/>
              <a:gdLst>
                <a:gd name="connsiteX0" fmla="*/ 61257 w 59745"/>
                <a:gd name="connsiteY0" fmla="*/ 28379 h 29872"/>
                <a:gd name="connsiteX1" fmla="*/ 52295 w 59745"/>
                <a:gd name="connsiteY1" fmla="*/ 34353 h 29872"/>
                <a:gd name="connsiteX2" fmla="*/ 7486 w 59745"/>
                <a:gd name="connsiteY2" fmla="*/ 28379 h 29872"/>
                <a:gd name="connsiteX3" fmla="*/ 11967 w 59745"/>
                <a:gd name="connsiteY3" fmla="*/ 2987 h 29872"/>
                <a:gd name="connsiteX4" fmla="*/ 22422 w 59745"/>
                <a:gd name="connsiteY4" fmla="*/ 0 h 29872"/>
                <a:gd name="connsiteX5" fmla="*/ 28397 w 59745"/>
                <a:gd name="connsiteY5" fmla="*/ 0 h 29872"/>
                <a:gd name="connsiteX6" fmla="*/ 56776 w 59745"/>
                <a:gd name="connsiteY6" fmla="*/ 8962 h 29872"/>
                <a:gd name="connsiteX7" fmla="*/ 64244 w 59745"/>
                <a:gd name="connsiteY7" fmla="*/ 17924 h 29872"/>
                <a:gd name="connsiteX8" fmla="*/ 61257 w 59745"/>
                <a:gd name="connsiteY8" fmla="*/ 28379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9872">
                  <a:moveTo>
                    <a:pt x="61257" y="28379"/>
                  </a:moveTo>
                  <a:cubicBezTo>
                    <a:pt x="59763" y="31366"/>
                    <a:pt x="56776" y="32860"/>
                    <a:pt x="52295" y="34353"/>
                  </a:cubicBezTo>
                  <a:cubicBezTo>
                    <a:pt x="38852" y="40328"/>
                    <a:pt x="19435" y="37341"/>
                    <a:pt x="7486" y="28379"/>
                  </a:cubicBezTo>
                  <a:cubicBezTo>
                    <a:pt x="-4464" y="19417"/>
                    <a:pt x="-1476" y="7468"/>
                    <a:pt x="11967" y="2987"/>
                  </a:cubicBezTo>
                  <a:cubicBezTo>
                    <a:pt x="14954" y="1494"/>
                    <a:pt x="17941" y="1494"/>
                    <a:pt x="22422" y="0"/>
                  </a:cubicBezTo>
                  <a:cubicBezTo>
                    <a:pt x="23916" y="0"/>
                    <a:pt x="26903" y="0"/>
                    <a:pt x="28397" y="0"/>
                  </a:cubicBezTo>
                  <a:cubicBezTo>
                    <a:pt x="38852" y="0"/>
                    <a:pt x="49307" y="2987"/>
                    <a:pt x="56776" y="8962"/>
                  </a:cubicBezTo>
                  <a:cubicBezTo>
                    <a:pt x="61257" y="11949"/>
                    <a:pt x="62750" y="14936"/>
                    <a:pt x="64244" y="17924"/>
                  </a:cubicBezTo>
                  <a:cubicBezTo>
                    <a:pt x="64244" y="20911"/>
                    <a:pt x="64244" y="25392"/>
                    <a:pt x="61257" y="28379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1" name="任意多边形: 形状 330"/>
            <p:cNvSpPr/>
            <p:nvPr/>
          </p:nvSpPr>
          <p:spPr>
            <a:xfrm>
              <a:off x="1952472" y="5274641"/>
              <a:ext cx="68168" cy="81801"/>
            </a:xfrm>
            <a:custGeom>
              <a:avLst/>
              <a:gdLst>
                <a:gd name="connsiteX0" fmla="*/ 0 w 74681"/>
                <a:gd name="connsiteY0" fmla="*/ 81279 h 89618"/>
                <a:gd name="connsiteX1" fmla="*/ 11912 w 74681"/>
                <a:gd name="connsiteY1" fmla="*/ 0 h 89618"/>
                <a:gd name="connsiteX2" fmla="*/ 75457 w 74681"/>
                <a:gd name="connsiteY2" fmla="*/ 9313 h 89618"/>
                <a:gd name="connsiteX3" fmla="*/ 63545 w 74681"/>
                <a:gd name="connsiteY3" fmla="*/ 90592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89618">
                  <a:moveTo>
                    <a:pt x="0" y="81279"/>
                  </a:moveTo>
                  <a:lnTo>
                    <a:pt x="11912" y="0"/>
                  </a:lnTo>
                  <a:lnTo>
                    <a:pt x="75457" y="9313"/>
                  </a:lnTo>
                  <a:lnTo>
                    <a:pt x="63545" y="90592"/>
                  </a:ln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2" name="任意多边形: 形状 331"/>
            <p:cNvSpPr/>
            <p:nvPr/>
          </p:nvSpPr>
          <p:spPr>
            <a:xfrm>
              <a:off x="1971433" y="5227162"/>
              <a:ext cx="68168" cy="109068"/>
            </a:xfrm>
            <a:custGeom>
              <a:avLst/>
              <a:gdLst>
                <a:gd name="connsiteX0" fmla="*/ 1493 w 74681"/>
                <a:gd name="connsiteY0" fmla="*/ 56893 h 119490"/>
                <a:gd name="connsiteX1" fmla="*/ 0 w 74681"/>
                <a:gd name="connsiteY1" fmla="*/ 83778 h 119490"/>
                <a:gd name="connsiteX2" fmla="*/ 8962 w 74681"/>
                <a:gd name="connsiteY2" fmla="*/ 109170 h 119490"/>
                <a:gd name="connsiteX3" fmla="*/ 43315 w 74681"/>
                <a:gd name="connsiteY3" fmla="*/ 127094 h 119490"/>
                <a:gd name="connsiteX4" fmla="*/ 52277 w 74681"/>
                <a:gd name="connsiteY4" fmla="*/ 125600 h 119490"/>
                <a:gd name="connsiteX5" fmla="*/ 62733 w 74681"/>
                <a:gd name="connsiteY5" fmla="*/ 110664 h 119490"/>
                <a:gd name="connsiteX6" fmla="*/ 80656 w 74681"/>
                <a:gd name="connsiteY6" fmla="*/ 35982 h 119490"/>
                <a:gd name="connsiteX7" fmla="*/ 80656 w 74681"/>
                <a:gd name="connsiteY7" fmla="*/ 24033 h 119490"/>
                <a:gd name="connsiteX8" fmla="*/ 58252 w 74681"/>
                <a:gd name="connsiteY8" fmla="*/ 1628 h 119490"/>
                <a:gd name="connsiteX9" fmla="*/ 25392 w 74681"/>
                <a:gd name="connsiteY9" fmla="*/ 3122 h 119490"/>
                <a:gd name="connsiteX10" fmla="*/ 16430 w 74681"/>
                <a:gd name="connsiteY10" fmla="*/ 7603 h 119490"/>
                <a:gd name="connsiteX11" fmla="*/ 10455 w 74681"/>
                <a:gd name="connsiteY11" fmla="*/ 13577 h 119490"/>
                <a:gd name="connsiteX12" fmla="*/ 1493 w 74681"/>
                <a:gd name="connsiteY12" fmla="*/ 56893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1493" y="56893"/>
                  </a:moveTo>
                  <a:cubicBezTo>
                    <a:pt x="0" y="65855"/>
                    <a:pt x="0" y="74816"/>
                    <a:pt x="0" y="83778"/>
                  </a:cubicBezTo>
                  <a:cubicBezTo>
                    <a:pt x="0" y="92740"/>
                    <a:pt x="2987" y="101702"/>
                    <a:pt x="8962" y="109170"/>
                  </a:cubicBezTo>
                  <a:cubicBezTo>
                    <a:pt x="16430" y="119625"/>
                    <a:pt x="29873" y="127094"/>
                    <a:pt x="43315" y="127094"/>
                  </a:cubicBezTo>
                  <a:cubicBezTo>
                    <a:pt x="46303" y="127094"/>
                    <a:pt x="49290" y="127094"/>
                    <a:pt x="52277" y="125600"/>
                  </a:cubicBezTo>
                  <a:cubicBezTo>
                    <a:pt x="58252" y="122613"/>
                    <a:pt x="61239" y="116638"/>
                    <a:pt x="62733" y="110664"/>
                  </a:cubicBezTo>
                  <a:cubicBezTo>
                    <a:pt x="73188" y="86765"/>
                    <a:pt x="77669" y="61374"/>
                    <a:pt x="80656" y="35982"/>
                  </a:cubicBezTo>
                  <a:cubicBezTo>
                    <a:pt x="80656" y="31501"/>
                    <a:pt x="80656" y="28514"/>
                    <a:pt x="80656" y="24033"/>
                  </a:cubicBezTo>
                  <a:cubicBezTo>
                    <a:pt x="79162" y="13577"/>
                    <a:pt x="68707" y="4615"/>
                    <a:pt x="58252" y="1628"/>
                  </a:cubicBezTo>
                  <a:cubicBezTo>
                    <a:pt x="47796" y="-1359"/>
                    <a:pt x="35847" y="135"/>
                    <a:pt x="25392" y="3122"/>
                  </a:cubicBezTo>
                  <a:cubicBezTo>
                    <a:pt x="22405" y="4615"/>
                    <a:pt x="19417" y="4615"/>
                    <a:pt x="16430" y="7603"/>
                  </a:cubicBezTo>
                  <a:cubicBezTo>
                    <a:pt x="13443" y="9097"/>
                    <a:pt x="11949" y="12084"/>
                    <a:pt x="10455" y="13577"/>
                  </a:cubicBezTo>
                  <a:cubicBezTo>
                    <a:pt x="7468" y="16565"/>
                    <a:pt x="2987" y="43450"/>
                    <a:pt x="1493" y="56893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3" name="任意多边形: 形状 332"/>
            <p:cNvSpPr/>
            <p:nvPr/>
          </p:nvSpPr>
          <p:spPr>
            <a:xfrm>
              <a:off x="1970070" y="5236706"/>
              <a:ext cx="68168" cy="109068"/>
            </a:xfrm>
            <a:custGeom>
              <a:avLst/>
              <a:gdLst>
                <a:gd name="connsiteX0" fmla="*/ 1494 w 74681"/>
                <a:gd name="connsiteY0" fmla="*/ 56893 h 119490"/>
                <a:gd name="connsiteX1" fmla="*/ 0 w 74681"/>
                <a:gd name="connsiteY1" fmla="*/ 83778 h 119490"/>
                <a:gd name="connsiteX2" fmla="*/ 8962 w 74681"/>
                <a:gd name="connsiteY2" fmla="*/ 109170 h 119490"/>
                <a:gd name="connsiteX3" fmla="*/ 43315 w 74681"/>
                <a:gd name="connsiteY3" fmla="*/ 127094 h 119490"/>
                <a:gd name="connsiteX4" fmla="*/ 52277 w 74681"/>
                <a:gd name="connsiteY4" fmla="*/ 125600 h 119490"/>
                <a:gd name="connsiteX5" fmla="*/ 62733 w 74681"/>
                <a:gd name="connsiteY5" fmla="*/ 110664 h 119490"/>
                <a:gd name="connsiteX6" fmla="*/ 80656 w 74681"/>
                <a:gd name="connsiteY6" fmla="*/ 35982 h 119490"/>
                <a:gd name="connsiteX7" fmla="*/ 80656 w 74681"/>
                <a:gd name="connsiteY7" fmla="*/ 24033 h 119490"/>
                <a:gd name="connsiteX8" fmla="*/ 58252 w 74681"/>
                <a:gd name="connsiteY8" fmla="*/ 1628 h 119490"/>
                <a:gd name="connsiteX9" fmla="*/ 25392 w 74681"/>
                <a:gd name="connsiteY9" fmla="*/ 3122 h 119490"/>
                <a:gd name="connsiteX10" fmla="*/ 16430 w 74681"/>
                <a:gd name="connsiteY10" fmla="*/ 7603 h 119490"/>
                <a:gd name="connsiteX11" fmla="*/ 10455 w 74681"/>
                <a:gd name="connsiteY11" fmla="*/ 13577 h 119490"/>
                <a:gd name="connsiteX12" fmla="*/ 1494 w 74681"/>
                <a:gd name="connsiteY12" fmla="*/ 56893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1494" y="56893"/>
                  </a:moveTo>
                  <a:cubicBezTo>
                    <a:pt x="0" y="65855"/>
                    <a:pt x="0" y="74817"/>
                    <a:pt x="0" y="83778"/>
                  </a:cubicBezTo>
                  <a:cubicBezTo>
                    <a:pt x="0" y="92740"/>
                    <a:pt x="2987" y="101702"/>
                    <a:pt x="8962" y="109170"/>
                  </a:cubicBezTo>
                  <a:cubicBezTo>
                    <a:pt x="16430" y="119626"/>
                    <a:pt x="29873" y="127094"/>
                    <a:pt x="43315" y="127094"/>
                  </a:cubicBezTo>
                  <a:cubicBezTo>
                    <a:pt x="46303" y="127094"/>
                    <a:pt x="49290" y="127094"/>
                    <a:pt x="52277" y="125600"/>
                  </a:cubicBezTo>
                  <a:cubicBezTo>
                    <a:pt x="58252" y="122613"/>
                    <a:pt x="61239" y="116638"/>
                    <a:pt x="62733" y="110664"/>
                  </a:cubicBezTo>
                  <a:cubicBezTo>
                    <a:pt x="73188" y="86765"/>
                    <a:pt x="77669" y="61373"/>
                    <a:pt x="80656" y="35982"/>
                  </a:cubicBezTo>
                  <a:cubicBezTo>
                    <a:pt x="80656" y="31501"/>
                    <a:pt x="80656" y="28514"/>
                    <a:pt x="80656" y="24033"/>
                  </a:cubicBezTo>
                  <a:cubicBezTo>
                    <a:pt x="79163" y="13577"/>
                    <a:pt x="68707" y="4616"/>
                    <a:pt x="58252" y="1628"/>
                  </a:cubicBezTo>
                  <a:cubicBezTo>
                    <a:pt x="47796" y="-1359"/>
                    <a:pt x="35847" y="135"/>
                    <a:pt x="25392" y="3122"/>
                  </a:cubicBezTo>
                  <a:cubicBezTo>
                    <a:pt x="22405" y="4616"/>
                    <a:pt x="19417" y="4616"/>
                    <a:pt x="16430" y="7603"/>
                  </a:cubicBezTo>
                  <a:cubicBezTo>
                    <a:pt x="13443" y="9096"/>
                    <a:pt x="11949" y="12084"/>
                    <a:pt x="10455" y="13577"/>
                  </a:cubicBezTo>
                  <a:cubicBezTo>
                    <a:pt x="7468" y="15071"/>
                    <a:pt x="2987" y="43450"/>
                    <a:pt x="1494" y="56893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4" name="任意多边形: 形状 333"/>
            <p:cNvSpPr/>
            <p:nvPr/>
          </p:nvSpPr>
          <p:spPr>
            <a:xfrm>
              <a:off x="1968141" y="5283182"/>
              <a:ext cx="40900" cy="68168"/>
            </a:xfrm>
            <a:custGeom>
              <a:avLst/>
              <a:gdLst>
                <a:gd name="connsiteX0" fmla="*/ 43934 w 44809"/>
                <a:gd name="connsiteY0" fmla="*/ 86631 h 74681"/>
                <a:gd name="connsiteX1" fmla="*/ 9581 w 44809"/>
                <a:gd name="connsiteY1" fmla="*/ 68707 h 74681"/>
                <a:gd name="connsiteX2" fmla="*/ 3606 w 44809"/>
                <a:gd name="connsiteY2" fmla="*/ 58252 h 74681"/>
                <a:gd name="connsiteX3" fmla="*/ 619 w 44809"/>
                <a:gd name="connsiteY3" fmla="*/ 43315 h 74681"/>
                <a:gd name="connsiteX4" fmla="*/ 2112 w 44809"/>
                <a:gd name="connsiteY4" fmla="*/ 16430 h 74681"/>
                <a:gd name="connsiteX5" fmla="*/ 3606 w 44809"/>
                <a:gd name="connsiteY5" fmla="*/ 0 h 74681"/>
                <a:gd name="connsiteX6" fmla="*/ 2112 w 44809"/>
                <a:gd name="connsiteY6" fmla="*/ 5974 h 74681"/>
                <a:gd name="connsiteX7" fmla="*/ 619 w 44809"/>
                <a:gd name="connsiteY7" fmla="*/ 32860 h 74681"/>
                <a:gd name="connsiteX8" fmla="*/ 8087 w 44809"/>
                <a:gd name="connsiteY8" fmla="*/ 56758 h 74681"/>
                <a:gd name="connsiteX9" fmla="*/ 9581 w 44809"/>
                <a:gd name="connsiteY9" fmla="*/ 58252 h 74681"/>
                <a:gd name="connsiteX10" fmla="*/ 43934 w 44809"/>
                <a:gd name="connsiteY10" fmla="*/ 76175 h 74681"/>
                <a:gd name="connsiteX11" fmla="*/ 43934 w 44809"/>
                <a:gd name="connsiteY11" fmla="*/ 76175 h 74681"/>
                <a:gd name="connsiteX12" fmla="*/ 43934 w 44809"/>
                <a:gd name="connsiteY12" fmla="*/ 8663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09" h="74681">
                  <a:moveTo>
                    <a:pt x="43934" y="86631"/>
                  </a:moveTo>
                  <a:cubicBezTo>
                    <a:pt x="30491" y="86631"/>
                    <a:pt x="17049" y="80656"/>
                    <a:pt x="9581" y="68707"/>
                  </a:cubicBezTo>
                  <a:cubicBezTo>
                    <a:pt x="6593" y="65720"/>
                    <a:pt x="5100" y="61239"/>
                    <a:pt x="3606" y="58252"/>
                  </a:cubicBezTo>
                  <a:cubicBezTo>
                    <a:pt x="2112" y="53771"/>
                    <a:pt x="619" y="47796"/>
                    <a:pt x="619" y="43315"/>
                  </a:cubicBezTo>
                  <a:cubicBezTo>
                    <a:pt x="-875" y="34353"/>
                    <a:pt x="619" y="25392"/>
                    <a:pt x="2112" y="16430"/>
                  </a:cubicBezTo>
                  <a:cubicBezTo>
                    <a:pt x="2112" y="11949"/>
                    <a:pt x="3606" y="5974"/>
                    <a:pt x="3606" y="0"/>
                  </a:cubicBezTo>
                  <a:cubicBezTo>
                    <a:pt x="3606" y="2987"/>
                    <a:pt x="3606" y="4481"/>
                    <a:pt x="2112" y="5974"/>
                  </a:cubicBezTo>
                  <a:cubicBezTo>
                    <a:pt x="619" y="14936"/>
                    <a:pt x="619" y="23898"/>
                    <a:pt x="619" y="32860"/>
                  </a:cubicBezTo>
                  <a:cubicBezTo>
                    <a:pt x="619" y="41822"/>
                    <a:pt x="3606" y="49290"/>
                    <a:pt x="8087" y="56758"/>
                  </a:cubicBezTo>
                  <a:cubicBezTo>
                    <a:pt x="8087" y="56758"/>
                    <a:pt x="8087" y="58252"/>
                    <a:pt x="9581" y="58252"/>
                  </a:cubicBezTo>
                  <a:cubicBezTo>
                    <a:pt x="17049" y="68707"/>
                    <a:pt x="30491" y="76175"/>
                    <a:pt x="43934" y="76175"/>
                  </a:cubicBezTo>
                  <a:cubicBezTo>
                    <a:pt x="43934" y="76175"/>
                    <a:pt x="43934" y="76175"/>
                    <a:pt x="43934" y="76175"/>
                  </a:cubicBezTo>
                  <a:cubicBezTo>
                    <a:pt x="46921" y="79162"/>
                    <a:pt x="46921" y="83644"/>
                    <a:pt x="43934" y="86631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5" name="任意多边形: 形状 334"/>
            <p:cNvSpPr/>
            <p:nvPr/>
          </p:nvSpPr>
          <p:spPr>
            <a:xfrm>
              <a:off x="1946893" y="5216926"/>
              <a:ext cx="95434" cy="109068"/>
            </a:xfrm>
            <a:custGeom>
              <a:avLst/>
              <a:gdLst>
                <a:gd name="connsiteX0" fmla="*/ 32860 w 104554"/>
                <a:gd name="connsiteY0" fmla="*/ 75575 h 119490"/>
                <a:gd name="connsiteX1" fmla="*/ 25392 w 104554"/>
                <a:gd name="connsiteY1" fmla="*/ 69600 h 119490"/>
                <a:gd name="connsiteX2" fmla="*/ 23898 w 104554"/>
                <a:gd name="connsiteY2" fmla="*/ 114409 h 119490"/>
                <a:gd name="connsiteX3" fmla="*/ 20911 w 104554"/>
                <a:gd name="connsiteY3" fmla="*/ 120384 h 119490"/>
                <a:gd name="connsiteX4" fmla="*/ 16430 w 104554"/>
                <a:gd name="connsiteY4" fmla="*/ 121878 h 119490"/>
                <a:gd name="connsiteX5" fmla="*/ 2987 w 104554"/>
                <a:gd name="connsiteY5" fmla="*/ 111422 h 119490"/>
                <a:gd name="connsiteX6" fmla="*/ 0 w 104554"/>
                <a:gd name="connsiteY6" fmla="*/ 93499 h 119490"/>
                <a:gd name="connsiteX7" fmla="*/ 0 w 104554"/>
                <a:gd name="connsiteY7" fmla="*/ 71094 h 119490"/>
                <a:gd name="connsiteX8" fmla="*/ 8962 w 104554"/>
                <a:gd name="connsiteY8" fmla="*/ 26285 h 119490"/>
                <a:gd name="connsiteX9" fmla="*/ 35847 w 104554"/>
                <a:gd name="connsiteY9" fmla="*/ 3880 h 119490"/>
                <a:gd name="connsiteX10" fmla="*/ 71694 w 104554"/>
                <a:gd name="connsiteY10" fmla="*/ 893 h 119490"/>
                <a:gd name="connsiteX11" fmla="*/ 98580 w 104554"/>
                <a:gd name="connsiteY11" fmla="*/ 11349 h 119490"/>
                <a:gd name="connsiteX12" fmla="*/ 115010 w 104554"/>
                <a:gd name="connsiteY12" fmla="*/ 35247 h 119490"/>
                <a:gd name="connsiteX13" fmla="*/ 113516 w 104554"/>
                <a:gd name="connsiteY13" fmla="*/ 47196 h 119490"/>
                <a:gd name="connsiteX14" fmla="*/ 92605 w 104554"/>
                <a:gd name="connsiteY14" fmla="*/ 59145 h 119490"/>
                <a:gd name="connsiteX15" fmla="*/ 52277 w 104554"/>
                <a:gd name="connsiteY15" fmla="*/ 50183 h 119490"/>
                <a:gd name="connsiteX16" fmla="*/ 44809 w 104554"/>
                <a:gd name="connsiteY16" fmla="*/ 45702 h 119490"/>
                <a:gd name="connsiteX17" fmla="*/ 37341 w 104554"/>
                <a:gd name="connsiteY17" fmla="*/ 47196 h 119490"/>
                <a:gd name="connsiteX18" fmla="*/ 35847 w 104554"/>
                <a:gd name="connsiteY18" fmla="*/ 51677 h 119490"/>
                <a:gd name="connsiteX19" fmla="*/ 32860 w 104554"/>
                <a:gd name="connsiteY19" fmla="*/ 75575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4554" h="119490">
                  <a:moveTo>
                    <a:pt x="32860" y="75575"/>
                  </a:moveTo>
                  <a:cubicBezTo>
                    <a:pt x="32860" y="75575"/>
                    <a:pt x="26885" y="71094"/>
                    <a:pt x="25392" y="69600"/>
                  </a:cubicBezTo>
                  <a:cubicBezTo>
                    <a:pt x="26885" y="84537"/>
                    <a:pt x="26885" y="99473"/>
                    <a:pt x="23898" y="114409"/>
                  </a:cubicBezTo>
                  <a:cubicBezTo>
                    <a:pt x="23898" y="115903"/>
                    <a:pt x="22405" y="118891"/>
                    <a:pt x="20911" y="120384"/>
                  </a:cubicBezTo>
                  <a:cubicBezTo>
                    <a:pt x="19417" y="121878"/>
                    <a:pt x="17924" y="121878"/>
                    <a:pt x="16430" y="121878"/>
                  </a:cubicBezTo>
                  <a:cubicBezTo>
                    <a:pt x="10455" y="121878"/>
                    <a:pt x="5974" y="117397"/>
                    <a:pt x="2987" y="111422"/>
                  </a:cubicBezTo>
                  <a:cubicBezTo>
                    <a:pt x="0" y="105447"/>
                    <a:pt x="0" y="99473"/>
                    <a:pt x="0" y="93499"/>
                  </a:cubicBezTo>
                  <a:cubicBezTo>
                    <a:pt x="0" y="86030"/>
                    <a:pt x="0" y="78562"/>
                    <a:pt x="0" y="71094"/>
                  </a:cubicBezTo>
                  <a:cubicBezTo>
                    <a:pt x="0" y="56158"/>
                    <a:pt x="0" y="38234"/>
                    <a:pt x="8962" y="26285"/>
                  </a:cubicBezTo>
                  <a:cubicBezTo>
                    <a:pt x="14936" y="15829"/>
                    <a:pt x="23898" y="8361"/>
                    <a:pt x="35847" y="3880"/>
                  </a:cubicBezTo>
                  <a:cubicBezTo>
                    <a:pt x="46303" y="-600"/>
                    <a:pt x="61239" y="-600"/>
                    <a:pt x="71694" y="893"/>
                  </a:cubicBezTo>
                  <a:cubicBezTo>
                    <a:pt x="82150" y="2387"/>
                    <a:pt x="91112" y="5374"/>
                    <a:pt x="98580" y="11349"/>
                  </a:cubicBezTo>
                  <a:cubicBezTo>
                    <a:pt x="106048" y="17323"/>
                    <a:pt x="112023" y="26285"/>
                    <a:pt x="115010" y="35247"/>
                  </a:cubicBezTo>
                  <a:cubicBezTo>
                    <a:pt x="115010" y="39728"/>
                    <a:pt x="115010" y="44209"/>
                    <a:pt x="113516" y="47196"/>
                  </a:cubicBezTo>
                  <a:cubicBezTo>
                    <a:pt x="110529" y="54664"/>
                    <a:pt x="101567" y="57651"/>
                    <a:pt x="92605" y="59145"/>
                  </a:cubicBezTo>
                  <a:cubicBezTo>
                    <a:pt x="79163" y="60638"/>
                    <a:pt x="64226" y="57651"/>
                    <a:pt x="52277" y="50183"/>
                  </a:cubicBezTo>
                  <a:cubicBezTo>
                    <a:pt x="49290" y="48690"/>
                    <a:pt x="47796" y="47196"/>
                    <a:pt x="44809" y="45702"/>
                  </a:cubicBezTo>
                  <a:cubicBezTo>
                    <a:pt x="41822" y="44209"/>
                    <a:pt x="38834" y="45702"/>
                    <a:pt x="37341" y="47196"/>
                  </a:cubicBezTo>
                  <a:cubicBezTo>
                    <a:pt x="35847" y="48690"/>
                    <a:pt x="35847" y="50183"/>
                    <a:pt x="35847" y="51677"/>
                  </a:cubicBezTo>
                  <a:cubicBezTo>
                    <a:pt x="34354" y="57651"/>
                    <a:pt x="32860" y="75575"/>
                    <a:pt x="32860" y="75575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6" name="任意多边形: 形状 335"/>
            <p:cNvSpPr/>
            <p:nvPr/>
          </p:nvSpPr>
          <p:spPr>
            <a:xfrm>
              <a:off x="1963253" y="5275002"/>
              <a:ext cx="13633" cy="27267"/>
            </a:xfrm>
            <a:custGeom>
              <a:avLst/>
              <a:gdLst>
                <a:gd name="connsiteX0" fmla="*/ 7468 w 14936"/>
                <a:gd name="connsiteY0" fmla="*/ 0 h 29872"/>
                <a:gd name="connsiteX1" fmla="*/ 14936 w 14936"/>
                <a:gd name="connsiteY1" fmla="*/ 5974 h 29872"/>
                <a:gd name="connsiteX2" fmla="*/ 16430 w 14936"/>
                <a:gd name="connsiteY2" fmla="*/ 17924 h 29872"/>
                <a:gd name="connsiteX3" fmla="*/ 13443 w 14936"/>
                <a:gd name="connsiteY3" fmla="*/ 32860 h 29872"/>
                <a:gd name="connsiteX4" fmla="*/ 10455 w 14936"/>
                <a:gd name="connsiteY4" fmla="*/ 35847 h 29872"/>
                <a:gd name="connsiteX5" fmla="*/ 4481 w 14936"/>
                <a:gd name="connsiteY5" fmla="*/ 34353 h 29872"/>
                <a:gd name="connsiteX6" fmla="*/ 1494 w 14936"/>
                <a:gd name="connsiteY6" fmla="*/ 28379 h 29872"/>
                <a:gd name="connsiteX7" fmla="*/ 0 w 14936"/>
                <a:gd name="connsiteY7" fmla="*/ 10456 h 29872"/>
                <a:gd name="connsiteX8" fmla="*/ 1494 w 14936"/>
                <a:gd name="connsiteY8" fmla="*/ 2987 h 29872"/>
                <a:gd name="connsiteX9" fmla="*/ 7468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7468" y="0"/>
                  </a:moveTo>
                  <a:cubicBezTo>
                    <a:pt x="10455" y="0"/>
                    <a:pt x="13443" y="2987"/>
                    <a:pt x="14936" y="5974"/>
                  </a:cubicBezTo>
                  <a:cubicBezTo>
                    <a:pt x="16430" y="10456"/>
                    <a:pt x="16430" y="13443"/>
                    <a:pt x="16430" y="17924"/>
                  </a:cubicBezTo>
                  <a:cubicBezTo>
                    <a:pt x="16430" y="22405"/>
                    <a:pt x="16430" y="28379"/>
                    <a:pt x="13443" y="32860"/>
                  </a:cubicBezTo>
                  <a:cubicBezTo>
                    <a:pt x="13443" y="34353"/>
                    <a:pt x="11949" y="35847"/>
                    <a:pt x="10455" y="35847"/>
                  </a:cubicBezTo>
                  <a:cubicBezTo>
                    <a:pt x="8962" y="37341"/>
                    <a:pt x="5974" y="35847"/>
                    <a:pt x="4481" y="34353"/>
                  </a:cubicBezTo>
                  <a:cubicBezTo>
                    <a:pt x="2987" y="32860"/>
                    <a:pt x="2987" y="29873"/>
                    <a:pt x="1494" y="28379"/>
                  </a:cubicBezTo>
                  <a:cubicBezTo>
                    <a:pt x="0" y="22405"/>
                    <a:pt x="0" y="16430"/>
                    <a:pt x="0" y="10456"/>
                  </a:cubicBezTo>
                  <a:cubicBezTo>
                    <a:pt x="0" y="7468"/>
                    <a:pt x="0" y="5974"/>
                    <a:pt x="1494" y="2987"/>
                  </a:cubicBezTo>
                  <a:cubicBezTo>
                    <a:pt x="1494" y="1494"/>
                    <a:pt x="4481" y="0"/>
                    <a:pt x="7468" y="0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7" name="任意多边形: 形状 336"/>
            <p:cNvSpPr/>
            <p:nvPr/>
          </p:nvSpPr>
          <p:spPr>
            <a:xfrm>
              <a:off x="2002790" y="5401793"/>
              <a:ext cx="13633" cy="13633"/>
            </a:xfrm>
            <a:custGeom>
              <a:avLst/>
              <a:gdLst>
                <a:gd name="connsiteX0" fmla="*/ 8962 w 0"/>
                <a:gd name="connsiteY0" fmla="*/ 2987 h 0"/>
                <a:gd name="connsiteX1" fmla="*/ 4481 w 0"/>
                <a:gd name="connsiteY1" fmla="*/ 10456 h 0"/>
                <a:gd name="connsiteX2" fmla="*/ 0 w 0"/>
                <a:gd name="connsiteY2" fmla="*/ 7468 h 0"/>
                <a:gd name="connsiteX3" fmla="*/ 4481 w 0"/>
                <a:gd name="connsiteY3" fmla="*/ 0 h 0"/>
                <a:gd name="connsiteX4" fmla="*/ 8962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2987"/>
                  </a:moveTo>
                  <a:cubicBezTo>
                    <a:pt x="8962" y="5975"/>
                    <a:pt x="7468" y="8962"/>
                    <a:pt x="4481" y="10456"/>
                  </a:cubicBezTo>
                  <a:cubicBezTo>
                    <a:pt x="1494" y="11949"/>
                    <a:pt x="0" y="10456"/>
                    <a:pt x="0" y="7468"/>
                  </a:cubicBezTo>
                  <a:cubicBezTo>
                    <a:pt x="0" y="4481"/>
                    <a:pt x="1494" y="1494"/>
                    <a:pt x="4481" y="0"/>
                  </a:cubicBezTo>
                  <a:cubicBezTo>
                    <a:pt x="7468" y="0"/>
                    <a:pt x="8962" y="1494"/>
                    <a:pt x="8962" y="2987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8" name="任意多边形: 形状 337"/>
            <p:cNvSpPr/>
            <p:nvPr/>
          </p:nvSpPr>
          <p:spPr>
            <a:xfrm>
              <a:off x="2008243" y="5461246"/>
              <a:ext cx="13633" cy="13633"/>
            </a:xfrm>
            <a:custGeom>
              <a:avLst/>
              <a:gdLst>
                <a:gd name="connsiteX0" fmla="*/ 8962 w 0"/>
                <a:gd name="connsiteY0" fmla="*/ 3573 h 0"/>
                <a:gd name="connsiteX1" fmla="*/ 4481 w 0"/>
                <a:gd name="connsiteY1" fmla="*/ 11041 h 0"/>
                <a:gd name="connsiteX2" fmla="*/ 0 w 0"/>
                <a:gd name="connsiteY2" fmla="*/ 8054 h 0"/>
                <a:gd name="connsiteX3" fmla="*/ 4481 w 0"/>
                <a:gd name="connsiteY3" fmla="*/ 586 h 0"/>
                <a:gd name="connsiteX4" fmla="*/ 8962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3573"/>
                  </a:moveTo>
                  <a:cubicBezTo>
                    <a:pt x="8962" y="6560"/>
                    <a:pt x="7468" y="9547"/>
                    <a:pt x="4481" y="11041"/>
                  </a:cubicBezTo>
                  <a:cubicBezTo>
                    <a:pt x="1493" y="12535"/>
                    <a:pt x="0" y="11041"/>
                    <a:pt x="0" y="8054"/>
                  </a:cubicBezTo>
                  <a:cubicBezTo>
                    <a:pt x="0" y="5067"/>
                    <a:pt x="1493" y="2079"/>
                    <a:pt x="4481" y="586"/>
                  </a:cubicBezTo>
                  <a:cubicBezTo>
                    <a:pt x="7468" y="-908"/>
                    <a:pt x="8962" y="586"/>
                    <a:pt x="8962" y="3573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9" name="任意多边形: 形状 338"/>
            <p:cNvSpPr/>
            <p:nvPr/>
          </p:nvSpPr>
          <p:spPr>
            <a:xfrm>
              <a:off x="2013697" y="5516315"/>
              <a:ext cx="13633" cy="13633"/>
            </a:xfrm>
            <a:custGeom>
              <a:avLst/>
              <a:gdLst>
                <a:gd name="connsiteX0" fmla="*/ 8962 w 0"/>
                <a:gd name="connsiteY0" fmla="*/ 2987 h 0"/>
                <a:gd name="connsiteX1" fmla="*/ 4481 w 0"/>
                <a:gd name="connsiteY1" fmla="*/ 10455 h 0"/>
                <a:gd name="connsiteX2" fmla="*/ 0 w 0"/>
                <a:gd name="connsiteY2" fmla="*/ 7468 h 0"/>
                <a:gd name="connsiteX3" fmla="*/ 4481 w 0"/>
                <a:gd name="connsiteY3" fmla="*/ 0 h 0"/>
                <a:gd name="connsiteX4" fmla="*/ 8962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2987"/>
                  </a:moveTo>
                  <a:cubicBezTo>
                    <a:pt x="8962" y="5974"/>
                    <a:pt x="7468" y="8961"/>
                    <a:pt x="4481" y="10455"/>
                  </a:cubicBezTo>
                  <a:cubicBezTo>
                    <a:pt x="1494" y="11949"/>
                    <a:pt x="0" y="10455"/>
                    <a:pt x="0" y="7468"/>
                  </a:cubicBezTo>
                  <a:cubicBezTo>
                    <a:pt x="0" y="4481"/>
                    <a:pt x="1494" y="1493"/>
                    <a:pt x="4481" y="0"/>
                  </a:cubicBezTo>
                  <a:cubicBezTo>
                    <a:pt x="5975" y="0"/>
                    <a:pt x="8962" y="1493"/>
                    <a:pt x="8962" y="2987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0" name="任意多边形: 形状 339"/>
            <p:cNvSpPr/>
            <p:nvPr/>
          </p:nvSpPr>
          <p:spPr>
            <a:xfrm>
              <a:off x="2017787" y="5565395"/>
              <a:ext cx="13633" cy="13633"/>
            </a:xfrm>
            <a:custGeom>
              <a:avLst/>
              <a:gdLst>
                <a:gd name="connsiteX0" fmla="*/ 8962 w 0"/>
                <a:gd name="connsiteY0" fmla="*/ 2987 h 0"/>
                <a:gd name="connsiteX1" fmla="*/ 4481 w 0"/>
                <a:gd name="connsiteY1" fmla="*/ 10456 h 0"/>
                <a:gd name="connsiteX2" fmla="*/ 0 w 0"/>
                <a:gd name="connsiteY2" fmla="*/ 7468 h 0"/>
                <a:gd name="connsiteX3" fmla="*/ 4481 w 0"/>
                <a:gd name="connsiteY3" fmla="*/ 0 h 0"/>
                <a:gd name="connsiteX4" fmla="*/ 8962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2987"/>
                  </a:moveTo>
                  <a:cubicBezTo>
                    <a:pt x="8962" y="5975"/>
                    <a:pt x="7468" y="8962"/>
                    <a:pt x="4481" y="10456"/>
                  </a:cubicBezTo>
                  <a:cubicBezTo>
                    <a:pt x="1494" y="11949"/>
                    <a:pt x="0" y="10456"/>
                    <a:pt x="0" y="7468"/>
                  </a:cubicBezTo>
                  <a:cubicBezTo>
                    <a:pt x="0" y="4481"/>
                    <a:pt x="1494" y="1494"/>
                    <a:pt x="4481" y="0"/>
                  </a:cubicBezTo>
                  <a:cubicBezTo>
                    <a:pt x="5974" y="0"/>
                    <a:pt x="8962" y="0"/>
                    <a:pt x="8962" y="2987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1" name="任意多边形: 形状 340"/>
            <p:cNvSpPr/>
            <p:nvPr/>
          </p:nvSpPr>
          <p:spPr>
            <a:xfrm>
              <a:off x="1978250" y="5525858"/>
              <a:ext cx="81801" cy="40900"/>
            </a:xfrm>
            <a:custGeom>
              <a:avLst/>
              <a:gdLst>
                <a:gd name="connsiteX0" fmla="*/ 35847 w 89618"/>
                <a:gd name="connsiteY0" fmla="*/ 52277 h 44809"/>
                <a:gd name="connsiteX1" fmla="*/ 47796 w 89618"/>
                <a:gd name="connsiteY1" fmla="*/ 53771 h 44809"/>
                <a:gd name="connsiteX2" fmla="*/ 55264 w 89618"/>
                <a:gd name="connsiteY2" fmla="*/ 50783 h 44809"/>
                <a:gd name="connsiteX3" fmla="*/ 74682 w 89618"/>
                <a:gd name="connsiteY3" fmla="*/ 41822 h 44809"/>
                <a:gd name="connsiteX4" fmla="*/ 80656 w 89618"/>
                <a:gd name="connsiteY4" fmla="*/ 38835 h 44809"/>
                <a:gd name="connsiteX5" fmla="*/ 89618 w 89618"/>
                <a:gd name="connsiteY5" fmla="*/ 28379 h 44809"/>
                <a:gd name="connsiteX6" fmla="*/ 89618 w 89618"/>
                <a:gd name="connsiteY6" fmla="*/ 23898 h 44809"/>
                <a:gd name="connsiteX7" fmla="*/ 88124 w 89618"/>
                <a:gd name="connsiteY7" fmla="*/ 22405 h 44809"/>
                <a:gd name="connsiteX8" fmla="*/ 77669 w 89618"/>
                <a:gd name="connsiteY8" fmla="*/ 22405 h 44809"/>
                <a:gd name="connsiteX9" fmla="*/ 56758 w 89618"/>
                <a:gd name="connsiteY9" fmla="*/ 20911 h 44809"/>
                <a:gd name="connsiteX10" fmla="*/ 37341 w 89618"/>
                <a:gd name="connsiteY10" fmla="*/ 14936 h 44809"/>
                <a:gd name="connsiteX11" fmla="*/ 52277 w 89618"/>
                <a:gd name="connsiteY11" fmla="*/ 16430 h 44809"/>
                <a:gd name="connsiteX12" fmla="*/ 64226 w 89618"/>
                <a:gd name="connsiteY12" fmla="*/ 7468 h 44809"/>
                <a:gd name="connsiteX13" fmla="*/ 64226 w 89618"/>
                <a:gd name="connsiteY13" fmla="*/ 5974 h 44809"/>
                <a:gd name="connsiteX14" fmla="*/ 64226 w 89618"/>
                <a:gd name="connsiteY14" fmla="*/ 4481 h 44809"/>
                <a:gd name="connsiteX15" fmla="*/ 56758 w 89618"/>
                <a:gd name="connsiteY15" fmla="*/ 1494 h 44809"/>
                <a:gd name="connsiteX16" fmla="*/ 50783 w 89618"/>
                <a:gd name="connsiteY16" fmla="*/ 2987 h 44809"/>
                <a:gd name="connsiteX17" fmla="*/ 43315 w 89618"/>
                <a:gd name="connsiteY17" fmla="*/ 1494 h 44809"/>
                <a:gd name="connsiteX18" fmla="*/ 10455 w 89618"/>
                <a:gd name="connsiteY18" fmla="*/ 5974 h 44809"/>
                <a:gd name="connsiteX19" fmla="*/ 5974 w 89618"/>
                <a:gd name="connsiteY19" fmla="*/ 8962 h 44809"/>
                <a:gd name="connsiteX20" fmla="*/ 0 w 89618"/>
                <a:gd name="connsiteY20" fmla="*/ 22405 h 44809"/>
                <a:gd name="connsiteX21" fmla="*/ 0 w 89618"/>
                <a:gd name="connsiteY21" fmla="*/ 25392 h 44809"/>
                <a:gd name="connsiteX22" fmla="*/ 1493 w 89618"/>
                <a:gd name="connsiteY22" fmla="*/ 28379 h 44809"/>
                <a:gd name="connsiteX23" fmla="*/ 16430 w 89618"/>
                <a:gd name="connsiteY23" fmla="*/ 43315 h 44809"/>
                <a:gd name="connsiteX24" fmla="*/ 35847 w 89618"/>
                <a:gd name="connsiteY24" fmla="*/ 52277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9618" h="44809">
                  <a:moveTo>
                    <a:pt x="35847" y="52277"/>
                  </a:moveTo>
                  <a:cubicBezTo>
                    <a:pt x="40328" y="53771"/>
                    <a:pt x="43315" y="53771"/>
                    <a:pt x="47796" y="53771"/>
                  </a:cubicBezTo>
                  <a:cubicBezTo>
                    <a:pt x="50783" y="53771"/>
                    <a:pt x="53771" y="52277"/>
                    <a:pt x="55264" y="50783"/>
                  </a:cubicBezTo>
                  <a:cubicBezTo>
                    <a:pt x="61239" y="47796"/>
                    <a:pt x="68707" y="44809"/>
                    <a:pt x="74682" y="41822"/>
                  </a:cubicBezTo>
                  <a:cubicBezTo>
                    <a:pt x="76175" y="40328"/>
                    <a:pt x="79162" y="40328"/>
                    <a:pt x="80656" y="38835"/>
                  </a:cubicBezTo>
                  <a:cubicBezTo>
                    <a:pt x="85137" y="35847"/>
                    <a:pt x="88124" y="32860"/>
                    <a:pt x="89618" y="28379"/>
                  </a:cubicBezTo>
                  <a:cubicBezTo>
                    <a:pt x="89618" y="26886"/>
                    <a:pt x="91112" y="25392"/>
                    <a:pt x="89618" y="23898"/>
                  </a:cubicBezTo>
                  <a:cubicBezTo>
                    <a:pt x="89618" y="23898"/>
                    <a:pt x="88124" y="22405"/>
                    <a:pt x="88124" y="22405"/>
                  </a:cubicBezTo>
                  <a:cubicBezTo>
                    <a:pt x="85137" y="20911"/>
                    <a:pt x="80656" y="20911"/>
                    <a:pt x="77669" y="22405"/>
                  </a:cubicBezTo>
                  <a:cubicBezTo>
                    <a:pt x="70201" y="23898"/>
                    <a:pt x="64226" y="22405"/>
                    <a:pt x="56758" y="20911"/>
                  </a:cubicBezTo>
                  <a:cubicBezTo>
                    <a:pt x="50783" y="19418"/>
                    <a:pt x="43315" y="16430"/>
                    <a:pt x="37341" y="14936"/>
                  </a:cubicBezTo>
                  <a:cubicBezTo>
                    <a:pt x="41822" y="16430"/>
                    <a:pt x="47796" y="17924"/>
                    <a:pt x="52277" y="16430"/>
                  </a:cubicBezTo>
                  <a:cubicBezTo>
                    <a:pt x="56758" y="16430"/>
                    <a:pt x="62733" y="13443"/>
                    <a:pt x="64226" y="7468"/>
                  </a:cubicBezTo>
                  <a:cubicBezTo>
                    <a:pt x="64226" y="7468"/>
                    <a:pt x="64226" y="5974"/>
                    <a:pt x="64226" y="5974"/>
                  </a:cubicBezTo>
                  <a:cubicBezTo>
                    <a:pt x="64226" y="5974"/>
                    <a:pt x="64226" y="5974"/>
                    <a:pt x="64226" y="4481"/>
                  </a:cubicBezTo>
                  <a:cubicBezTo>
                    <a:pt x="62733" y="2987"/>
                    <a:pt x="59745" y="1494"/>
                    <a:pt x="56758" y="1494"/>
                  </a:cubicBezTo>
                  <a:cubicBezTo>
                    <a:pt x="55264" y="1494"/>
                    <a:pt x="52277" y="2987"/>
                    <a:pt x="50783" y="2987"/>
                  </a:cubicBezTo>
                  <a:cubicBezTo>
                    <a:pt x="47796" y="2987"/>
                    <a:pt x="44809" y="2987"/>
                    <a:pt x="43315" y="1494"/>
                  </a:cubicBezTo>
                  <a:cubicBezTo>
                    <a:pt x="32860" y="-1494"/>
                    <a:pt x="20911" y="0"/>
                    <a:pt x="10455" y="5974"/>
                  </a:cubicBezTo>
                  <a:cubicBezTo>
                    <a:pt x="8962" y="7468"/>
                    <a:pt x="7468" y="7468"/>
                    <a:pt x="5974" y="8962"/>
                  </a:cubicBezTo>
                  <a:cubicBezTo>
                    <a:pt x="2987" y="11949"/>
                    <a:pt x="0" y="17924"/>
                    <a:pt x="0" y="22405"/>
                  </a:cubicBezTo>
                  <a:cubicBezTo>
                    <a:pt x="0" y="23898"/>
                    <a:pt x="0" y="25392"/>
                    <a:pt x="0" y="25392"/>
                  </a:cubicBezTo>
                  <a:cubicBezTo>
                    <a:pt x="0" y="26886"/>
                    <a:pt x="0" y="26886"/>
                    <a:pt x="1493" y="28379"/>
                  </a:cubicBezTo>
                  <a:cubicBezTo>
                    <a:pt x="4481" y="34354"/>
                    <a:pt x="10455" y="40328"/>
                    <a:pt x="16430" y="43315"/>
                  </a:cubicBezTo>
                  <a:cubicBezTo>
                    <a:pt x="22405" y="47796"/>
                    <a:pt x="29873" y="50783"/>
                    <a:pt x="35847" y="52277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2" name="任意多边形: 形状 341"/>
            <p:cNvSpPr/>
            <p:nvPr/>
          </p:nvSpPr>
          <p:spPr>
            <a:xfrm>
              <a:off x="2000064" y="5504045"/>
              <a:ext cx="163602" cy="54534"/>
            </a:xfrm>
            <a:custGeom>
              <a:avLst/>
              <a:gdLst>
                <a:gd name="connsiteX0" fmla="*/ 2987 w 179236"/>
                <a:gd name="connsiteY0" fmla="*/ 28379 h 59745"/>
                <a:gd name="connsiteX1" fmla="*/ 32860 w 179236"/>
                <a:gd name="connsiteY1" fmla="*/ 46303 h 59745"/>
                <a:gd name="connsiteX2" fmla="*/ 32860 w 179236"/>
                <a:gd name="connsiteY2" fmla="*/ 46303 h 59745"/>
                <a:gd name="connsiteX3" fmla="*/ 56758 w 179236"/>
                <a:gd name="connsiteY3" fmla="*/ 59745 h 59745"/>
                <a:gd name="connsiteX4" fmla="*/ 56758 w 179236"/>
                <a:gd name="connsiteY4" fmla="*/ 59745 h 59745"/>
                <a:gd name="connsiteX5" fmla="*/ 68707 w 179236"/>
                <a:gd name="connsiteY5" fmla="*/ 67214 h 59745"/>
                <a:gd name="connsiteX6" fmla="*/ 77669 w 179236"/>
                <a:gd name="connsiteY6" fmla="*/ 67214 h 59745"/>
                <a:gd name="connsiteX7" fmla="*/ 189692 w 179236"/>
                <a:gd name="connsiteY7" fmla="*/ 2987 h 59745"/>
                <a:gd name="connsiteX8" fmla="*/ 191185 w 179236"/>
                <a:gd name="connsiteY8" fmla="*/ 0 h 59745"/>
                <a:gd name="connsiteX9" fmla="*/ 191185 w 179236"/>
                <a:gd name="connsiteY9" fmla="*/ 4481 h 59745"/>
                <a:gd name="connsiteX10" fmla="*/ 191185 w 179236"/>
                <a:gd name="connsiteY10" fmla="*/ 4481 h 59745"/>
                <a:gd name="connsiteX11" fmla="*/ 191185 w 179236"/>
                <a:gd name="connsiteY11" fmla="*/ 4481 h 59745"/>
                <a:gd name="connsiteX12" fmla="*/ 191185 w 179236"/>
                <a:gd name="connsiteY12" fmla="*/ 4481 h 59745"/>
                <a:gd name="connsiteX13" fmla="*/ 189692 w 179236"/>
                <a:gd name="connsiteY13" fmla="*/ 7468 h 59745"/>
                <a:gd name="connsiteX14" fmla="*/ 112023 w 179236"/>
                <a:gd name="connsiteY14" fmla="*/ 52277 h 59745"/>
                <a:gd name="connsiteX15" fmla="*/ 112023 w 179236"/>
                <a:gd name="connsiteY15" fmla="*/ 50784 h 59745"/>
                <a:gd name="connsiteX16" fmla="*/ 112023 w 179236"/>
                <a:gd name="connsiteY16" fmla="*/ 50784 h 59745"/>
                <a:gd name="connsiteX17" fmla="*/ 112023 w 179236"/>
                <a:gd name="connsiteY17" fmla="*/ 50784 h 59745"/>
                <a:gd name="connsiteX18" fmla="*/ 112023 w 179236"/>
                <a:gd name="connsiteY18" fmla="*/ 50784 h 59745"/>
                <a:gd name="connsiteX19" fmla="*/ 110529 w 179236"/>
                <a:gd name="connsiteY19" fmla="*/ 50784 h 59745"/>
                <a:gd name="connsiteX20" fmla="*/ 110529 w 179236"/>
                <a:gd name="connsiteY20" fmla="*/ 50784 h 59745"/>
                <a:gd name="connsiteX21" fmla="*/ 109035 w 179236"/>
                <a:gd name="connsiteY21" fmla="*/ 50784 h 59745"/>
                <a:gd name="connsiteX22" fmla="*/ 100073 w 179236"/>
                <a:gd name="connsiteY22" fmla="*/ 56758 h 59745"/>
                <a:gd name="connsiteX23" fmla="*/ 98580 w 179236"/>
                <a:gd name="connsiteY23" fmla="*/ 58252 h 59745"/>
                <a:gd name="connsiteX24" fmla="*/ 98580 w 179236"/>
                <a:gd name="connsiteY24" fmla="*/ 58252 h 59745"/>
                <a:gd name="connsiteX25" fmla="*/ 98580 w 179236"/>
                <a:gd name="connsiteY25" fmla="*/ 58252 h 59745"/>
                <a:gd name="connsiteX26" fmla="*/ 98580 w 179236"/>
                <a:gd name="connsiteY26" fmla="*/ 58252 h 59745"/>
                <a:gd name="connsiteX27" fmla="*/ 100073 w 179236"/>
                <a:gd name="connsiteY27" fmla="*/ 58252 h 59745"/>
                <a:gd name="connsiteX28" fmla="*/ 100073 w 179236"/>
                <a:gd name="connsiteY28" fmla="*/ 58252 h 59745"/>
                <a:gd name="connsiteX29" fmla="*/ 100073 w 179236"/>
                <a:gd name="connsiteY29" fmla="*/ 58252 h 59745"/>
                <a:gd name="connsiteX30" fmla="*/ 97086 w 179236"/>
                <a:gd name="connsiteY30" fmla="*/ 59745 h 59745"/>
                <a:gd name="connsiteX31" fmla="*/ 97086 w 179236"/>
                <a:gd name="connsiteY31" fmla="*/ 58252 h 59745"/>
                <a:gd name="connsiteX32" fmla="*/ 97086 w 179236"/>
                <a:gd name="connsiteY32" fmla="*/ 58252 h 59745"/>
                <a:gd name="connsiteX33" fmla="*/ 97086 w 179236"/>
                <a:gd name="connsiteY33" fmla="*/ 58252 h 59745"/>
                <a:gd name="connsiteX34" fmla="*/ 97086 w 179236"/>
                <a:gd name="connsiteY34" fmla="*/ 58252 h 59745"/>
                <a:gd name="connsiteX35" fmla="*/ 97086 w 179236"/>
                <a:gd name="connsiteY35" fmla="*/ 58252 h 59745"/>
                <a:gd name="connsiteX36" fmla="*/ 97086 w 179236"/>
                <a:gd name="connsiteY36" fmla="*/ 58252 h 59745"/>
                <a:gd name="connsiteX37" fmla="*/ 95593 w 179236"/>
                <a:gd name="connsiteY37" fmla="*/ 58252 h 59745"/>
                <a:gd name="connsiteX38" fmla="*/ 94099 w 179236"/>
                <a:gd name="connsiteY38" fmla="*/ 58252 h 59745"/>
                <a:gd name="connsiteX39" fmla="*/ 86631 w 179236"/>
                <a:gd name="connsiteY39" fmla="*/ 62733 h 59745"/>
                <a:gd name="connsiteX40" fmla="*/ 85137 w 179236"/>
                <a:gd name="connsiteY40" fmla="*/ 64227 h 59745"/>
                <a:gd name="connsiteX41" fmla="*/ 85137 w 179236"/>
                <a:gd name="connsiteY41" fmla="*/ 64227 h 59745"/>
                <a:gd name="connsiteX42" fmla="*/ 85137 w 179236"/>
                <a:gd name="connsiteY42" fmla="*/ 64227 h 59745"/>
                <a:gd name="connsiteX43" fmla="*/ 86631 w 179236"/>
                <a:gd name="connsiteY43" fmla="*/ 64227 h 59745"/>
                <a:gd name="connsiteX44" fmla="*/ 86631 w 179236"/>
                <a:gd name="connsiteY44" fmla="*/ 64227 h 59745"/>
                <a:gd name="connsiteX45" fmla="*/ 86631 w 179236"/>
                <a:gd name="connsiteY45" fmla="*/ 64227 h 59745"/>
                <a:gd name="connsiteX46" fmla="*/ 76175 w 179236"/>
                <a:gd name="connsiteY46" fmla="*/ 70201 h 59745"/>
                <a:gd name="connsiteX47" fmla="*/ 67214 w 179236"/>
                <a:gd name="connsiteY47" fmla="*/ 70201 h 59745"/>
                <a:gd name="connsiteX48" fmla="*/ 49290 w 179236"/>
                <a:gd name="connsiteY48" fmla="*/ 59745 h 59745"/>
                <a:gd name="connsiteX49" fmla="*/ 31366 w 179236"/>
                <a:gd name="connsiteY49" fmla="*/ 49290 h 59745"/>
                <a:gd name="connsiteX50" fmla="*/ 1494 w 179236"/>
                <a:gd name="connsiteY50" fmla="*/ 31366 h 59745"/>
                <a:gd name="connsiteX51" fmla="*/ 0 w 179236"/>
                <a:gd name="connsiteY51" fmla="*/ 28379 h 59745"/>
                <a:gd name="connsiteX52" fmla="*/ 0 w 179236"/>
                <a:gd name="connsiteY52" fmla="*/ 28379 h 59745"/>
                <a:gd name="connsiteX53" fmla="*/ 0 w 179236"/>
                <a:gd name="connsiteY53" fmla="*/ 28379 h 59745"/>
                <a:gd name="connsiteX54" fmla="*/ 0 w 179236"/>
                <a:gd name="connsiteY54" fmla="*/ 28379 h 59745"/>
                <a:gd name="connsiteX55" fmla="*/ 0 w 179236"/>
                <a:gd name="connsiteY55" fmla="*/ 23898 h 59745"/>
                <a:gd name="connsiteX56" fmla="*/ 2987 w 179236"/>
                <a:gd name="connsiteY56" fmla="*/ 28379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79236" h="59745">
                  <a:moveTo>
                    <a:pt x="2987" y="28379"/>
                  </a:moveTo>
                  <a:lnTo>
                    <a:pt x="32860" y="46303"/>
                  </a:lnTo>
                  <a:lnTo>
                    <a:pt x="32860" y="46303"/>
                  </a:lnTo>
                  <a:lnTo>
                    <a:pt x="56758" y="59745"/>
                  </a:lnTo>
                  <a:lnTo>
                    <a:pt x="56758" y="59745"/>
                  </a:lnTo>
                  <a:lnTo>
                    <a:pt x="68707" y="67214"/>
                  </a:lnTo>
                  <a:cubicBezTo>
                    <a:pt x="71694" y="68707"/>
                    <a:pt x="74682" y="68707"/>
                    <a:pt x="77669" y="67214"/>
                  </a:cubicBezTo>
                  <a:lnTo>
                    <a:pt x="189692" y="2987"/>
                  </a:lnTo>
                  <a:cubicBezTo>
                    <a:pt x="191185" y="2987"/>
                    <a:pt x="191185" y="1494"/>
                    <a:pt x="191185" y="0"/>
                  </a:cubicBezTo>
                  <a:lnTo>
                    <a:pt x="191185" y="4481"/>
                  </a:lnTo>
                  <a:lnTo>
                    <a:pt x="191185" y="4481"/>
                  </a:lnTo>
                  <a:lnTo>
                    <a:pt x="191185" y="4481"/>
                  </a:lnTo>
                  <a:lnTo>
                    <a:pt x="191185" y="4481"/>
                  </a:lnTo>
                  <a:cubicBezTo>
                    <a:pt x="191185" y="5975"/>
                    <a:pt x="191185" y="5975"/>
                    <a:pt x="189692" y="7468"/>
                  </a:cubicBezTo>
                  <a:lnTo>
                    <a:pt x="112023" y="52277"/>
                  </a:lnTo>
                  <a:cubicBezTo>
                    <a:pt x="112023" y="52277"/>
                    <a:pt x="112023" y="50784"/>
                    <a:pt x="112023" y="50784"/>
                  </a:cubicBezTo>
                  <a:lnTo>
                    <a:pt x="112023" y="50784"/>
                  </a:lnTo>
                  <a:cubicBezTo>
                    <a:pt x="112023" y="50784"/>
                    <a:pt x="112023" y="50784"/>
                    <a:pt x="112023" y="50784"/>
                  </a:cubicBezTo>
                  <a:lnTo>
                    <a:pt x="112023" y="50784"/>
                  </a:lnTo>
                  <a:lnTo>
                    <a:pt x="110529" y="50784"/>
                  </a:lnTo>
                  <a:lnTo>
                    <a:pt x="110529" y="50784"/>
                  </a:lnTo>
                  <a:cubicBezTo>
                    <a:pt x="110529" y="50784"/>
                    <a:pt x="110529" y="50784"/>
                    <a:pt x="109035" y="50784"/>
                  </a:cubicBezTo>
                  <a:lnTo>
                    <a:pt x="100073" y="56758"/>
                  </a:lnTo>
                  <a:cubicBezTo>
                    <a:pt x="100073" y="56758"/>
                    <a:pt x="98580" y="58252"/>
                    <a:pt x="98580" y="58252"/>
                  </a:cubicBezTo>
                  <a:lnTo>
                    <a:pt x="98580" y="58252"/>
                  </a:lnTo>
                  <a:cubicBezTo>
                    <a:pt x="98580" y="58252"/>
                    <a:pt x="98580" y="58252"/>
                    <a:pt x="98580" y="58252"/>
                  </a:cubicBezTo>
                  <a:lnTo>
                    <a:pt x="98580" y="58252"/>
                  </a:lnTo>
                  <a:lnTo>
                    <a:pt x="100073" y="58252"/>
                  </a:lnTo>
                  <a:lnTo>
                    <a:pt x="100073" y="58252"/>
                  </a:lnTo>
                  <a:cubicBezTo>
                    <a:pt x="100073" y="58252"/>
                    <a:pt x="100073" y="58252"/>
                    <a:pt x="100073" y="58252"/>
                  </a:cubicBezTo>
                  <a:lnTo>
                    <a:pt x="97086" y="59745"/>
                  </a:lnTo>
                  <a:cubicBezTo>
                    <a:pt x="97086" y="59745"/>
                    <a:pt x="97086" y="58252"/>
                    <a:pt x="97086" y="58252"/>
                  </a:cubicBezTo>
                  <a:lnTo>
                    <a:pt x="97086" y="58252"/>
                  </a:lnTo>
                  <a:cubicBezTo>
                    <a:pt x="97086" y="58252"/>
                    <a:pt x="97086" y="58252"/>
                    <a:pt x="97086" y="58252"/>
                  </a:cubicBezTo>
                  <a:lnTo>
                    <a:pt x="97086" y="58252"/>
                  </a:lnTo>
                  <a:lnTo>
                    <a:pt x="97086" y="58252"/>
                  </a:lnTo>
                  <a:lnTo>
                    <a:pt x="97086" y="58252"/>
                  </a:lnTo>
                  <a:lnTo>
                    <a:pt x="95593" y="58252"/>
                  </a:lnTo>
                  <a:cubicBezTo>
                    <a:pt x="95593" y="58252"/>
                    <a:pt x="95593" y="58252"/>
                    <a:pt x="94099" y="58252"/>
                  </a:cubicBezTo>
                  <a:lnTo>
                    <a:pt x="86631" y="62733"/>
                  </a:lnTo>
                  <a:cubicBezTo>
                    <a:pt x="86631" y="62733"/>
                    <a:pt x="85137" y="64227"/>
                    <a:pt x="85137" y="64227"/>
                  </a:cubicBezTo>
                  <a:lnTo>
                    <a:pt x="85137" y="64227"/>
                  </a:lnTo>
                  <a:cubicBezTo>
                    <a:pt x="85137" y="64227"/>
                    <a:pt x="85137" y="64227"/>
                    <a:pt x="85137" y="64227"/>
                  </a:cubicBezTo>
                  <a:lnTo>
                    <a:pt x="86631" y="64227"/>
                  </a:lnTo>
                  <a:lnTo>
                    <a:pt x="86631" y="64227"/>
                  </a:lnTo>
                  <a:cubicBezTo>
                    <a:pt x="86631" y="64227"/>
                    <a:pt x="86631" y="64227"/>
                    <a:pt x="86631" y="64227"/>
                  </a:cubicBezTo>
                  <a:lnTo>
                    <a:pt x="76175" y="70201"/>
                  </a:lnTo>
                  <a:cubicBezTo>
                    <a:pt x="73188" y="71695"/>
                    <a:pt x="70201" y="71695"/>
                    <a:pt x="67214" y="70201"/>
                  </a:cubicBezTo>
                  <a:lnTo>
                    <a:pt x="49290" y="59745"/>
                  </a:lnTo>
                  <a:lnTo>
                    <a:pt x="31366" y="49290"/>
                  </a:lnTo>
                  <a:lnTo>
                    <a:pt x="1494" y="31366"/>
                  </a:lnTo>
                  <a:cubicBezTo>
                    <a:pt x="0" y="31366"/>
                    <a:pt x="0" y="29873"/>
                    <a:pt x="0" y="28379"/>
                  </a:cubicBezTo>
                  <a:lnTo>
                    <a:pt x="0" y="28379"/>
                  </a:lnTo>
                  <a:lnTo>
                    <a:pt x="0" y="28379"/>
                  </a:lnTo>
                  <a:lnTo>
                    <a:pt x="0" y="28379"/>
                  </a:lnTo>
                  <a:lnTo>
                    <a:pt x="0" y="23898"/>
                  </a:lnTo>
                  <a:cubicBezTo>
                    <a:pt x="1494" y="26886"/>
                    <a:pt x="1494" y="26886"/>
                    <a:pt x="2987" y="28379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3" name="任意多边形: 形状 342"/>
            <p:cNvSpPr/>
            <p:nvPr/>
          </p:nvSpPr>
          <p:spPr>
            <a:xfrm>
              <a:off x="2174572" y="5504045"/>
              <a:ext cx="13633" cy="13633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4" name="任意多边形: 形状 343"/>
            <p:cNvSpPr/>
            <p:nvPr/>
          </p:nvSpPr>
          <p:spPr>
            <a:xfrm>
              <a:off x="2001427" y="5527222"/>
              <a:ext cx="13633" cy="13633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5" name="任意多边形: 形状 344"/>
            <p:cNvSpPr/>
            <p:nvPr/>
          </p:nvSpPr>
          <p:spPr>
            <a:xfrm>
              <a:off x="2000064" y="5464849"/>
              <a:ext cx="163602" cy="95434"/>
            </a:xfrm>
            <a:custGeom>
              <a:avLst/>
              <a:gdLst>
                <a:gd name="connsiteX0" fmla="*/ 122478 w 179236"/>
                <a:gd name="connsiteY0" fmla="*/ 1120 h 104554"/>
                <a:gd name="connsiteX1" fmla="*/ 113516 w 179236"/>
                <a:gd name="connsiteY1" fmla="*/ 1120 h 104554"/>
                <a:gd name="connsiteX2" fmla="*/ 1494 w 179236"/>
                <a:gd name="connsiteY2" fmla="*/ 65346 h 104554"/>
                <a:gd name="connsiteX3" fmla="*/ 0 w 179236"/>
                <a:gd name="connsiteY3" fmla="*/ 68334 h 104554"/>
                <a:gd name="connsiteX4" fmla="*/ 0 w 179236"/>
                <a:gd name="connsiteY4" fmla="*/ 68334 h 104554"/>
                <a:gd name="connsiteX5" fmla="*/ 0 w 179236"/>
                <a:gd name="connsiteY5" fmla="*/ 68334 h 104554"/>
                <a:gd name="connsiteX6" fmla="*/ 1494 w 179236"/>
                <a:gd name="connsiteY6" fmla="*/ 71321 h 104554"/>
                <a:gd name="connsiteX7" fmla="*/ 31366 w 179236"/>
                <a:gd name="connsiteY7" fmla="*/ 89245 h 104554"/>
                <a:gd name="connsiteX8" fmla="*/ 32860 w 179236"/>
                <a:gd name="connsiteY8" fmla="*/ 89245 h 104554"/>
                <a:gd name="connsiteX9" fmla="*/ 41822 w 179236"/>
                <a:gd name="connsiteY9" fmla="*/ 89245 h 104554"/>
                <a:gd name="connsiteX10" fmla="*/ 56758 w 179236"/>
                <a:gd name="connsiteY10" fmla="*/ 98207 h 104554"/>
                <a:gd name="connsiteX11" fmla="*/ 56758 w 179236"/>
                <a:gd name="connsiteY11" fmla="*/ 102687 h 104554"/>
                <a:gd name="connsiteX12" fmla="*/ 55264 w 179236"/>
                <a:gd name="connsiteY12" fmla="*/ 102687 h 104554"/>
                <a:gd name="connsiteX13" fmla="*/ 67214 w 179236"/>
                <a:gd name="connsiteY13" fmla="*/ 110155 h 104554"/>
                <a:gd name="connsiteX14" fmla="*/ 76175 w 179236"/>
                <a:gd name="connsiteY14" fmla="*/ 110155 h 104554"/>
                <a:gd name="connsiteX15" fmla="*/ 188198 w 179236"/>
                <a:gd name="connsiteY15" fmla="*/ 45929 h 104554"/>
                <a:gd name="connsiteX16" fmla="*/ 189692 w 179236"/>
                <a:gd name="connsiteY16" fmla="*/ 42942 h 104554"/>
                <a:gd name="connsiteX17" fmla="*/ 189692 w 179236"/>
                <a:gd name="connsiteY17" fmla="*/ 42942 h 104554"/>
                <a:gd name="connsiteX18" fmla="*/ 189692 w 179236"/>
                <a:gd name="connsiteY18" fmla="*/ 42942 h 104554"/>
                <a:gd name="connsiteX19" fmla="*/ 188198 w 179236"/>
                <a:gd name="connsiteY19" fmla="*/ 39955 h 104554"/>
                <a:gd name="connsiteX20" fmla="*/ 161313 w 179236"/>
                <a:gd name="connsiteY20" fmla="*/ 25019 h 104554"/>
                <a:gd name="connsiteX21" fmla="*/ 176249 w 179236"/>
                <a:gd name="connsiteY21" fmla="*/ 33980 h 104554"/>
                <a:gd name="connsiteX22" fmla="*/ 174755 w 179236"/>
                <a:gd name="connsiteY22" fmla="*/ 33980 h 104554"/>
                <a:gd name="connsiteX23" fmla="*/ 165794 w 179236"/>
                <a:gd name="connsiteY23" fmla="*/ 33980 h 104554"/>
                <a:gd name="connsiteX24" fmla="*/ 150857 w 179236"/>
                <a:gd name="connsiteY24" fmla="*/ 25019 h 104554"/>
                <a:gd name="connsiteX25" fmla="*/ 150857 w 179236"/>
                <a:gd name="connsiteY25" fmla="*/ 20537 h 104554"/>
                <a:gd name="connsiteX26" fmla="*/ 152351 w 179236"/>
                <a:gd name="connsiteY26" fmla="*/ 20537 h 104554"/>
                <a:gd name="connsiteX27" fmla="*/ 122478 w 179236"/>
                <a:gd name="connsiteY27" fmla="*/ 1120 h 104554"/>
                <a:gd name="connsiteX28" fmla="*/ 128453 w 179236"/>
                <a:gd name="connsiteY28" fmla="*/ 75802 h 104554"/>
                <a:gd name="connsiteX29" fmla="*/ 128453 w 179236"/>
                <a:gd name="connsiteY29" fmla="*/ 74308 h 104554"/>
                <a:gd name="connsiteX30" fmla="*/ 131440 w 179236"/>
                <a:gd name="connsiteY30" fmla="*/ 74308 h 104554"/>
                <a:gd name="connsiteX31" fmla="*/ 131440 w 179236"/>
                <a:gd name="connsiteY31" fmla="*/ 75802 h 104554"/>
                <a:gd name="connsiteX32" fmla="*/ 128453 w 179236"/>
                <a:gd name="connsiteY32" fmla="*/ 75802 h 104554"/>
                <a:gd name="connsiteX33" fmla="*/ 73188 w 179236"/>
                <a:gd name="connsiteY33" fmla="*/ 101194 h 104554"/>
                <a:gd name="connsiteX34" fmla="*/ 17924 w 179236"/>
                <a:gd name="connsiteY34" fmla="*/ 68334 h 104554"/>
                <a:gd name="connsiteX35" fmla="*/ 17924 w 179236"/>
                <a:gd name="connsiteY35" fmla="*/ 65346 h 104554"/>
                <a:gd name="connsiteX36" fmla="*/ 115010 w 179236"/>
                <a:gd name="connsiteY36" fmla="*/ 10082 h 104554"/>
                <a:gd name="connsiteX37" fmla="*/ 120984 w 179236"/>
                <a:gd name="connsiteY37" fmla="*/ 10082 h 104554"/>
                <a:gd name="connsiteX38" fmla="*/ 176249 w 179236"/>
                <a:gd name="connsiteY38" fmla="*/ 42942 h 104554"/>
                <a:gd name="connsiteX39" fmla="*/ 176249 w 179236"/>
                <a:gd name="connsiteY39" fmla="*/ 45929 h 104554"/>
                <a:gd name="connsiteX40" fmla="*/ 79163 w 179236"/>
                <a:gd name="connsiteY40" fmla="*/ 101194 h 104554"/>
                <a:gd name="connsiteX41" fmla="*/ 73188 w 179236"/>
                <a:gd name="connsiteY41" fmla="*/ 101194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79236" h="104554">
                  <a:moveTo>
                    <a:pt x="122478" y="1120"/>
                  </a:moveTo>
                  <a:cubicBezTo>
                    <a:pt x="119491" y="-373"/>
                    <a:pt x="116504" y="-373"/>
                    <a:pt x="113516" y="1120"/>
                  </a:cubicBezTo>
                  <a:lnTo>
                    <a:pt x="1494" y="65346"/>
                  </a:lnTo>
                  <a:cubicBezTo>
                    <a:pt x="0" y="65346"/>
                    <a:pt x="0" y="66840"/>
                    <a:pt x="0" y="68334"/>
                  </a:cubicBezTo>
                  <a:cubicBezTo>
                    <a:pt x="0" y="68334"/>
                    <a:pt x="0" y="68334"/>
                    <a:pt x="0" y="68334"/>
                  </a:cubicBezTo>
                  <a:cubicBezTo>
                    <a:pt x="0" y="68334"/>
                    <a:pt x="0" y="68334"/>
                    <a:pt x="0" y="68334"/>
                  </a:cubicBezTo>
                  <a:cubicBezTo>
                    <a:pt x="0" y="69828"/>
                    <a:pt x="0" y="69828"/>
                    <a:pt x="1494" y="71321"/>
                  </a:cubicBezTo>
                  <a:lnTo>
                    <a:pt x="31366" y="89245"/>
                  </a:lnTo>
                  <a:lnTo>
                    <a:pt x="32860" y="89245"/>
                  </a:lnTo>
                  <a:cubicBezTo>
                    <a:pt x="35847" y="87751"/>
                    <a:pt x="38835" y="87751"/>
                    <a:pt x="41822" y="89245"/>
                  </a:cubicBezTo>
                  <a:lnTo>
                    <a:pt x="56758" y="98207"/>
                  </a:lnTo>
                  <a:cubicBezTo>
                    <a:pt x="59745" y="99700"/>
                    <a:pt x="59745" y="101194"/>
                    <a:pt x="56758" y="102687"/>
                  </a:cubicBezTo>
                  <a:lnTo>
                    <a:pt x="55264" y="102687"/>
                  </a:lnTo>
                  <a:lnTo>
                    <a:pt x="67214" y="110155"/>
                  </a:lnTo>
                  <a:cubicBezTo>
                    <a:pt x="70201" y="111649"/>
                    <a:pt x="73188" y="111649"/>
                    <a:pt x="76175" y="110155"/>
                  </a:cubicBezTo>
                  <a:lnTo>
                    <a:pt x="188198" y="45929"/>
                  </a:lnTo>
                  <a:cubicBezTo>
                    <a:pt x="189692" y="45929"/>
                    <a:pt x="189692" y="44436"/>
                    <a:pt x="189692" y="42942"/>
                  </a:cubicBezTo>
                  <a:cubicBezTo>
                    <a:pt x="189692" y="42942"/>
                    <a:pt x="189692" y="42942"/>
                    <a:pt x="189692" y="42942"/>
                  </a:cubicBezTo>
                  <a:cubicBezTo>
                    <a:pt x="189692" y="42942"/>
                    <a:pt x="189692" y="42942"/>
                    <a:pt x="189692" y="42942"/>
                  </a:cubicBezTo>
                  <a:cubicBezTo>
                    <a:pt x="189692" y="41449"/>
                    <a:pt x="189692" y="41449"/>
                    <a:pt x="188198" y="39955"/>
                  </a:cubicBezTo>
                  <a:lnTo>
                    <a:pt x="161313" y="25019"/>
                  </a:lnTo>
                  <a:lnTo>
                    <a:pt x="176249" y="33980"/>
                  </a:lnTo>
                  <a:lnTo>
                    <a:pt x="174755" y="33980"/>
                  </a:lnTo>
                  <a:cubicBezTo>
                    <a:pt x="171768" y="35474"/>
                    <a:pt x="168781" y="35474"/>
                    <a:pt x="165794" y="33980"/>
                  </a:cubicBezTo>
                  <a:lnTo>
                    <a:pt x="150857" y="25019"/>
                  </a:lnTo>
                  <a:cubicBezTo>
                    <a:pt x="147870" y="23525"/>
                    <a:pt x="147870" y="22031"/>
                    <a:pt x="150857" y="20537"/>
                  </a:cubicBezTo>
                  <a:lnTo>
                    <a:pt x="152351" y="20537"/>
                  </a:lnTo>
                  <a:lnTo>
                    <a:pt x="122478" y="1120"/>
                  </a:lnTo>
                  <a:close/>
                  <a:moveTo>
                    <a:pt x="128453" y="75802"/>
                  </a:moveTo>
                  <a:cubicBezTo>
                    <a:pt x="126959" y="75802"/>
                    <a:pt x="126959" y="74308"/>
                    <a:pt x="128453" y="74308"/>
                  </a:cubicBezTo>
                  <a:cubicBezTo>
                    <a:pt x="129946" y="74308"/>
                    <a:pt x="131440" y="74308"/>
                    <a:pt x="131440" y="74308"/>
                  </a:cubicBezTo>
                  <a:cubicBezTo>
                    <a:pt x="132934" y="74308"/>
                    <a:pt x="132934" y="75802"/>
                    <a:pt x="131440" y="75802"/>
                  </a:cubicBezTo>
                  <a:cubicBezTo>
                    <a:pt x="131440" y="77296"/>
                    <a:pt x="129946" y="77296"/>
                    <a:pt x="128453" y="75802"/>
                  </a:cubicBezTo>
                  <a:close/>
                  <a:moveTo>
                    <a:pt x="73188" y="101194"/>
                  </a:moveTo>
                  <a:lnTo>
                    <a:pt x="17924" y="68334"/>
                  </a:lnTo>
                  <a:cubicBezTo>
                    <a:pt x="16430" y="66840"/>
                    <a:pt x="16430" y="65346"/>
                    <a:pt x="17924" y="65346"/>
                  </a:cubicBezTo>
                  <a:lnTo>
                    <a:pt x="115010" y="10082"/>
                  </a:lnTo>
                  <a:cubicBezTo>
                    <a:pt x="116504" y="8588"/>
                    <a:pt x="119491" y="8588"/>
                    <a:pt x="120984" y="10082"/>
                  </a:cubicBezTo>
                  <a:lnTo>
                    <a:pt x="176249" y="42942"/>
                  </a:lnTo>
                  <a:cubicBezTo>
                    <a:pt x="177743" y="44436"/>
                    <a:pt x="177743" y="45929"/>
                    <a:pt x="176249" y="45929"/>
                  </a:cubicBezTo>
                  <a:lnTo>
                    <a:pt x="79163" y="101194"/>
                  </a:lnTo>
                  <a:cubicBezTo>
                    <a:pt x="77669" y="102687"/>
                    <a:pt x="74682" y="102687"/>
                    <a:pt x="73188" y="101194"/>
                  </a:cubicBezTo>
                  <a:close/>
                </a:path>
              </a:pathLst>
            </a:custGeom>
            <a:solidFill>
              <a:srgbClr val="706F6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6" name="任意多边形: 形状 345"/>
            <p:cNvSpPr/>
            <p:nvPr/>
          </p:nvSpPr>
          <p:spPr>
            <a:xfrm>
              <a:off x="2014038" y="5473029"/>
              <a:ext cx="136334" cy="81801"/>
            </a:xfrm>
            <a:custGeom>
              <a:avLst/>
              <a:gdLst>
                <a:gd name="connsiteX0" fmla="*/ 1120 w 149363"/>
                <a:gd name="connsiteY0" fmla="*/ 59372 h 89618"/>
                <a:gd name="connsiteX1" fmla="*/ 56385 w 149363"/>
                <a:gd name="connsiteY1" fmla="*/ 92232 h 89618"/>
                <a:gd name="connsiteX2" fmla="*/ 62359 w 149363"/>
                <a:gd name="connsiteY2" fmla="*/ 92232 h 89618"/>
                <a:gd name="connsiteX3" fmla="*/ 159445 w 149363"/>
                <a:gd name="connsiteY3" fmla="*/ 36967 h 89618"/>
                <a:gd name="connsiteX4" fmla="*/ 159445 w 149363"/>
                <a:gd name="connsiteY4" fmla="*/ 33980 h 89618"/>
                <a:gd name="connsiteX5" fmla="*/ 104181 w 149363"/>
                <a:gd name="connsiteY5" fmla="*/ 1120 h 89618"/>
                <a:gd name="connsiteX6" fmla="*/ 98207 w 149363"/>
                <a:gd name="connsiteY6" fmla="*/ 1120 h 89618"/>
                <a:gd name="connsiteX7" fmla="*/ 1120 w 149363"/>
                <a:gd name="connsiteY7" fmla="*/ 56384 h 89618"/>
                <a:gd name="connsiteX8" fmla="*/ 1120 w 149363"/>
                <a:gd name="connsiteY8" fmla="*/ 59372 h 89618"/>
                <a:gd name="connsiteX9" fmla="*/ 59372 w 149363"/>
                <a:gd name="connsiteY9" fmla="*/ 35474 h 89618"/>
                <a:gd name="connsiteX10" fmla="*/ 62359 w 149363"/>
                <a:gd name="connsiteY10" fmla="*/ 36967 h 89618"/>
                <a:gd name="connsiteX11" fmla="*/ 68334 w 149363"/>
                <a:gd name="connsiteY11" fmla="*/ 39955 h 89618"/>
                <a:gd name="connsiteX12" fmla="*/ 78789 w 149363"/>
                <a:gd name="connsiteY12" fmla="*/ 45929 h 89618"/>
                <a:gd name="connsiteX13" fmla="*/ 60866 w 149363"/>
                <a:gd name="connsiteY13" fmla="*/ 56384 h 89618"/>
                <a:gd name="connsiteX14" fmla="*/ 50410 w 149363"/>
                <a:gd name="connsiteY14" fmla="*/ 50410 h 89618"/>
                <a:gd name="connsiteX15" fmla="*/ 44436 w 149363"/>
                <a:gd name="connsiteY15" fmla="*/ 47423 h 89618"/>
                <a:gd name="connsiteX16" fmla="*/ 41448 w 149363"/>
                <a:gd name="connsiteY16" fmla="*/ 45929 h 89618"/>
                <a:gd name="connsiteX17" fmla="*/ 59372 w 149363"/>
                <a:gd name="connsiteY17" fmla="*/ 35474 h 89618"/>
                <a:gd name="connsiteX18" fmla="*/ 63853 w 149363"/>
                <a:gd name="connsiteY18" fmla="*/ 57878 h 89618"/>
                <a:gd name="connsiteX19" fmla="*/ 83270 w 149363"/>
                <a:gd name="connsiteY19" fmla="*/ 47423 h 89618"/>
                <a:gd name="connsiteX20" fmla="*/ 101194 w 149363"/>
                <a:gd name="connsiteY20" fmla="*/ 36967 h 89618"/>
                <a:gd name="connsiteX21" fmla="*/ 101194 w 149363"/>
                <a:gd name="connsiteY21" fmla="*/ 36967 h 89618"/>
                <a:gd name="connsiteX22" fmla="*/ 102687 w 149363"/>
                <a:gd name="connsiteY22" fmla="*/ 35474 h 89618"/>
                <a:gd name="connsiteX23" fmla="*/ 117624 w 149363"/>
                <a:gd name="connsiteY23" fmla="*/ 26512 h 89618"/>
                <a:gd name="connsiteX24" fmla="*/ 119117 w 149363"/>
                <a:gd name="connsiteY24" fmla="*/ 25019 h 89618"/>
                <a:gd name="connsiteX25" fmla="*/ 128079 w 149363"/>
                <a:gd name="connsiteY25" fmla="*/ 30993 h 89618"/>
                <a:gd name="connsiteX26" fmla="*/ 126585 w 149363"/>
                <a:gd name="connsiteY26" fmla="*/ 32487 h 89618"/>
                <a:gd name="connsiteX27" fmla="*/ 111649 w 149363"/>
                <a:gd name="connsiteY27" fmla="*/ 41448 h 89618"/>
                <a:gd name="connsiteX28" fmla="*/ 74308 w 149363"/>
                <a:gd name="connsiteY28" fmla="*/ 63853 h 89618"/>
                <a:gd name="connsiteX29" fmla="*/ 63853 w 149363"/>
                <a:gd name="connsiteY29" fmla="*/ 57878 h 89618"/>
                <a:gd name="connsiteX30" fmla="*/ 108662 w 149363"/>
                <a:gd name="connsiteY30" fmla="*/ 19044 h 89618"/>
                <a:gd name="connsiteX31" fmla="*/ 117624 w 149363"/>
                <a:gd name="connsiteY31" fmla="*/ 25019 h 89618"/>
                <a:gd name="connsiteX32" fmla="*/ 99700 w 149363"/>
                <a:gd name="connsiteY32" fmla="*/ 35474 h 89618"/>
                <a:gd name="connsiteX33" fmla="*/ 80283 w 149363"/>
                <a:gd name="connsiteY33" fmla="*/ 45929 h 89618"/>
                <a:gd name="connsiteX34" fmla="*/ 69827 w 149363"/>
                <a:gd name="connsiteY34" fmla="*/ 39955 h 89618"/>
                <a:gd name="connsiteX35" fmla="*/ 60866 w 149363"/>
                <a:gd name="connsiteY35" fmla="*/ 33980 h 89618"/>
                <a:gd name="connsiteX36" fmla="*/ 78789 w 149363"/>
                <a:gd name="connsiteY36" fmla="*/ 23525 h 89618"/>
                <a:gd name="connsiteX37" fmla="*/ 80283 w 149363"/>
                <a:gd name="connsiteY37" fmla="*/ 22031 h 89618"/>
                <a:gd name="connsiteX38" fmla="*/ 98207 w 149363"/>
                <a:gd name="connsiteY38" fmla="*/ 11575 h 89618"/>
                <a:gd name="connsiteX39" fmla="*/ 108662 w 149363"/>
                <a:gd name="connsiteY39" fmla="*/ 19044 h 89618"/>
                <a:gd name="connsiteX40" fmla="*/ 108662 w 149363"/>
                <a:gd name="connsiteY40" fmla="*/ 19044 h 89618"/>
                <a:gd name="connsiteX41" fmla="*/ 120611 w 149363"/>
                <a:gd name="connsiteY41" fmla="*/ 47423 h 89618"/>
                <a:gd name="connsiteX42" fmla="*/ 111649 w 149363"/>
                <a:gd name="connsiteY42" fmla="*/ 41448 h 89618"/>
                <a:gd name="connsiteX43" fmla="*/ 129573 w 149363"/>
                <a:gd name="connsiteY43" fmla="*/ 30993 h 89618"/>
                <a:gd name="connsiteX44" fmla="*/ 138535 w 149363"/>
                <a:gd name="connsiteY44" fmla="*/ 36967 h 89618"/>
                <a:gd name="connsiteX45" fmla="*/ 120611 w 149363"/>
                <a:gd name="connsiteY45" fmla="*/ 47423 h 89618"/>
                <a:gd name="connsiteX46" fmla="*/ 102687 w 149363"/>
                <a:gd name="connsiteY46" fmla="*/ 57878 h 89618"/>
                <a:gd name="connsiteX47" fmla="*/ 93726 w 149363"/>
                <a:gd name="connsiteY47" fmla="*/ 51904 h 89618"/>
                <a:gd name="connsiteX48" fmla="*/ 111649 w 149363"/>
                <a:gd name="connsiteY48" fmla="*/ 41448 h 89618"/>
                <a:gd name="connsiteX49" fmla="*/ 120611 w 149363"/>
                <a:gd name="connsiteY49" fmla="*/ 47423 h 89618"/>
                <a:gd name="connsiteX50" fmla="*/ 102687 w 149363"/>
                <a:gd name="connsiteY50" fmla="*/ 57878 h 89618"/>
                <a:gd name="connsiteX51" fmla="*/ 83270 w 149363"/>
                <a:gd name="connsiteY51" fmla="*/ 68334 h 89618"/>
                <a:gd name="connsiteX52" fmla="*/ 74308 w 149363"/>
                <a:gd name="connsiteY52" fmla="*/ 62359 h 89618"/>
                <a:gd name="connsiteX53" fmla="*/ 92232 w 149363"/>
                <a:gd name="connsiteY53" fmla="*/ 51904 h 89618"/>
                <a:gd name="connsiteX54" fmla="*/ 101194 w 149363"/>
                <a:gd name="connsiteY54" fmla="*/ 57878 h 89618"/>
                <a:gd name="connsiteX55" fmla="*/ 83270 w 149363"/>
                <a:gd name="connsiteY55" fmla="*/ 68334 h 89618"/>
                <a:gd name="connsiteX56" fmla="*/ 44436 w 149363"/>
                <a:gd name="connsiteY56" fmla="*/ 48916 h 89618"/>
                <a:gd name="connsiteX57" fmla="*/ 48917 w 149363"/>
                <a:gd name="connsiteY57" fmla="*/ 51904 h 89618"/>
                <a:gd name="connsiteX58" fmla="*/ 59372 w 149363"/>
                <a:gd name="connsiteY58" fmla="*/ 57878 h 89618"/>
                <a:gd name="connsiteX59" fmla="*/ 41448 w 149363"/>
                <a:gd name="connsiteY59" fmla="*/ 68334 h 89618"/>
                <a:gd name="connsiteX60" fmla="*/ 30993 w 149363"/>
                <a:gd name="connsiteY60" fmla="*/ 62359 h 89618"/>
                <a:gd name="connsiteX61" fmla="*/ 26512 w 149363"/>
                <a:gd name="connsiteY61" fmla="*/ 59372 h 89618"/>
                <a:gd name="connsiteX62" fmla="*/ 22031 w 149363"/>
                <a:gd name="connsiteY62" fmla="*/ 56384 h 89618"/>
                <a:gd name="connsiteX63" fmla="*/ 39955 w 149363"/>
                <a:gd name="connsiteY63" fmla="*/ 45929 h 89618"/>
                <a:gd name="connsiteX64" fmla="*/ 44436 w 149363"/>
                <a:gd name="connsiteY64" fmla="*/ 48916 h 89618"/>
                <a:gd name="connsiteX65" fmla="*/ 62359 w 149363"/>
                <a:gd name="connsiteY65" fmla="*/ 57878 h 89618"/>
                <a:gd name="connsiteX66" fmla="*/ 71321 w 149363"/>
                <a:gd name="connsiteY66" fmla="*/ 63853 h 89618"/>
                <a:gd name="connsiteX67" fmla="*/ 53397 w 149363"/>
                <a:gd name="connsiteY67" fmla="*/ 74308 h 89618"/>
                <a:gd name="connsiteX68" fmla="*/ 44436 w 149363"/>
                <a:gd name="connsiteY68" fmla="*/ 68334 h 89618"/>
                <a:gd name="connsiteX69" fmla="*/ 62359 w 149363"/>
                <a:gd name="connsiteY69" fmla="*/ 57878 h 89618"/>
                <a:gd name="connsiteX70" fmla="*/ 63853 w 149363"/>
                <a:gd name="connsiteY70" fmla="*/ 80283 h 89618"/>
                <a:gd name="connsiteX71" fmla="*/ 54891 w 149363"/>
                <a:gd name="connsiteY71" fmla="*/ 74308 h 89618"/>
                <a:gd name="connsiteX72" fmla="*/ 72815 w 149363"/>
                <a:gd name="connsiteY72" fmla="*/ 63853 h 89618"/>
                <a:gd name="connsiteX73" fmla="*/ 81776 w 149363"/>
                <a:gd name="connsiteY73" fmla="*/ 69828 h 89618"/>
                <a:gd name="connsiteX74" fmla="*/ 63853 w 149363"/>
                <a:gd name="connsiteY74" fmla="*/ 80283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149363" h="89618">
                  <a:moveTo>
                    <a:pt x="1120" y="59372"/>
                  </a:moveTo>
                  <a:lnTo>
                    <a:pt x="56385" y="92232"/>
                  </a:lnTo>
                  <a:cubicBezTo>
                    <a:pt x="57878" y="93725"/>
                    <a:pt x="60866" y="93725"/>
                    <a:pt x="62359" y="92232"/>
                  </a:cubicBezTo>
                  <a:lnTo>
                    <a:pt x="159445" y="36967"/>
                  </a:lnTo>
                  <a:cubicBezTo>
                    <a:pt x="160939" y="35474"/>
                    <a:pt x="160939" y="33980"/>
                    <a:pt x="159445" y="33980"/>
                  </a:cubicBezTo>
                  <a:lnTo>
                    <a:pt x="104181" y="1120"/>
                  </a:lnTo>
                  <a:cubicBezTo>
                    <a:pt x="102687" y="-373"/>
                    <a:pt x="99700" y="-373"/>
                    <a:pt x="98207" y="1120"/>
                  </a:cubicBezTo>
                  <a:lnTo>
                    <a:pt x="1120" y="56384"/>
                  </a:lnTo>
                  <a:cubicBezTo>
                    <a:pt x="-373" y="57878"/>
                    <a:pt x="-373" y="59372"/>
                    <a:pt x="1120" y="59372"/>
                  </a:cubicBezTo>
                  <a:close/>
                  <a:moveTo>
                    <a:pt x="59372" y="35474"/>
                  </a:moveTo>
                  <a:lnTo>
                    <a:pt x="62359" y="36967"/>
                  </a:lnTo>
                  <a:lnTo>
                    <a:pt x="68334" y="39955"/>
                  </a:lnTo>
                  <a:lnTo>
                    <a:pt x="78789" y="45929"/>
                  </a:lnTo>
                  <a:lnTo>
                    <a:pt x="60866" y="56384"/>
                  </a:lnTo>
                  <a:lnTo>
                    <a:pt x="50410" y="50410"/>
                  </a:lnTo>
                  <a:lnTo>
                    <a:pt x="44436" y="47423"/>
                  </a:lnTo>
                  <a:lnTo>
                    <a:pt x="41448" y="45929"/>
                  </a:lnTo>
                  <a:lnTo>
                    <a:pt x="59372" y="35474"/>
                  </a:lnTo>
                  <a:close/>
                  <a:moveTo>
                    <a:pt x="63853" y="57878"/>
                  </a:moveTo>
                  <a:lnTo>
                    <a:pt x="83270" y="47423"/>
                  </a:lnTo>
                  <a:lnTo>
                    <a:pt x="101194" y="36967"/>
                  </a:lnTo>
                  <a:lnTo>
                    <a:pt x="101194" y="36967"/>
                  </a:lnTo>
                  <a:lnTo>
                    <a:pt x="102687" y="35474"/>
                  </a:lnTo>
                  <a:lnTo>
                    <a:pt x="117624" y="26512"/>
                  </a:lnTo>
                  <a:lnTo>
                    <a:pt x="119117" y="25019"/>
                  </a:lnTo>
                  <a:lnTo>
                    <a:pt x="128079" y="30993"/>
                  </a:lnTo>
                  <a:lnTo>
                    <a:pt x="126585" y="32487"/>
                  </a:lnTo>
                  <a:lnTo>
                    <a:pt x="111649" y="41448"/>
                  </a:lnTo>
                  <a:lnTo>
                    <a:pt x="74308" y="63853"/>
                  </a:lnTo>
                  <a:lnTo>
                    <a:pt x="63853" y="57878"/>
                  </a:lnTo>
                  <a:close/>
                  <a:moveTo>
                    <a:pt x="108662" y="19044"/>
                  </a:moveTo>
                  <a:lnTo>
                    <a:pt x="117624" y="25019"/>
                  </a:lnTo>
                  <a:lnTo>
                    <a:pt x="99700" y="35474"/>
                  </a:lnTo>
                  <a:lnTo>
                    <a:pt x="80283" y="45929"/>
                  </a:lnTo>
                  <a:lnTo>
                    <a:pt x="69827" y="39955"/>
                  </a:lnTo>
                  <a:lnTo>
                    <a:pt x="60866" y="33980"/>
                  </a:lnTo>
                  <a:lnTo>
                    <a:pt x="78789" y="23525"/>
                  </a:lnTo>
                  <a:lnTo>
                    <a:pt x="80283" y="22031"/>
                  </a:lnTo>
                  <a:lnTo>
                    <a:pt x="98207" y="11575"/>
                  </a:lnTo>
                  <a:lnTo>
                    <a:pt x="108662" y="19044"/>
                  </a:lnTo>
                  <a:lnTo>
                    <a:pt x="108662" y="19044"/>
                  </a:lnTo>
                  <a:close/>
                  <a:moveTo>
                    <a:pt x="120611" y="47423"/>
                  </a:moveTo>
                  <a:lnTo>
                    <a:pt x="111649" y="41448"/>
                  </a:lnTo>
                  <a:lnTo>
                    <a:pt x="129573" y="30993"/>
                  </a:lnTo>
                  <a:lnTo>
                    <a:pt x="138535" y="36967"/>
                  </a:lnTo>
                  <a:lnTo>
                    <a:pt x="120611" y="47423"/>
                  </a:lnTo>
                  <a:close/>
                  <a:moveTo>
                    <a:pt x="102687" y="57878"/>
                  </a:moveTo>
                  <a:lnTo>
                    <a:pt x="93726" y="51904"/>
                  </a:lnTo>
                  <a:lnTo>
                    <a:pt x="111649" y="41448"/>
                  </a:lnTo>
                  <a:lnTo>
                    <a:pt x="120611" y="47423"/>
                  </a:lnTo>
                  <a:lnTo>
                    <a:pt x="102687" y="57878"/>
                  </a:lnTo>
                  <a:close/>
                  <a:moveTo>
                    <a:pt x="83270" y="68334"/>
                  </a:moveTo>
                  <a:lnTo>
                    <a:pt x="74308" y="62359"/>
                  </a:lnTo>
                  <a:lnTo>
                    <a:pt x="92232" y="51904"/>
                  </a:lnTo>
                  <a:lnTo>
                    <a:pt x="101194" y="57878"/>
                  </a:lnTo>
                  <a:lnTo>
                    <a:pt x="83270" y="68334"/>
                  </a:lnTo>
                  <a:close/>
                  <a:moveTo>
                    <a:pt x="44436" y="48916"/>
                  </a:moveTo>
                  <a:lnTo>
                    <a:pt x="48917" y="51904"/>
                  </a:lnTo>
                  <a:lnTo>
                    <a:pt x="59372" y="57878"/>
                  </a:lnTo>
                  <a:lnTo>
                    <a:pt x="41448" y="68334"/>
                  </a:lnTo>
                  <a:lnTo>
                    <a:pt x="30993" y="62359"/>
                  </a:lnTo>
                  <a:lnTo>
                    <a:pt x="26512" y="59372"/>
                  </a:lnTo>
                  <a:lnTo>
                    <a:pt x="22031" y="56384"/>
                  </a:lnTo>
                  <a:lnTo>
                    <a:pt x="39955" y="45929"/>
                  </a:lnTo>
                  <a:lnTo>
                    <a:pt x="44436" y="48916"/>
                  </a:lnTo>
                  <a:close/>
                  <a:moveTo>
                    <a:pt x="62359" y="57878"/>
                  </a:moveTo>
                  <a:lnTo>
                    <a:pt x="71321" y="63853"/>
                  </a:lnTo>
                  <a:lnTo>
                    <a:pt x="53397" y="74308"/>
                  </a:lnTo>
                  <a:lnTo>
                    <a:pt x="44436" y="68334"/>
                  </a:lnTo>
                  <a:lnTo>
                    <a:pt x="62359" y="57878"/>
                  </a:lnTo>
                  <a:close/>
                  <a:moveTo>
                    <a:pt x="63853" y="80283"/>
                  </a:moveTo>
                  <a:lnTo>
                    <a:pt x="54891" y="74308"/>
                  </a:lnTo>
                  <a:lnTo>
                    <a:pt x="72815" y="63853"/>
                  </a:lnTo>
                  <a:lnTo>
                    <a:pt x="81776" y="69828"/>
                  </a:lnTo>
                  <a:lnTo>
                    <a:pt x="63853" y="80283"/>
                  </a:lnTo>
                  <a:close/>
                </a:path>
              </a:pathLst>
            </a:custGeom>
            <a:solidFill>
              <a:srgbClr val="00A19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7" name="任意多边形: 形状 346"/>
            <p:cNvSpPr/>
            <p:nvPr/>
          </p:nvSpPr>
          <p:spPr>
            <a:xfrm>
              <a:off x="2117311" y="5532675"/>
              <a:ext cx="13633" cy="13633"/>
            </a:xfrm>
            <a:custGeom>
              <a:avLst/>
              <a:gdLst>
                <a:gd name="connsiteX0" fmla="*/ 0 w 0"/>
                <a:gd name="connsiteY0" fmla="*/ 0 h 0"/>
                <a:gd name="connsiteX1" fmla="*/ 2987 w 0"/>
                <a:gd name="connsiteY1" fmla="*/ 0 h 0"/>
                <a:gd name="connsiteX2" fmla="*/ 2987 w 0"/>
                <a:gd name="connsiteY2" fmla="*/ 1494 h 0"/>
                <a:gd name="connsiteX3" fmla="*/ 0 w 0"/>
                <a:gd name="connsiteY3" fmla="*/ 1494 h 0"/>
                <a:gd name="connsiteX4" fmla="*/ 0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1493" y="0"/>
                    <a:pt x="2987" y="0"/>
                    <a:pt x="2987" y="0"/>
                  </a:cubicBezTo>
                  <a:cubicBezTo>
                    <a:pt x="4481" y="0"/>
                    <a:pt x="4481" y="1494"/>
                    <a:pt x="2987" y="1494"/>
                  </a:cubicBezTo>
                  <a:cubicBezTo>
                    <a:pt x="1493" y="1494"/>
                    <a:pt x="0" y="1494"/>
                    <a:pt x="0" y="1494"/>
                  </a:cubicBezTo>
                  <a:cubicBezTo>
                    <a:pt x="0" y="149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8" name="任意多边形: 形状 347"/>
            <p:cNvSpPr/>
            <p:nvPr/>
          </p:nvSpPr>
          <p:spPr>
            <a:xfrm>
              <a:off x="2030057" y="5545286"/>
              <a:ext cx="13633" cy="13633"/>
            </a:xfrm>
            <a:custGeom>
              <a:avLst/>
              <a:gdLst>
                <a:gd name="connsiteX0" fmla="*/ 0 w 14936"/>
                <a:gd name="connsiteY0" fmla="*/ 1120 h 0"/>
                <a:gd name="connsiteX1" fmla="*/ 0 w 14936"/>
                <a:gd name="connsiteY1" fmla="*/ 1120 h 0"/>
                <a:gd name="connsiteX2" fmla="*/ 0 w 14936"/>
                <a:gd name="connsiteY2" fmla="*/ 1120 h 0"/>
                <a:gd name="connsiteX3" fmla="*/ 8962 w 14936"/>
                <a:gd name="connsiteY3" fmla="*/ 1120 h 0"/>
                <a:gd name="connsiteX4" fmla="*/ 23898 w 14936"/>
                <a:gd name="connsiteY4" fmla="*/ 10082 h 0"/>
                <a:gd name="connsiteX5" fmla="*/ 23898 w 14936"/>
                <a:gd name="connsiteY5" fmla="*/ 14563 h 0"/>
                <a:gd name="connsiteX6" fmla="*/ 22405 w 14936"/>
                <a:gd name="connsiteY6" fmla="*/ 14563 h 0"/>
                <a:gd name="connsiteX7" fmla="*/ 22405 w 14936"/>
                <a:gd name="connsiteY7" fmla="*/ 14563 h 0"/>
                <a:gd name="connsiteX8" fmla="*/ 0 w 14936"/>
                <a:gd name="connsiteY8" fmla="*/ 11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36">
                  <a:moveTo>
                    <a:pt x="0" y="1120"/>
                  </a:moveTo>
                  <a:lnTo>
                    <a:pt x="0" y="1120"/>
                  </a:lnTo>
                  <a:lnTo>
                    <a:pt x="0" y="1120"/>
                  </a:lnTo>
                  <a:cubicBezTo>
                    <a:pt x="2987" y="-373"/>
                    <a:pt x="7468" y="-373"/>
                    <a:pt x="8962" y="1120"/>
                  </a:cubicBezTo>
                  <a:lnTo>
                    <a:pt x="23898" y="10082"/>
                  </a:lnTo>
                  <a:cubicBezTo>
                    <a:pt x="26885" y="11576"/>
                    <a:pt x="26885" y="13070"/>
                    <a:pt x="23898" y="14563"/>
                  </a:cubicBezTo>
                  <a:lnTo>
                    <a:pt x="22405" y="14563"/>
                  </a:lnTo>
                  <a:lnTo>
                    <a:pt x="22405" y="14563"/>
                  </a:lnTo>
                  <a:lnTo>
                    <a:pt x="0" y="1120"/>
                  </a:ln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9" name="任意多边形: 形状 348"/>
            <p:cNvSpPr/>
            <p:nvPr/>
          </p:nvSpPr>
          <p:spPr>
            <a:xfrm>
              <a:off x="2137080" y="5483594"/>
              <a:ext cx="13633" cy="13633"/>
            </a:xfrm>
            <a:custGeom>
              <a:avLst/>
              <a:gdLst>
                <a:gd name="connsiteX0" fmla="*/ 26139 w 14936"/>
                <a:gd name="connsiteY0" fmla="*/ 13443 h 0"/>
                <a:gd name="connsiteX1" fmla="*/ 17177 w 14936"/>
                <a:gd name="connsiteY1" fmla="*/ 13443 h 0"/>
                <a:gd name="connsiteX2" fmla="*/ 2240 w 14936"/>
                <a:gd name="connsiteY2" fmla="*/ 4481 h 0"/>
                <a:gd name="connsiteX3" fmla="*/ 2240 w 14936"/>
                <a:gd name="connsiteY3" fmla="*/ 0 h 0"/>
                <a:gd name="connsiteX4" fmla="*/ 3734 w 14936"/>
                <a:gd name="connsiteY4" fmla="*/ 0 h 0"/>
                <a:gd name="connsiteX5" fmla="*/ 3734 w 14936"/>
                <a:gd name="connsiteY5" fmla="*/ 0 h 0"/>
                <a:gd name="connsiteX6" fmla="*/ 12696 w 14936"/>
                <a:gd name="connsiteY6" fmla="*/ 4481 h 0"/>
                <a:gd name="connsiteX7" fmla="*/ 26139 w 14936"/>
                <a:gd name="connsiteY7" fmla="*/ 13443 h 0"/>
                <a:gd name="connsiteX8" fmla="*/ 26139 w 14936"/>
                <a:gd name="connsiteY8" fmla="*/ 13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36">
                  <a:moveTo>
                    <a:pt x="26139" y="13443"/>
                  </a:moveTo>
                  <a:cubicBezTo>
                    <a:pt x="23151" y="14936"/>
                    <a:pt x="20164" y="14936"/>
                    <a:pt x="17177" y="13443"/>
                  </a:cubicBezTo>
                  <a:lnTo>
                    <a:pt x="2240" y="4481"/>
                  </a:lnTo>
                  <a:cubicBezTo>
                    <a:pt x="-747" y="2987"/>
                    <a:pt x="-747" y="1494"/>
                    <a:pt x="2240" y="0"/>
                  </a:cubicBezTo>
                  <a:lnTo>
                    <a:pt x="3734" y="0"/>
                  </a:lnTo>
                  <a:lnTo>
                    <a:pt x="3734" y="0"/>
                  </a:lnTo>
                  <a:lnTo>
                    <a:pt x="12696" y="4481"/>
                  </a:lnTo>
                  <a:lnTo>
                    <a:pt x="26139" y="13443"/>
                  </a:lnTo>
                  <a:lnTo>
                    <a:pt x="26139" y="13443"/>
                  </a:ln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0" name="任意多边形: 形状 349"/>
            <p:cNvSpPr/>
            <p:nvPr/>
          </p:nvSpPr>
          <p:spPr>
            <a:xfrm>
              <a:off x="2064141" y="5531311"/>
              <a:ext cx="13633" cy="13633"/>
            </a:xfrm>
            <a:custGeom>
              <a:avLst/>
              <a:gdLst>
                <a:gd name="connsiteX0" fmla="*/ 17924 w 14936"/>
                <a:gd name="connsiteY0" fmla="*/ 0 h 14936"/>
                <a:gd name="connsiteX1" fmla="*/ 26885 w 14936"/>
                <a:gd name="connsiteY1" fmla="*/ 5975 h 14936"/>
                <a:gd name="connsiteX2" fmla="*/ 8962 w 14936"/>
                <a:gd name="connsiteY2" fmla="*/ 16430 h 14936"/>
                <a:gd name="connsiteX3" fmla="*/ 0 w 14936"/>
                <a:gd name="connsiteY3" fmla="*/ 1045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7924" y="0"/>
                  </a:moveTo>
                  <a:lnTo>
                    <a:pt x="26885" y="5975"/>
                  </a:lnTo>
                  <a:lnTo>
                    <a:pt x="8962" y="16430"/>
                  </a:lnTo>
                  <a:lnTo>
                    <a:pt x="0" y="10456"/>
                  </a:lnTo>
                  <a:close/>
                </a:path>
              </a:pathLst>
            </a:custGeom>
            <a:solidFill>
              <a:srgbClr val="E96B5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1" name="任意多边形: 形状 350"/>
            <p:cNvSpPr/>
            <p:nvPr/>
          </p:nvSpPr>
          <p:spPr>
            <a:xfrm>
              <a:off x="2081865" y="5521768"/>
              <a:ext cx="13633" cy="13633"/>
            </a:xfrm>
            <a:custGeom>
              <a:avLst/>
              <a:gdLst>
                <a:gd name="connsiteX0" fmla="*/ 17924 w 14936"/>
                <a:gd name="connsiteY0" fmla="*/ 0 h 14936"/>
                <a:gd name="connsiteX1" fmla="*/ 26885 w 14936"/>
                <a:gd name="connsiteY1" fmla="*/ 5974 h 14936"/>
                <a:gd name="connsiteX2" fmla="*/ 8962 w 14936"/>
                <a:gd name="connsiteY2" fmla="*/ 14936 h 14936"/>
                <a:gd name="connsiteX3" fmla="*/ 0 w 14936"/>
                <a:gd name="connsiteY3" fmla="*/ 10455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7924" y="0"/>
                  </a:moveTo>
                  <a:lnTo>
                    <a:pt x="26885" y="5974"/>
                  </a:lnTo>
                  <a:lnTo>
                    <a:pt x="8962" y="14936"/>
                  </a:lnTo>
                  <a:lnTo>
                    <a:pt x="0" y="10455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2" name="任意多边形: 形状 351"/>
            <p:cNvSpPr/>
            <p:nvPr/>
          </p:nvSpPr>
          <p:spPr>
            <a:xfrm>
              <a:off x="2098224" y="5512225"/>
              <a:ext cx="13633" cy="13633"/>
            </a:xfrm>
            <a:custGeom>
              <a:avLst/>
              <a:gdLst>
                <a:gd name="connsiteX0" fmla="*/ 17924 w 14936"/>
                <a:gd name="connsiteY0" fmla="*/ 0 h 14936"/>
                <a:gd name="connsiteX1" fmla="*/ 26885 w 14936"/>
                <a:gd name="connsiteY1" fmla="*/ 4481 h 14936"/>
                <a:gd name="connsiteX2" fmla="*/ 10456 w 14936"/>
                <a:gd name="connsiteY2" fmla="*/ 14936 h 14936"/>
                <a:gd name="connsiteX3" fmla="*/ 0 w 14936"/>
                <a:gd name="connsiteY3" fmla="*/ 1045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7924" y="0"/>
                  </a:moveTo>
                  <a:lnTo>
                    <a:pt x="26885" y="4481"/>
                  </a:lnTo>
                  <a:lnTo>
                    <a:pt x="10456" y="14936"/>
                  </a:lnTo>
                  <a:lnTo>
                    <a:pt x="0" y="10456"/>
                  </a:lnTo>
                  <a:close/>
                </a:path>
              </a:pathLst>
            </a:custGeom>
            <a:solidFill>
              <a:srgbClr val="FCEA1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3" name="任意多边形: 形状 352"/>
            <p:cNvSpPr/>
            <p:nvPr/>
          </p:nvSpPr>
          <p:spPr>
            <a:xfrm>
              <a:off x="2115948" y="5501318"/>
              <a:ext cx="13633" cy="13633"/>
            </a:xfrm>
            <a:custGeom>
              <a:avLst/>
              <a:gdLst>
                <a:gd name="connsiteX0" fmla="*/ 17924 w 14936"/>
                <a:gd name="connsiteY0" fmla="*/ 0 h 14936"/>
                <a:gd name="connsiteX1" fmla="*/ 26885 w 14936"/>
                <a:gd name="connsiteY1" fmla="*/ 5974 h 14936"/>
                <a:gd name="connsiteX2" fmla="*/ 8962 w 14936"/>
                <a:gd name="connsiteY2" fmla="*/ 16430 h 14936"/>
                <a:gd name="connsiteX3" fmla="*/ 0 w 14936"/>
                <a:gd name="connsiteY3" fmla="*/ 10455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7924" y="0"/>
                  </a:moveTo>
                  <a:lnTo>
                    <a:pt x="26885" y="5974"/>
                  </a:lnTo>
                  <a:lnTo>
                    <a:pt x="8962" y="16430"/>
                  </a:lnTo>
                  <a:lnTo>
                    <a:pt x="0" y="10455"/>
                  </a:lnTo>
                  <a:close/>
                </a:path>
              </a:pathLst>
            </a:custGeom>
            <a:solidFill>
              <a:srgbClr val="36A9E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4" name="任意多边形: 形状 353"/>
            <p:cNvSpPr/>
            <p:nvPr/>
          </p:nvSpPr>
          <p:spPr>
            <a:xfrm>
              <a:off x="2054598" y="5525858"/>
              <a:ext cx="13633" cy="13633"/>
            </a:xfrm>
            <a:custGeom>
              <a:avLst/>
              <a:gdLst>
                <a:gd name="connsiteX0" fmla="*/ 8962 w 14936"/>
                <a:gd name="connsiteY0" fmla="*/ 16430 h 14936"/>
                <a:gd name="connsiteX1" fmla="*/ 0 w 14936"/>
                <a:gd name="connsiteY1" fmla="*/ 10456 h 14936"/>
                <a:gd name="connsiteX2" fmla="*/ 17924 w 14936"/>
                <a:gd name="connsiteY2" fmla="*/ 0 h 14936"/>
                <a:gd name="connsiteX3" fmla="*/ 26885 w 14936"/>
                <a:gd name="connsiteY3" fmla="*/ 5974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8962" y="16430"/>
                  </a:moveTo>
                  <a:lnTo>
                    <a:pt x="0" y="10456"/>
                  </a:lnTo>
                  <a:lnTo>
                    <a:pt x="17924" y="0"/>
                  </a:lnTo>
                  <a:lnTo>
                    <a:pt x="26885" y="5974"/>
                  </a:lnTo>
                  <a:close/>
                </a:path>
              </a:pathLst>
            </a:custGeom>
            <a:solidFill>
              <a:srgbClr val="36A9E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5" name="任意多边形: 形状 354"/>
            <p:cNvSpPr/>
            <p:nvPr/>
          </p:nvSpPr>
          <p:spPr>
            <a:xfrm>
              <a:off x="2088681" y="5506771"/>
              <a:ext cx="13633" cy="13633"/>
            </a:xfrm>
            <a:custGeom>
              <a:avLst/>
              <a:gdLst>
                <a:gd name="connsiteX0" fmla="*/ 17924 w 14936"/>
                <a:gd name="connsiteY0" fmla="*/ 0 h 0"/>
                <a:gd name="connsiteX1" fmla="*/ 17924 w 14936"/>
                <a:gd name="connsiteY1" fmla="*/ 0 h 0"/>
                <a:gd name="connsiteX2" fmla="*/ 0 w 14936"/>
                <a:gd name="connsiteY2" fmla="*/ 896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36">
                  <a:moveTo>
                    <a:pt x="17924" y="0"/>
                  </a:moveTo>
                  <a:lnTo>
                    <a:pt x="17924" y="0"/>
                  </a:lnTo>
                  <a:lnTo>
                    <a:pt x="0" y="8962"/>
                  </a:lnTo>
                  <a:close/>
                </a:path>
              </a:pathLst>
            </a:custGeom>
            <a:solidFill>
              <a:srgbClr val="296AAE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6" name="任意多边形: 形状 355"/>
            <p:cNvSpPr/>
            <p:nvPr/>
          </p:nvSpPr>
          <p:spPr>
            <a:xfrm>
              <a:off x="2072321" y="5495865"/>
              <a:ext cx="54534" cy="27267"/>
            </a:xfrm>
            <a:custGeom>
              <a:avLst/>
              <a:gdLst>
                <a:gd name="connsiteX0" fmla="*/ 17924 w 59745"/>
                <a:gd name="connsiteY0" fmla="*/ 20911 h 29872"/>
                <a:gd name="connsiteX1" fmla="*/ 35847 w 59745"/>
                <a:gd name="connsiteY1" fmla="*/ 11949 h 29872"/>
                <a:gd name="connsiteX2" fmla="*/ 37341 w 59745"/>
                <a:gd name="connsiteY2" fmla="*/ 10455 h 29872"/>
                <a:gd name="connsiteX3" fmla="*/ 52277 w 59745"/>
                <a:gd name="connsiteY3" fmla="*/ 1493 h 29872"/>
                <a:gd name="connsiteX4" fmla="*/ 55264 w 59745"/>
                <a:gd name="connsiteY4" fmla="*/ 0 h 29872"/>
                <a:gd name="connsiteX5" fmla="*/ 64226 w 59745"/>
                <a:gd name="connsiteY5" fmla="*/ 5974 h 29872"/>
                <a:gd name="connsiteX6" fmla="*/ 62733 w 59745"/>
                <a:gd name="connsiteY6" fmla="*/ 7468 h 29872"/>
                <a:gd name="connsiteX7" fmla="*/ 46303 w 59745"/>
                <a:gd name="connsiteY7" fmla="*/ 16430 h 29872"/>
                <a:gd name="connsiteX8" fmla="*/ 8962 w 59745"/>
                <a:gd name="connsiteY8" fmla="*/ 37341 h 29872"/>
                <a:gd name="connsiteX9" fmla="*/ 0 w 59745"/>
                <a:gd name="connsiteY9" fmla="*/ 3286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745" h="29872">
                  <a:moveTo>
                    <a:pt x="17924" y="20911"/>
                  </a:moveTo>
                  <a:lnTo>
                    <a:pt x="35847" y="11949"/>
                  </a:lnTo>
                  <a:lnTo>
                    <a:pt x="37341" y="10455"/>
                  </a:lnTo>
                  <a:lnTo>
                    <a:pt x="52277" y="1493"/>
                  </a:lnTo>
                  <a:lnTo>
                    <a:pt x="55264" y="0"/>
                  </a:lnTo>
                  <a:lnTo>
                    <a:pt x="64226" y="5974"/>
                  </a:lnTo>
                  <a:lnTo>
                    <a:pt x="62733" y="7468"/>
                  </a:lnTo>
                  <a:lnTo>
                    <a:pt x="46303" y="16430"/>
                  </a:lnTo>
                  <a:lnTo>
                    <a:pt x="8962" y="37341"/>
                  </a:lnTo>
                  <a:lnTo>
                    <a:pt x="0" y="32860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7" name="任意多边形: 形状 356"/>
            <p:cNvSpPr/>
            <p:nvPr/>
          </p:nvSpPr>
          <p:spPr>
            <a:xfrm>
              <a:off x="2035511" y="5514952"/>
              <a:ext cx="27267" cy="13633"/>
            </a:xfrm>
            <a:custGeom>
              <a:avLst/>
              <a:gdLst>
                <a:gd name="connsiteX0" fmla="*/ 37341 w 29872"/>
                <a:gd name="connsiteY0" fmla="*/ 11949 h 14936"/>
                <a:gd name="connsiteX1" fmla="*/ 19417 w 29872"/>
                <a:gd name="connsiteY1" fmla="*/ 20911 h 14936"/>
                <a:gd name="connsiteX2" fmla="*/ 8962 w 29872"/>
                <a:gd name="connsiteY2" fmla="*/ 14936 h 14936"/>
                <a:gd name="connsiteX3" fmla="*/ 4481 w 29872"/>
                <a:gd name="connsiteY3" fmla="*/ 13443 h 14936"/>
                <a:gd name="connsiteX4" fmla="*/ 0 w 29872"/>
                <a:gd name="connsiteY4" fmla="*/ 10455 h 14936"/>
                <a:gd name="connsiteX5" fmla="*/ 16430 w 29872"/>
                <a:gd name="connsiteY5" fmla="*/ 0 h 14936"/>
                <a:gd name="connsiteX6" fmla="*/ 20911 w 29872"/>
                <a:gd name="connsiteY6" fmla="*/ 2987 h 14936"/>
                <a:gd name="connsiteX7" fmla="*/ 26885 w 29872"/>
                <a:gd name="connsiteY7" fmla="*/ 5974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72" h="14936">
                  <a:moveTo>
                    <a:pt x="37341" y="11949"/>
                  </a:moveTo>
                  <a:lnTo>
                    <a:pt x="19417" y="20911"/>
                  </a:lnTo>
                  <a:lnTo>
                    <a:pt x="8962" y="14936"/>
                  </a:lnTo>
                  <a:lnTo>
                    <a:pt x="4481" y="13443"/>
                  </a:lnTo>
                  <a:lnTo>
                    <a:pt x="0" y="10455"/>
                  </a:lnTo>
                  <a:lnTo>
                    <a:pt x="16430" y="0"/>
                  </a:lnTo>
                  <a:lnTo>
                    <a:pt x="20911" y="2987"/>
                  </a:lnTo>
                  <a:lnTo>
                    <a:pt x="26885" y="5974"/>
                  </a:lnTo>
                  <a:close/>
                </a:path>
              </a:pathLst>
            </a:custGeom>
            <a:solidFill>
              <a:srgbClr val="FCEA1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8" name="任意多边形: 形状 357"/>
            <p:cNvSpPr/>
            <p:nvPr/>
          </p:nvSpPr>
          <p:spPr>
            <a:xfrm>
              <a:off x="2051871" y="5505408"/>
              <a:ext cx="27267" cy="13633"/>
            </a:xfrm>
            <a:custGeom>
              <a:avLst/>
              <a:gdLst>
                <a:gd name="connsiteX0" fmla="*/ 26885 w 29872"/>
                <a:gd name="connsiteY0" fmla="*/ 4481 h 14936"/>
                <a:gd name="connsiteX1" fmla="*/ 37341 w 29872"/>
                <a:gd name="connsiteY1" fmla="*/ 10456 h 14936"/>
                <a:gd name="connsiteX2" fmla="*/ 20911 w 29872"/>
                <a:gd name="connsiteY2" fmla="*/ 20911 h 14936"/>
                <a:gd name="connsiteX3" fmla="*/ 10455 w 29872"/>
                <a:gd name="connsiteY3" fmla="*/ 14936 h 14936"/>
                <a:gd name="connsiteX4" fmla="*/ 2987 w 29872"/>
                <a:gd name="connsiteY4" fmla="*/ 11949 h 14936"/>
                <a:gd name="connsiteX5" fmla="*/ 0 w 29872"/>
                <a:gd name="connsiteY5" fmla="*/ 8962 h 14936"/>
                <a:gd name="connsiteX6" fmla="*/ 17924 w 29872"/>
                <a:gd name="connsiteY6" fmla="*/ 0 h 14936"/>
                <a:gd name="connsiteX7" fmla="*/ 20911 w 29872"/>
                <a:gd name="connsiteY7" fmla="*/ 1494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72" h="14936">
                  <a:moveTo>
                    <a:pt x="26885" y="4481"/>
                  </a:moveTo>
                  <a:lnTo>
                    <a:pt x="37341" y="10456"/>
                  </a:lnTo>
                  <a:lnTo>
                    <a:pt x="20911" y="20911"/>
                  </a:lnTo>
                  <a:lnTo>
                    <a:pt x="10455" y="14936"/>
                  </a:lnTo>
                  <a:lnTo>
                    <a:pt x="2987" y="11949"/>
                  </a:lnTo>
                  <a:lnTo>
                    <a:pt x="0" y="8962"/>
                  </a:lnTo>
                  <a:lnTo>
                    <a:pt x="17924" y="0"/>
                  </a:lnTo>
                  <a:lnTo>
                    <a:pt x="20911" y="1494"/>
                  </a:lnTo>
                  <a:close/>
                </a:path>
              </a:pathLst>
            </a:custGeom>
            <a:solidFill>
              <a:srgbClr val="E96B5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9" name="任意多边形: 形状 358"/>
            <p:cNvSpPr/>
            <p:nvPr/>
          </p:nvSpPr>
          <p:spPr>
            <a:xfrm>
              <a:off x="2069594" y="5483594"/>
              <a:ext cx="40900" cy="27267"/>
            </a:xfrm>
            <a:custGeom>
              <a:avLst/>
              <a:gdLst>
                <a:gd name="connsiteX0" fmla="*/ 56758 w 44809"/>
                <a:gd name="connsiteY0" fmla="*/ 13443 h 29872"/>
                <a:gd name="connsiteX1" fmla="*/ 47796 w 44809"/>
                <a:gd name="connsiteY1" fmla="*/ 7468 h 29872"/>
                <a:gd name="connsiteX2" fmla="*/ 46303 w 44809"/>
                <a:gd name="connsiteY2" fmla="*/ 5975 h 29872"/>
                <a:gd name="connsiteX3" fmla="*/ 37341 w 44809"/>
                <a:gd name="connsiteY3" fmla="*/ 0 h 29872"/>
                <a:gd name="connsiteX4" fmla="*/ 19417 w 44809"/>
                <a:gd name="connsiteY4" fmla="*/ 10456 h 29872"/>
                <a:gd name="connsiteX5" fmla="*/ 17924 w 44809"/>
                <a:gd name="connsiteY5" fmla="*/ 11949 h 29872"/>
                <a:gd name="connsiteX6" fmla="*/ 0 w 44809"/>
                <a:gd name="connsiteY6" fmla="*/ 22405 h 29872"/>
                <a:gd name="connsiteX7" fmla="*/ 8962 w 44809"/>
                <a:gd name="connsiteY7" fmla="*/ 28379 h 29872"/>
                <a:gd name="connsiteX8" fmla="*/ 19417 w 44809"/>
                <a:gd name="connsiteY8" fmla="*/ 34354 h 29872"/>
                <a:gd name="connsiteX9" fmla="*/ 38834 w 44809"/>
                <a:gd name="connsiteY9" fmla="*/ 23898 h 29872"/>
                <a:gd name="connsiteX10" fmla="*/ 56758 w 44809"/>
                <a:gd name="connsiteY10" fmla="*/ 13443 h 29872"/>
                <a:gd name="connsiteX11" fmla="*/ 20911 w 44809"/>
                <a:gd name="connsiteY11" fmla="*/ 28379 h 29872"/>
                <a:gd name="connsiteX12" fmla="*/ 46303 w 44809"/>
                <a:gd name="connsiteY12" fmla="*/ 13443 h 29872"/>
                <a:gd name="connsiteX13" fmla="*/ 47796 w 44809"/>
                <a:gd name="connsiteY13" fmla="*/ 13443 h 29872"/>
                <a:gd name="connsiteX14" fmla="*/ 20911 w 44809"/>
                <a:gd name="connsiteY14" fmla="*/ 28379 h 29872"/>
                <a:gd name="connsiteX15" fmla="*/ 20911 w 44809"/>
                <a:gd name="connsiteY15" fmla="*/ 28379 h 29872"/>
                <a:gd name="connsiteX16" fmla="*/ 17924 w 44809"/>
                <a:gd name="connsiteY16" fmla="*/ 26886 h 29872"/>
                <a:gd name="connsiteX17" fmla="*/ 17924 w 44809"/>
                <a:gd name="connsiteY17" fmla="*/ 26886 h 29872"/>
                <a:gd name="connsiteX18" fmla="*/ 26885 w 44809"/>
                <a:gd name="connsiteY18" fmla="*/ 19418 h 29872"/>
                <a:gd name="connsiteX19" fmla="*/ 28379 w 44809"/>
                <a:gd name="connsiteY19" fmla="*/ 19418 h 29872"/>
                <a:gd name="connsiteX20" fmla="*/ 17924 w 44809"/>
                <a:gd name="connsiteY20" fmla="*/ 26886 h 29872"/>
                <a:gd name="connsiteX21" fmla="*/ 35847 w 44809"/>
                <a:gd name="connsiteY21" fmla="*/ 7468 h 29872"/>
                <a:gd name="connsiteX22" fmla="*/ 10455 w 44809"/>
                <a:gd name="connsiteY22" fmla="*/ 22405 h 29872"/>
                <a:gd name="connsiteX23" fmla="*/ 8962 w 44809"/>
                <a:gd name="connsiteY23" fmla="*/ 22405 h 29872"/>
                <a:gd name="connsiteX24" fmla="*/ 35847 w 44809"/>
                <a:gd name="connsiteY24" fmla="*/ 7468 h 29872"/>
                <a:gd name="connsiteX25" fmla="*/ 35847 w 44809"/>
                <a:gd name="connsiteY25" fmla="*/ 7468 h 29872"/>
                <a:gd name="connsiteX26" fmla="*/ 40328 w 44809"/>
                <a:gd name="connsiteY26" fmla="*/ 10456 h 29872"/>
                <a:gd name="connsiteX27" fmla="*/ 14936 w 44809"/>
                <a:gd name="connsiteY27" fmla="*/ 25392 h 29872"/>
                <a:gd name="connsiteX28" fmla="*/ 13443 w 44809"/>
                <a:gd name="connsiteY28" fmla="*/ 25392 h 29872"/>
                <a:gd name="connsiteX29" fmla="*/ 40328 w 44809"/>
                <a:gd name="connsiteY29" fmla="*/ 10456 h 29872"/>
                <a:gd name="connsiteX30" fmla="*/ 40328 w 44809"/>
                <a:gd name="connsiteY30" fmla="*/ 10456 h 29872"/>
                <a:gd name="connsiteX31" fmla="*/ 41822 w 44809"/>
                <a:gd name="connsiteY31" fmla="*/ 11949 h 29872"/>
                <a:gd name="connsiteX32" fmla="*/ 41822 w 44809"/>
                <a:gd name="connsiteY32" fmla="*/ 11949 h 29872"/>
                <a:gd name="connsiteX33" fmla="*/ 32860 w 44809"/>
                <a:gd name="connsiteY33" fmla="*/ 19418 h 29872"/>
                <a:gd name="connsiteX34" fmla="*/ 31366 w 44809"/>
                <a:gd name="connsiteY34" fmla="*/ 19418 h 29872"/>
                <a:gd name="connsiteX35" fmla="*/ 41822 w 44809"/>
                <a:gd name="connsiteY35" fmla="*/ 11949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809" h="29872">
                  <a:moveTo>
                    <a:pt x="56758" y="13443"/>
                  </a:moveTo>
                  <a:lnTo>
                    <a:pt x="47796" y="7468"/>
                  </a:lnTo>
                  <a:lnTo>
                    <a:pt x="46303" y="5975"/>
                  </a:lnTo>
                  <a:lnTo>
                    <a:pt x="37341" y="0"/>
                  </a:lnTo>
                  <a:lnTo>
                    <a:pt x="19417" y="10456"/>
                  </a:lnTo>
                  <a:lnTo>
                    <a:pt x="17924" y="11949"/>
                  </a:lnTo>
                  <a:lnTo>
                    <a:pt x="0" y="22405"/>
                  </a:lnTo>
                  <a:lnTo>
                    <a:pt x="8962" y="28379"/>
                  </a:lnTo>
                  <a:lnTo>
                    <a:pt x="19417" y="34354"/>
                  </a:lnTo>
                  <a:lnTo>
                    <a:pt x="38834" y="23898"/>
                  </a:lnTo>
                  <a:lnTo>
                    <a:pt x="56758" y="13443"/>
                  </a:lnTo>
                  <a:close/>
                  <a:moveTo>
                    <a:pt x="20911" y="28379"/>
                  </a:moveTo>
                  <a:lnTo>
                    <a:pt x="46303" y="13443"/>
                  </a:lnTo>
                  <a:lnTo>
                    <a:pt x="47796" y="13443"/>
                  </a:lnTo>
                  <a:lnTo>
                    <a:pt x="20911" y="28379"/>
                  </a:lnTo>
                  <a:lnTo>
                    <a:pt x="20911" y="28379"/>
                  </a:lnTo>
                  <a:close/>
                  <a:moveTo>
                    <a:pt x="17924" y="26886"/>
                  </a:moveTo>
                  <a:lnTo>
                    <a:pt x="17924" y="26886"/>
                  </a:lnTo>
                  <a:lnTo>
                    <a:pt x="26885" y="19418"/>
                  </a:lnTo>
                  <a:lnTo>
                    <a:pt x="28379" y="19418"/>
                  </a:lnTo>
                  <a:lnTo>
                    <a:pt x="17924" y="26886"/>
                  </a:lnTo>
                  <a:close/>
                  <a:moveTo>
                    <a:pt x="35847" y="7468"/>
                  </a:moveTo>
                  <a:lnTo>
                    <a:pt x="10455" y="22405"/>
                  </a:lnTo>
                  <a:lnTo>
                    <a:pt x="8962" y="22405"/>
                  </a:lnTo>
                  <a:lnTo>
                    <a:pt x="35847" y="7468"/>
                  </a:lnTo>
                  <a:lnTo>
                    <a:pt x="35847" y="7468"/>
                  </a:lnTo>
                  <a:close/>
                  <a:moveTo>
                    <a:pt x="40328" y="10456"/>
                  </a:moveTo>
                  <a:lnTo>
                    <a:pt x="14936" y="25392"/>
                  </a:lnTo>
                  <a:lnTo>
                    <a:pt x="13443" y="25392"/>
                  </a:lnTo>
                  <a:lnTo>
                    <a:pt x="40328" y="10456"/>
                  </a:lnTo>
                  <a:lnTo>
                    <a:pt x="40328" y="10456"/>
                  </a:lnTo>
                  <a:close/>
                  <a:moveTo>
                    <a:pt x="41822" y="11949"/>
                  </a:moveTo>
                  <a:lnTo>
                    <a:pt x="41822" y="11949"/>
                  </a:lnTo>
                  <a:lnTo>
                    <a:pt x="32860" y="19418"/>
                  </a:lnTo>
                  <a:lnTo>
                    <a:pt x="31366" y="19418"/>
                  </a:lnTo>
                  <a:lnTo>
                    <a:pt x="41822" y="11949"/>
                  </a:lnTo>
                  <a:close/>
                </a:path>
              </a:pathLst>
            </a:custGeom>
            <a:solidFill>
              <a:srgbClr val="FFFF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0" name="任意多边形: 形状 359"/>
            <p:cNvSpPr/>
            <p:nvPr/>
          </p:nvSpPr>
          <p:spPr>
            <a:xfrm>
              <a:off x="2079137" y="5556193"/>
              <a:ext cx="13633" cy="13633"/>
            </a:xfrm>
            <a:custGeom>
              <a:avLst/>
              <a:gdLst>
                <a:gd name="connsiteX0" fmla="*/ 10455 w 0"/>
                <a:gd name="connsiteY0" fmla="*/ 1120 h 0"/>
                <a:gd name="connsiteX1" fmla="*/ 2987 w 0"/>
                <a:gd name="connsiteY1" fmla="*/ 5601 h 0"/>
                <a:gd name="connsiteX2" fmla="*/ 1494 w 0"/>
                <a:gd name="connsiteY2" fmla="*/ 7095 h 0"/>
                <a:gd name="connsiteX3" fmla="*/ 1494 w 0"/>
                <a:gd name="connsiteY3" fmla="*/ 7095 h 0"/>
                <a:gd name="connsiteX4" fmla="*/ 1494 w 0"/>
                <a:gd name="connsiteY4" fmla="*/ 7095 h 0"/>
                <a:gd name="connsiteX5" fmla="*/ 1494 w 0"/>
                <a:gd name="connsiteY5" fmla="*/ 7095 h 0"/>
                <a:gd name="connsiteX6" fmla="*/ 0 w 0"/>
                <a:gd name="connsiteY6" fmla="*/ 7095 h 0"/>
                <a:gd name="connsiteX7" fmla="*/ 0 w 0"/>
                <a:gd name="connsiteY7" fmla="*/ 7095 h 0"/>
                <a:gd name="connsiteX8" fmla="*/ 0 w 0"/>
                <a:gd name="connsiteY8" fmla="*/ 7095 h 0"/>
                <a:gd name="connsiteX9" fmla="*/ 1494 w 0"/>
                <a:gd name="connsiteY9" fmla="*/ 5601 h 0"/>
                <a:gd name="connsiteX10" fmla="*/ 10455 w 0"/>
                <a:gd name="connsiteY10" fmla="*/ 1120 h 0"/>
                <a:gd name="connsiteX11" fmla="*/ 10455 w 0"/>
                <a:gd name="connsiteY11" fmla="*/ 1120 h 0"/>
                <a:gd name="connsiteX12" fmla="*/ 10455 w 0"/>
                <a:gd name="connsiteY12" fmla="*/ 1120 h 0"/>
                <a:gd name="connsiteX13" fmla="*/ 10455 w 0"/>
                <a:gd name="connsiteY13" fmla="*/ 11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>
                  <a:moveTo>
                    <a:pt x="10455" y="1120"/>
                  </a:moveTo>
                  <a:lnTo>
                    <a:pt x="2987" y="5601"/>
                  </a:lnTo>
                  <a:cubicBezTo>
                    <a:pt x="2987" y="5601"/>
                    <a:pt x="1494" y="7095"/>
                    <a:pt x="1494" y="7095"/>
                  </a:cubicBezTo>
                  <a:lnTo>
                    <a:pt x="1494" y="7095"/>
                  </a:lnTo>
                  <a:cubicBezTo>
                    <a:pt x="1494" y="7095"/>
                    <a:pt x="1494" y="7095"/>
                    <a:pt x="1494" y="7095"/>
                  </a:cubicBezTo>
                  <a:lnTo>
                    <a:pt x="1494" y="7095"/>
                  </a:lnTo>
                  <a:lnTo>
                    <a:pt x="0" y="7095"/>
                  </a:lnTo>
                  <a:cubicBezTo>
                    <a:pt x="0" y="7095"/>
                    <a:pt x="0" y="7095"/>
                    <a:pt x="0" y="7095"/>
                  </a:cubicBezTo>
                  <a:lnTo>
                    <a:pt x="0" y="7095"/>
                  </a:lnTo>
                  <a:cubicBezTo>
                    <a:pt x="0" y="7095"/>
                    <a:pt x="0" y="5601"/>
                    <a:pt x="1494" y="5601"/>
                  </a:cubicBezTo>
                  <a:lnTo>
                    <a:pt x="10455" y="1120"/>
                  </a:lnTo>
                  <a:cubicBezTo>
                    <a:pt x="8962" y="-373"/>
                    <a:pt x="8962" y="-373"/>
                    <a:pt x="10455" y="1120"/>
                  </a:cubicBezTo>
                  <a:lnTo>
                    <a:pt x="10455" y="1120"/>
                  </a:lnTo>
                  <a:cubicBezTo>
                    <a:pt x="10455" y="1120"/>
                    <a:pt x="10455" y="1120"/>
                    <a:pt x="10455" y="1120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1" name="任意多边形: 形状 360"/>
            <p:cNvSpPr/>
            <p:nvPr/>
          </p:nvSpPr>
          <p:spPr>
            <a:xfrm>
              <a:off x="2088681" y="5557216"/>
              <a:ext cx="13633" cy="13633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2" name="任意多边形: 形状 361"/>
            <p:cNvSpPr/>
            <p:nvPr/>
          </p:nvSpPr>
          <p:spPr>
            <a:xfrm>
              <a:off x="2080501" y="5555852"/>
              <a:ext cx="13633" cy="13633"/>
            </a:xfrm>
            <a:custGeom>
              <a:avLst/>
              <a:gdLst>
                <a:gd name="connsiteX0" fmla="*/ 0 w 0"/>
                <a:gd name="connsiteY0" fmla="*/ 7468 h 0"/>
                <a:gd name="connsiteX1" fmla="*/ 0 w 0"/>
                <a:gd name="connsiteY1" fmla="*/ 7468 h 0"/>
                <a:gd name="connsiteX2" fmla="*/ 0 w 0"/>
                <a:gd name="connsiteY2" fmla="*/ 7468 h 0"/>
                <a:gd name="connsiteX3" fmla="*/ 1493 w 0"/>
                <a:gd name="connsiteY3" fmla="*/ 4481 h 0"/>
                <a:gd name="connsiteX4" fmla="*/ 8962 w 0"/>
                <a:gd name="connsiteY4" fmla="*/ 0 h 0"/>
                <a:gd name="connsiteX5" fmla="*/ 10455 w 0"/>
                <a:gd name="connsiteY5" fmla="*/ 0 h 0"/>
                <a:gd name="connsiteX6" fmla="*/ 10455 w 0"/>
                <a:gd name="connsiteY6" fmla="*/ 0 h 0"/>
                <a:gd name="connsiteX7" fmla="*/ 10455 w 0"/>
                <a:gd name="connsiteY7" fmla="*/ 0 h 0"/>
                <a:gd name="connsiteX8" fmla="*/ 10455 w 0"/>
                <a:gd name="connsiteY8" fmla="*/ 0 h 0"/>
                <a:gd name="connsiteX9" fmla="*/ 10455 w 0"/>
                <a:gd name="connsiteY9" fmla="*/ 0 h 0"/>
                <a:gd name="connsiteX10" fmla="*/ 10455 w 0"/>
                <a:gd name="connsiteY10" fmla="*/ 1494 h 0"/>
                <a:gd name="connsiteX11" fmla="*/ 10455 w 0"/>
                <a:gd name="connsiteY11" fmla="*/ 1494 h 0"/>
                <a:gd name="connsiteX12" fmla="*/ 0 w 0"/>
                <a:gd name="connsiteY12" fmla="*/ 7468 h 0"/>
                <a:gd name="connsiteX13" fmla="*/ 0 w 0"/>
                <a:gd name="connsiteY13" fmla="*/ 7468 h 0"/>
                <a:gd name="connsiteX14" fmla="*/ 0 w 0"/>
                <a:gd name="connsiteY14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>
                  <a:moveTo>
                    <a:pt x="0" y="7468"/>
                  </a:moveTo>
                  <a:cubicBezTo>
                    <a:pt x="0" y="7468"/>
                    <a:pt x="0" y="7468"/>
                    <a:pt x="0" y="7468"/>
                  </a:cubicBezTo>
                  <a:lnTo>
                    <a:pt x="0" y="7468"/>
                  </a:lnTo>
                  <a:cubicBezTo>
                    <a:pt x="0" y="5974"/>
                    <a:pt x="0" y="5974"/>
                    <a:pt x="1493" y="4481"/>
                  </a:cubicBezTo>
                  <a:lnTo>
                    <a:pt x="8962" y="0"/>
                  </a:lnTo>
                  <a:cubicBezTo>
                    <a:pt x="8962" y="0"/>
                    <a:pt x="8962" y="0"/>
                    <a:pt x="10455" y="0"/>
                  </a:cubicBezTo>
                  <a:lnTo>
                    <a:pt x="10455" y="0"/>
                  </a:lnTo>
                  <a:cubicBezTo>
                    <a:pt x="10455" y="0"/>
                    <a:pt x="10455" y="0"/>
                    <a:pt x="10455" y="0"/>
                  </a:cubicBezTo>
                  <a:cubicBezTo>
                    <a:pt x="10455" y="0"/>
                    <a:pt x="10455" y="0"/>
                    <a:pt x="10455" y="0"/>
                  </a:cubicBezTo>
                  <a:lnTo>
                    <a:pt x="10455" y="0"/>
                  </a:lnTo>
                  <a:cubicBezTo>
                    <a:pt x="10455" y="0"/>
                    <a:pt x="10455" y="1494"/>
                    <a:pt x="10455" y="1494"/>
                  </a:cubicBezTo>
                  <a:cubicBezTo>
                    <a:pt x="10455" y="1494"/>
                    <a:pt x="10455" y="1494"/>
                    <a:pt x="10455" y="1494"/>
                  </a:cubicBezTo>
                  <a:lnTo>
                    <a:pt x="0" y="7468"/>
                  </a:lnTo>
                  <a:cubicBezTo>
                    <a:pt x="1493" y="7468"/>
                    <a:pt x="1493" y="7468"/>
                    <a:pt x="0" y="7468"/>
                  </a:cubicBezTo>
                  <a:cubicBezTo>
                    <a:pt x="1493" y="7468"/>
                    <a:pt x="0" y="7468"/>
                    <a:pt x="0" y="7468"/>
                  </a:cubicBezTo>
                  <a:close/>
                </a:path>
              </a:pathLst>
            </a:custGeom>
            <a:solidFill>
              <a:srgbClr val="B2B2B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3" name="任意多边形: 形状 362"/>
            <p:cNvSpPr/>
            <p:nvPr/>
          </p:nvSpPr>
          <p:spPr>
            <a:xfrm>
              <a:off x="2090044" y="5549035"/>
              <a:ext cx="13633" cy="13633"/>
            </a:xfrm>
            <a:custGeom>
              <a:avLst/>
              <a:gdLst>
                <a:gd name="connsiteX0" fmla="*/ 11949 w 0"/>
                <a:gd name="connsiteY0" fmla="*/ 0 h 0"/>
                <a:gd name="connsiteX1" fmla="*/ 2987 w 0"/>
                <a:gd name="connsiteY1" fmla="*/ 5974 h 0"/>
                <a:gd name="connsiteX2" fmla="*/ 1493 w 0"/>
                <a:gd name="connsiteY2" fmla="*/ 7468 h 0"/>
                <a:gd name="connsiteX3" fmla="*/ 1493 w 0"/>
                <a:gd name="connsiteY3" fmla="*/ 7468 h 0"/>
                <a:gd name="connsiteX4" fmla="*/ 1493 w 0"/>
                <a:gd name="connsiteY4" fmla="*/ 7468 h 0"/>
                <a:gd name="connsiteX5" fmla="*/ 1493 w 0"/>
                <a:gd name="connsiteY5" fmla="*/ 7468 h 0"/>
                <a:gd name="connsiteX6" fmla="*/ 0 w 0"/>
                <a:gd name="connsiteY6" fmla="*/ 7468 h 0"/>
                <a:gd name="connsiteX7" fmla="*/ 0 w 0"/>
                <a:gd name="connsiteY7" fmla="*/ 7468 h 0"/>
                <a:gd name="connsiteX8" fmla="*/ 0 w 0"/>
                <a:gd name="connsiteY8" fmla="*/ 7468 h 0"/>
                <a:gd name="connsiteX9" fmla="*/ 0 w 0"/>
                <a:gd name="connsiteY9" fmla="*/ 7468 h 0"/>
                <a:gd name="connsiteX10" fmla="*/ 1493 w 0"/>
                <a:gd name="connsiteY10" fmla="*/ 5974 h 0"/>
                <a:gd name="connsiteX11" fmla="*/ 11949 w 0"/>
                <a:gd name="connsiteY11" fmla="*/ 0 h 0"/>
                <a:gd name="connsiteX12" fmla="*/ 11949 w 0"/>
                <a:gd name="connsiteY12" fmla="*/ 0 h 0"/>
                <a:gd name="connsiteX13" fmla="*/ 11949 w 0"/>
                <a:gd name="connsiteY13" fmla="*/ 0 h 0"/>
                <a:gd name="connsiteX14" fmla="*/ 11949 w 0"/>
                <a:gd name="connsiteY14" fmla="*/ 0 h 0"/>
                <a:gd name="connsiteX15" fmla="*/ 11949 w 0"/>
                <a:gd name="connsiteY15" fmla="*/ 0 h 0"/>
                <a:gd name="connsiteX16" fmla="*/ 11949 w 0"/>
                <a:gd name="connsiteY1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>
                  <a:moveTo>
                    <a:pt x="11949" y="0"/>
                  </a:moveTo>
                  <a:lnTo>
                    <a:pt x="2987" y="5974"/>
                  </a:lnTo>
                  <a:cubicBezTo>
                    <a:pt x="2987" y="5974"/>
                    <a:pt x="1493" y="7468"/>
                    <a:pt x="1493" y="7468"/>
                  </a:cubicBezTo>
                  <a:lnTo>
                    <a:pt x="1493" y="7468"/>
                  </a:lnTo>
                  <a:cubicBezTo>
                    <a:pt x="1493" y="7468"/>
                    <a:pt x="1493" y="7468"/>
                    <a:pt x="1493" y="7468"/>
                  </a:cubicBezTo>
                  <a:lnTo>
                    <a:pt x="1493" y="7468"/>
                  </a:lnTo>
                  <a:lnTo>
                    <a:pt x="0" y="7468"/>
                  </a:lnTo>
                  <a:lnTo>
                    <a:pt x="0" y="7468"/>
                  </a:lnTo>
                  <a:cubicBezTo>
                    <a:pt x="0" y="7468"/>
                    <a:pt x="0" y="7468"/>
                    <a:pt x="0" y="7468"/>
                  </a:cubicBezTo>
                  <a:lnTo>
                    <a:pt x="0" y="7468"/>
                  </a:lnTo>
                  <a:cubicBezTo>
                    <a:pt x="0" y="7468"/>
                    <a:pt x="0" y="5974"/>
                    <a:pt x="1493" y="5974"/>
                  </a:cubicBezTo>
                  <a:lnTo>
                    <a:pt x="11949" y="0"/>
                  </a:lnTo>
                  <a:cubicBezTo>
                    <a:pt x="11949" y="0"/>
                    <a:pt x="11949" y="0"/>
                    <a:pt x="11949" y="0"/>
                  </a:cubicBezTo>
                  <a:lnTo>
                    <a:pt x="11949" y="0"/>
                  </a:lnTo>
                  <a:lnTo>
                    <a:pt x="11949" y="0"/>
                  </a:lnTo>
                  <a:lnTo>
                    <a:pt x="11949" y="0"/>
                  </a:lnTo>
                  <a:cubicBezTo>
                    <a:pt x="13443" y="0"/>
                    <a:pt x="11949" y="0"/>
                    <a:pt x="11949" y="0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4" name="任意多边形: 形状 363"/>
            <p:cNvSpPr/>
            <p:nvPr/>
          </p:nvSpPr>
          <p:spPr>
            <a:xfrm>
              <a:off x="2091408" y="5549035"/>
              <a:ext cx="13633" cy="13633"/>
            </a:xfrm>
            <a:custGeom>
              <a:avLst/>
              <a:gdLst>
                <a:gd name="connsiteX0" fmla="*/ 0 w 0"/>
                <a:gd name="connsiteY0" fmla="*/ 8962 h 0"/>
                <a:gd name="connsiteX1" fmla="*/ 0 w 0"/>
                <a:gd name="connsiteY1" fmla="*/ 8962 h 0"/>
                <a:gd name="connsiteX2" fmla="*/ 0 w 0"/>
                <a:gd name="connsiteY2" fmla="*/ 8962 h 0"/>
                <a:gd name="connsiteX3" fmla="*/ 1494 w 0"/>
                <a:gd name="connsiteY3" fmla="*/ 5974 h 0"/>
                <a:gd name="connsiteX4" fmla="*/ 10456 w 0"/>
                <a:gd name="connsiteY4" fmla="*/ 0 h 0"/>
                <a:gd name="connsiteX5" fmla="*/ 10456 w 0"/>
                <a:gd name="connsiteY5" fmla="*/ 0 h 0"/>
                <a:gd name="connsiteX6" fmla="*/ 10456 w 0"/>
                <a:gd name="connsiteY6" fmla="*/ 0 h 0"/>
                <a:gd name="connsiteX7" fmla="*/ 10456 w 0"/>
                <a:gd name="connsiteY7" fmla="*/ 0 h 0"/>
                <a:gd name="connsiteX8" fmla="*/ 10456 w 0"/>
                <a:gd name="connsiteY8" fmla="*/ 1494 h 0"/>
                <a:gd name="connsiteX9" fmla="*/ 10456 w 0"/>
                <a:gd name="connsiteY9" fmla="*/ 1494 h 0"/>
                <a:gd name="connsiteX10" fmla="*/ 0 w 0"/>
                <a:gd name="connsiteY10" fmla="*/ 8962 h 0"/>
                <a:gd name="connsiteX11" fmla="*/ 0 w 0"/>
                <a:gd name="connsiteY11" fmla="*/ 8962 h 0"/>
                <a:gd name="connsiteX12" fmla="*/ 0 w 0"/>
                <a:gd name="connsiteY12" fmla="*/ 896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>
                  <a:moveTo>
                    <a:pt x="0" y="8962"/>
                  </a:moveTo>
                  <a:cubicBezTo>
                    <a:pt x="0" y="8962"/>
                    <a:pt x="0" y="8962"/>
                    <a:pt x="0" y="8962"/>
                  </a:cubicBezTo>
                  <a:lnTo>
                    <a:pt x="0" y="8962"/>
                  </a:lnTo>
                  <a:cubicBezTo>
                    <a:pt x="0" y="7468"/>
                    <a:pt x="0" y="7468"/>
                    <a:pt x="1494" y="5974"/>
                  </a:cubicBezTo>
                  <a:lnTo>
                    <a:pt x="10456" y="0"/>
                  </a:lnTo>
                  <a:cubicBezTo>
                    <a:pt x="10456" y="0"/>
                    <a:pt x="10456" y="0"/>
                    <a:pt x="10456" y="0"/>
                  </a:cubicBezTo>
                  <a:cubicBezTo>
                    <a:pt x="10456" y="0"/>
                    <a:pt x="10456" y="0"/>
                    <a:pt x="10456" y="0"/>
                  </a:cubicBezTo>
                  <a:lnTo>
                    <a:pt x="10456" y="0"/>
                  </a:lnTo>
                  <a:cubicBezTo>
                    <a:pt x="10456" y="0"/>
                    <a:pt x="10456" y="1494"/>
                    <a:pt x="10456" y="1494"/>
                  </a:cubicBezTo>
                  <a:cubicBezTo>
                    <a:pt x="10456" y="1494"/>
                    <a:pt x="10456" y="1494"/>
                    <a:pt x="10456" y="1494"/>
                  </a:cubicBezTo>
                  <a:lnTo>
                    <a:pt x="0" y="8962"/>
                  </a:lnTo>
                  <a:cubicBezTo>
                    <a:pt x="1494" y="8962"/>
                    <a:pt x="1494" y="8962"/>
                    <a:pt x="0" y="8962"/>
                  </a:cubicBezTo>
                  <a:cubicBezTo>
                    <a:pt x="0" y="8962"/>
                    <a:pt x="0" y="8962"/>
                    <a:pt x="0" y="8962"/>
                  </a:cubicBezTo>
                  <a:close/>
                </a:path>
              </a:pathLst>
            </a:custGeom>
            <a:solidFill>
              <a:srgbClr val="B2B2B2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5" name="任意多边形: 形状 364"/>
            <p:cNvSpPr/>
            <p:nvPr/>
          </p:nvSpPr>
          <p:spPr>
            <a:xfrm>
              <a:off x="1979613" y="5527222"/>
              <a:ext cx="54534" cy="40900"/>
            </a:xfrm>
            <a:custGeom>
              <a:avLst/>
              <a:gdLst>
                <a:gd name="connsiteX0" fmla="*/ 64226 w 59745"/>
                <a:gd name="connsiteY0" fmla="*/ 4481 h 44809"/>
                <a:gd name="connsiteX1" fmla="*/ 56758 w 59745"/>
                <a:gd name="connsiteY1" fmla="*/ 1494 h 44809"/>
                <a:gd name="connsiteX2" fmla="*/ 50784 w 59745"/>
                <a:gd name="connsiteY2" fmla="*/ 2987 h 44809"/>
                <a:gd name="connsiteX3" fmla="*/ 43316 w 59745"/>
                <a:gd name="connsiteY3" fmla="*/ 1494 h 44809"/>
                <a:gd name="connsiteX4" fmla="*/ 10455 w 59745"/>
                <a:gd name="connsiteY4" fmla="*/ 5974 h 44809"/>
                <a:gd name="connsiteX5" fmla="*/ 5975 w 59745"/>
                <a:gd name="connsiteY5" fmla="*/ 8962 h 44809"/>
                <a:gd name="connsiteX6" fmla="*/ 0 w 59745"/>
                <a:gd name="connsiteY6" fmla="*/ 22405 h 44809"/>
                <a:gd name="connsiteX7" fmla="*/ 0 w 59745"/>
                <a:gd name="connsiteY7" fmla="*/ 25392 h 44809"/>
                <a:gd name="connsiteX8" fmla="*/ 1494 w 59745"/>
                <a:gd name="connsiteY8" fmla="*/ 28379 h 44809"/>
                <a:gd name="connsiteX9" fmla="*/ 16430 w 59745"/>
                <a:gd name="connsiteY9" fmla="*/ 43315 h 44809"/>
                <a:gd name="connsiteX10" fmla="*/ 37341 w 59745"/>
                <a:gd name="connsiteY10" fmla="*/ 50783 h 44809"/>
                <a:gd name="connsiteX11" fmla="*/ 44809 w 59745"/>
                <a:gd name="connsiteY11" fmla="*/ 52277 h 44809"/>
                <a:gd name="connsiteX12" fmla="*/ 44809 w 59745"/>
                <a:gd name="connsiteY12" fmla="*/ 22405 h 44809"/>
                <a:gd name="connsiteX13" fmla="*/ 47796 w 59745"/>
                <a:gd name="connsiteY13" fmla="*/ 14936 h 44809"/>
                <a:gd name="connsiteX14" fmla="*/ 55264 w 59745"/>
                <a:gd name="connsiteY14" fmla="*/ 14936 h 44809"/>
                <a:gd name="connsiteX15" fmla="*/ 64226 w 59745"/>
                <a:gd name="connsiteY15" fmla="*/ 448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745" h="44809">
                  <a:moveTo>
                    <a:pt x="64226" y="4481"/>
                  </a:moveTo>
                  <a:cubicBezTo>
                    <a:pt x="62733" y="2987"/>
                    <a:pt x="59745" y="1494"/>
                    <a:pt x="56758" y="1494"/>
                  </a:cubicBezTo>
                  <a:cubicBezTo>
                    <a:pt x="55264" y="1494"/>
                    <a:pt x="52277" y="2987"/>
                    <a:pt x="50784" y="2987"/>
                  </a:cubicBezTo>
                  <a:cubicBezTo>
                    <a:pt x="47796" y="2987"/>
                    <a:pt x="44809" y="2987"/>
                    <a:pt x="43316" y="1494"/>
                  </a:cubicBezTo>
                  <a:cubicBezTo>
                    <a:pt x="32860" y="-1494"/>
                    <a:pt x="20911" y="0"/>
                    <a:pt x="10455" y="5974"/>
                  </a:cubicBezTo>
                  <a:cubicBezTo>
                    <a:pt x="8962" y="7468"/>
                    <a:pt x="7468" y="7468"/>
                    <a:pt x="5975" y="8962"/>
                  </a:cubicBezTo>
                  <a:cubicBezTo>
                    <a:pt x="2987" y="11949"/>
                    <a:pt x="0" y="17924"/>
                    <a:pt x="0" y="22405"/>
                  </a:cubicBezTo>
                  <a:cubicBezTo>
                    <a:pt x="0" y="23898"/>
                    <a:pt x="0" y="25392"/>
                    <a:pt x="0" y="25392"/>
                  </a:cubicBezTo>
                  <a:cubicBezTo>
                    <a:pt x="0" y="26885"/>
                    <a:pt x="0" y="26885"/>
                    <a:pt x="1494" y="28379"/>
                  </a:cubicBezTo>
                  <a:cubicBezTo>
                    <a:pt x="4481" y="34353"/>
                    <a:pt x="10455" y="40328"/>
                    <a:pt x="16430" y="43315"/>
                  </a:cubicBezTo>
                  <a:cubicBezTo>
                    <a:pt x="22405" y="46303"/>
                    <a:pt x="29873" y="49290"/>
                    <a:pt x="37341" y="50783"/>
                  </a:cubicBezTo>
                  <a:cubicBezTo>
                    <a:pt x="40328" y="50783"/>
                    <a:pt x="41822" y="52277"/>
                    <a:pt x="44809" y="52277"/>
                  </a:cubicBezTo>
                  <a:lnTo>
                    <a:pt x="44809" y="22405"/>
                  </a:lnTo>
                  <a:cubicBezTo>
                    <a:pt x="44809" y="22405"/>
                    <a:pt x="46303" y="16430"/>
                    <a:pt x="47796" y="14936"/>
                  </a:cubicBezTo>
                  <a:cubicBezTo>
                    <a:pt x="50784" y="14936"/>
                    <a:pt x="53771" y="14936"/>
                    <a:pt x="55264" y="14936"/>
                  </a:cubicBezTo>
                  <a:cubicBezTo>
                    <a:pt x="70201" y="13443"/>
                    <a:pt x="64226" y="4481"/>
                    <a:pt x="64226" y="4481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6" name="任意多边形: 形状 365"/>
            <p:cNvSpPr/>
            <p:nvPr/>
          </p:nvSpPr>
          <p:spPr>
            <a:xfrm>
              <a:off x="2068277" y="5449657"/>
              <a:ext cx="68168" cy="54534"/>
            </a:xfrm>
            <a:custGeom>
              <a:avLst/>
              <a:gdLst>
                <a:gd name="connsiteX0" fmla="*/ 28328 w 74681"/>
                <a:gd name="connsiteY0" fmla="*/ 1333 h 59745"/>
                <a:gd name="connsiteX1" fmla="*/ 5924 w 74681"/>
                <a:gd name="connsiteY1" fmla="*/ 4321 h 59745"/>
                <a:gd name="connsiteX2" fmla="*/ 4430 w 74681"/>
                <a:gd name="connsiteY2" fmla="*/ 23738 h 59745"/>
                <a:gd name="connsiteX3" fmla="*/ 29822 w 74681"/>
                <a:gd name="connsiteY3" fmla="*/ 49130 h 59745"/>
                <a:gd name="connsiteX4" fmla="*/ 38784 w 74681"/>
                <a:gd name="connsiteY4" fmla="*/ 50623 h 59745"/>
                <a:gd name="connsiteX5" fmla="*/ 46252 w 74681"/>
                <a:gd name="connsiteY5" fmla="*/ 55104 h 59745"/>
                <a:gd name="connsiteX6" fmla="*/ 53720 w 74681"/>
                <a:gd name="connsiteY6" fmla="*/ 56598 h 59745"/>
                <a:gd name="connsiteX7" fmla="*/ 46252 w 74681"/>
                <a:gd name="connsiteY7" fmla="*/ 41661 h 59745"/>
                <a:gd name="connsiteX8" fmla="*/ 79112 w 74681"/>
                <a:gd name="connsiteY8" fmla="*/ 64066 h 59745"/>
                <a:gd name="connsiteX9" fmla="*/ 85086 w 74681"/>
                <a:gd name="connsiteY9" fmla="*/ 58091 h 59745"/>
                <a:gd name="connsiteX10" fmla="*/ 67163 w 74681"/>
                <a:gd name="connsiteY10" fmla="*/ 41661 h 59745"/>
                <a:gd name="connsiteX11" fmla="*/ 73137 w 74681"/>
                <a:gd name="connsiteY11" fmla="*/ 26725 h 59745"/>
                <a:gd name="connsiteX12" fmla="*/ 55214 w 74681"/>
                <a:gd name="connsiteY12" fmla="*/ 4321 h 59745"/>
                <a:gd name="connsiteX13" fmla="*/ 28328 w 74681"/>
                <a:gd name="connsiteY13" fmla="*/ 1333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681" h="59745">
                  <a:moveTo>
                    <a:pt x="28328" y="1333"/>
                  </a:moveTo>
                  <a:cubicBezTo>
                    <a:pt x="19367" y="1333"/>
                    <a:pt x="13392" y="-3148"/>
                    <a:pt x="5924" y="4321"/>
                  </a:cubicBezTo>
                  <a:cubicBezTo>
                    <a:pt x="-51" y="11789"/>
                    <a:pt x="-3038" y="17763"/>
                    <a:pt x="4430" y="23738"/>
                  </a:cubicBezTo>
                  <a:cubicBezTo>
                    <a:pt x="8911" y="28219"/>
                    <a:pt x="23847" y="47636"/>
                    <a:pt x="29822" y="49130"/>
                  </a:cubicBezTo>
                  <a:cubicBezTo>
                    <a:pt x="32809" y="49130"/>
                    <a:pt x="35797" y="49130"/>
                    <a:pt x="38784" y="50623"/>
                  </a:cubicBezTo>
                  <a:cubicBezTo>
                    <a:pt x="41771" y="52117"/>
                    <a:pt x="43265" y="53610"/>
                    <a:pt x="46252" y="55104"/>
                  </a:cubicBezTo>
                  <a:cubicBezTo>
                    <a:pt x="47745" y="56598"/>
                    <a:pt x="50733" y="58091"/>
                    <a:pt x="53720" y="56598"/>
                  </a:cubicBezTo>
                  <a:cubicBezTo>
                    <a:pt x="55214" y="56598"/>
                    <a:pt x="56707" y="50623"/>
                    <a:pt x="46252" y="41661"/>
                  </a:cubicBezTo>
                  <a:cubicBezTo>
                    <a:pt x="43265" y="40168"/>
                    <a:pt x="64176" y="50623"/>
                    <a:pt x="79112" y="64066"/>
                  </a:cubicBezTo>
                  <a:cubicBezTo>
                    <a:pt x="82099" y="65560"/>
                    <a:pt x="89567" y="65560"/>
                    <a:pt x="85086" y="58091"/>
                  </a:cubicBezTo>
                  <a:cubicBezTo>
                    <a:pt x="80606" y="50623"/>
                    <a:pt x="73137" y="46142"/>
                    <a:pt x="67163" y="41661"/>
                  </a:cubicBezTo>
                  <a:cubicBezTo>
                    <a:pt x="70150" y="38674"/>
                    <a:pt x="73137" y="31206"/>
                    <a:pt x="73137" y="26725"/>
                  </a:cubicBezTo>
                  <a:cubicBezTo>
                    <a:pt x="73137" y="22244"/>
                    <a:pt x="59695" y="7308"/>
                    <a:pt x="55214" y="4321"/>
                  </a:cubicBezTo>
                  <a:cubicBezTo>
                    <a:pt x="49239" y="1333"/>
                    <a:pt x="32809" y="1333"/>
                    <a:pt x="28328" y="1333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4" name="任意多边形: 形状 403"/>
            <p:cNvSpPr/>
            <p:nvPr/>
          </p:nvSpPr>
          <p:spPr>
            <a:xfrm>
              <a:off x="3997370" y="4050715"/>
              <a:ext cx="68168" cy="81801"/>
            </a:xfrm>
            <a:custGeom>
              <a:avLst/>
              <a:gdLst>
                <a:gd name="connsiteX0" fmla="*/ 0 w 74681"/>
                <a:gd name="connsiteY0" fmla="*/ 8962 h 89618"/>
                <a:gd name="connsiteX1" fmla="*/ 17923 w 74681"/>
                <a:gd name="connsiteY1" fmla="*/ 0 h 89618"/>
                <a:gd name="connsiteX2" fmla="*/ 74682 w 74681"/>
                <a:gd name="connsiteY2" fmla="*/ 70201 h 89618"/>
                <a:gd name="connsiteX3" fmla="*/ 68707 w 74681"/>
                <a:gd name="connsiteY3" fmla="*/ 98580 h 89618"/>
                <a:gd name="connsiteX4" fmla="*/ 68707 w 74681"/>
                <a:gd name="connsiteY4" fmla="*/ 98580 h 89618"/>
                <a:gd name="connsiteX5" fmla="*/ 40328 w 74681"/>
                <a:gd name="connsiteY5" fmla="*/ 92605 h 89618"/>
                <a:gd name="connsiteX6" fmla="*/ 0 w 74681"/>
                <a:gd name="connsiteY6" fmla="*/ 8962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681" h="89618">
                  <a:moveTo>
                    <a:pt x="0" y="8962"/>
                  </a:moveTo>
                  <a:lnTo>
                    <a:pt x="17923" y="0"/>
                  </a:lnTo>
                  <a:lnTo>
                    <a:pt x="74682" y="70201"/>
                  </a:lnTo>
                  <a:cubicBezTo>
                    <a:pt x="80656" y="79163"/>
                    <a:pt x="79162" y="91112"/>
                    <a:pt x="68707" y="98580"/>
                  </a:cubicBezTo>
                  <a:lnTo>
                    <a:pt x="68707" y="98580"/>
                  </a:lnTo>
                  <a:cubicBezTo>
                    <a:pt x="59745" y="104555"/>
                    <a:pt x="46302" y="101567"/>
                    <a:pt x="40328" y="92605"/>
                  </a:cubicBezTo>
                  <a:lnTo>
                    <a:pt x="0" y="8962"/>
                  </a:ln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5" name="任意多边形: 形状 404"/>
            <p:cNvSpPr/>
            <p:nvPr/>
          </p:nvSpPr>
          <p:spPr>
            <a:xfrm>
              <a:off x="3976002" y="3988447"/>
              <a:ext cx="27267" cy="68168"/>
            </a:xfrm>
            <a:custGeom>
              <a:avLst/>
              <a:gdLst>
                <a:gd name="connsiteX0" fmla="*/ 23410 w 29872"/>
                <a:gd name="connsiteY0" fmla="*/ 77180 h 74681"/>
                <a:gd name="connsiteX1" fmla="*/ 41333 w 29872"/>
                <a:gd name="connsiteY1" fmla="*/ 66725 h 74681"/>
                <a:gd name="connsiteX2" fmla="*/ 38346 w 29872"/>
                <a:gd name="connsiteY2" fmla="*/ 38346 h 74681"/>
                <a:gd name="connsiteX3" fmla="*/ 33865 w 29872"/>
                <a:gd name="connsiteY3" fmla="*/ 26397 h 74681"/>
                <a:gd name="connsiteX4" fmla="*/ 26397 w 29872"/>
                <a:gd name="connsiteY4" fmla="*/ 11460 h 74681"/>
                <a:gd name="connsiteX5" fmla="*/ 23410 w 29872"/>
                <a:gd name="connsiteY5" fmla="*/ 6980 h 74681"/>
                <a:gd name="connsiteX6" fmla="*/ 20422 w 29872"/>
                <a:gd name="connsiteY6" fmla="*/ 3992 h 74681"/>
                <a:gd name="connsiteX7" fmla="*/ 1005 w 29872"/>
                <a:gd name="connsiteY7" fmla="*/ 1005 h 74681"/>
                <a:gd name="connsiteX8" fmla="*/ 3992 w 29872"/>
                <a:gd name="connsiteY8" fmla="*/ 18928 h 74681"/>
                <a:gd name="connsiteX9" fmla="*/ 8473 w 29872"/>
                <a:gd name="connsiteY9" fmla="*/ 35358 h 74681"/>
                <a:gd name="connsiteX10" fmla="*/ 11460 w 29872"/>
                <a:gd name="connsiteY10" fmla="*/ 56269 h 74681"/>
                <a:gd name="connsiteX11" fmla="*/ 15941 w 29872"/>
                <a:gd name="connsiteY11" fmla="*/ 66725 h 74681"/>
                <a:gd name="connsiteX12" fmla="*/ 23410 w 29872"/>
                <a:gd name="connsiteY12" fmla="*/ 7718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72" h="74681">
                  <a:moveTo>
                    <a:pt x="23410" y="77180"/>
                  </a:moveTo>
                  <a:cubicBezTo>
                    <a:pt x="29384" y="83155"/>
                    <a:pt x="44320" y="78674"/>
                    <a:pt x="41333" y="66725"/>
                  </a:cubicBezTo>
                  <a:cubicBezTo>
                    <a:pt x="38346" y="57763"/>
                    <a:pt x="39839" y="47308"/>
                    <a:pt x="38346" y="38346"/>
                  </a:cubicBezTo>
                  <a:cubicBezTo>
                    <a:pt x="36852" y="33865"/>
                    <a:pt x="35358" y="30878"/>
                    <a:pt x="33865" y="26397"/>
                  </a:cubicBezTo>
                  <a:cubicBezTo>
                    <a:pt x="30878" y="21916"/>
                    <a:pt x="29384" y="15941"/>
                    <a:pt x="26397" y="11460"/>
                  </a:cubicBezTo>
                  <a:cubicBezTo>
                    <a:pt x="24903" y="9967"/>
                    <a:pt x="24903" y="8473"/>
                    <a:pt x="23410" y="6980"/>
                  </a:cubicBezTo>
                  <a:cubicBezTo>
                    <a:pt x="21916" y="5486"/>
                    <a:pt x="20422" y="5486"/>
                    <a:pt x="20422" y="3992"/>
                  </a:cubicBezTo>
                  <a:cubicBezTo>
                    <a:pt x="17435" y="2499"/>
                    <a:pt x="3992" y="-1982"/>
                    <a:pt x="1005" y="1005"/>
                  </a:cubicBezTo>
                  <a:cubicBezTo>
                    <a:pt x="-1982" y="1005"/>
                    <a:pt x="2498" y="12954"/>
                    <a:pt x="3992" y="18928"/>
                  </a:cubicBezTo>
                  <a:cubicBezTo>
                    <a:pt x="5486" y="24903"/>
                    <a:pt x="5486" y="29384"/>
                    <a:pt x="8473" y="35358"/>
                  </a:cubicBezTo>
                  <a:cubicBezTo>
                    <a:pt x="11460" y="41333"/>
                    <a:pt x="9966" y="48801"/>
                    <a:pt x="11460" y="56269"/>
                  </a:cubicBezTo>
                  <a:cubicBezTo>
                    <a:pt x="12954" y="59257"/>
                    <a:pt x="14448" y="63737"/>
                    <a:pt x="15941" y="66725"/>
                  </a:cubicBezTo>
                  <a:cubicBezTo>
                    <a:pt x="17435" y="69712"/>
                    <a:pt x="18928" y="74193"/>
                    <a:pt x="23410" y="7718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6" name="任意多边形: 形状 405"/>
            <p:cNvSpPr/>
            <p:nvPr/>
          </p:nvSpPr>
          <p:spPr>
            <a:xfrm>
              <a:off x="3963286" y="4016631"/>
              <a:ext cx="27267" cy="40900"/>
            </a:xfrm>
            <a:custGeom>
              <a:avLst/>
              <a:gdLst>
                <a:gd name="connsiteX0" fmla="*/ 8961 w 29872"/>
                <a:gd name="connsiteY0" fmla="*/ 17924 h 44809"/>
                <a:gd name="connsiteX1" fmla="*/ 0 w 29872"/>
                <a:gd name="connsiteY1" fmla="*/ 2987 h 44809"/>
                <a:gd name="connsiteX2" fmla="*/ 5974 w 29872"/>
                <a:gd name="connsiteY2" fmla="*/ 0 h 44809"/>
                <a:gd name="connsiteX3" fmla="*/ 11949 w 29872"/>
                <a:gd name="connsiteY3" fmla="*/ 4481 h 44809"/>
                <a:gd name="connsiteX4" fmla="*/ 16430 w 29872"/>
                <a:gd name="connsiteY4" fmla="*/ 10455 h 44809"/>
                <a:gd name="connsiteX5" fmla="*/ 29873 w 29872"/>
                <a:gd name="connsiteY5" fmla="*/ 19417 h 44809"/>
                <a:gd name="connsiteX6" fmla="*/ 38834 w 29872"/>
                <a:gd name="connsiteY6" fmla="*/ 31366 h 44809"/>
                <a:gd name="connsiteX7" fmla="*/ 43315 w 29872"/>
                <a:gd name="connsiteY7" fmla="*/ 40328 h 44809"/>
                <a:gd name="connsiteX8" fmla="*/ 38834 w 29872"/>
                <a:gd name="connsiteY8" fmla="*/ 46303 h 44809"/>
                <a:gd name="connsiteX9" fmla="*/ 20911 w 29872"/>
                <a:gd name="connsiteY9" fmla="*/ 29873 h 44809"/>
                <a:gd name="connsiteX10" fmla="*/ 14936 w 29872"/>
                <a:gd name="connsiteY10" fmla="*/ 23898 h 44809"/>
                <a:gd name="connsiteX11" fmla="*/ 8961 w 29872"/>
                <a:gd name="connsiteY11" fmla="*/ 17924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872" h="44809">
                  <a:moveTo>
                    <a:pt x="8961" y="17924"/>
                  </a:moveTo>
                  <a:cubicBezTo>
                    <a:pt x="5974" y="11949"/>
                    <a:pt x="2987" y="7468"/>
                    <a:pt x="0" y="2987"/>
                  </a:cubicBezTo>
                  <a:cubicBezTo>
                    <a:pt x="1493" y="0"/>
                    <a:pt x="4481" y="0"/>
                    <a:pt x="5974" y="0"/>
                  </a:cubicBezTo>
                  <a:cubicBezTo>
                    <a:pt x="8961" y="1494"/>
                    <a:pt x="10455" y="2987"/>
                    <a:pt x="11949" y="4481"/>
                  </a:cubicBezTo>
                  <a:cubicBezTo>
                    <a:pt x="13443" y="5975"/>
                    <a:pt x="13443" y="8962"/>
                    <a:pt x="16430" y="10455"/>
                  </a:cubicBezTo>
                  <a:cubicBezTo>
                    <a:pt x="19417" y="14936"/>
                    <a:pt x="25392" y="16430"/>
                    <a:pt x="29873" y="19417"/>
                  </a:cubicBezTo>
                  <a:cubicBezTo>
                    <a:pt x="34353" y="22405"/>
                    <a:pt x="37341" y="26885"/>
                    <a:pt x="38834" y="31366"/>
                  </a:cubicBezTo>
                  <a:cubicBezTo>
                    <a:pt x="40328" y="34354"/>
                    <a:pt x="41822" y="37341"/>
                    <a:pt x="43315" y="40328"/>
                  </a:cubicBezTo>
                  <a:cubicBezTo>
                    <a:pt x="44809" y="43316"/>
                    <a:pt x="40328" y="43316"/>
                    <a:pt x="38834" y="46303"/>
                  </a:cubicBezTo>
                  <a:cubicBezTo>
                    <a:pt x="31366" y="40328"/>
                    <a:pt x="28379" y="37341"/>
                    <a:pt x="20911" y="29873"/>
                  </a:cubicBezTo>
                  <a:cubicBezTo>
                    <a:pt x="19417" y="28379"/>
                    <a:pt x="16430" y="26885"/>
                    <a:pt x="14936" y="23898"/>
                  </a:cubicBezTo>
                  <a:cubicBezTo>
                    <a:pt x="11949" y="22405"/>
                    <a:pt x="10455" y="19417"/>
                    <a:pt x="8961" y="17924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7" name="任意多边形: 形状 406"/>
            <p:cNvSpPr/>
            <p:nvPr/>
          </p:nvSpPr>
          <p:spPr>
            <a:xfrm>
              <a:off x="3953743" y="3996649"/>
              <a:ext cx="54534" cy="54534"/>
            </a:xfrm>
            <a:custGeom>
              <a:avLst/>
              <a:gdLst>
                <a:gd name="connsiteX0" fmla="*/ 62733 w 59745"/>
                <a:gd name="connsiteY0" fmla="*/ 47284 h 59745"/>
                <a:gd name="connsiteX1" fmla="*/ 25392 w 59745"/>
                <a:gd name="connsiteY1" fmla="*/ 2475 h 59745"/>
                <a:gd name="connsiteX2" fmla="*/ 17924 w 59745"/>
                <a:gd name="connsiteY2" fmla="*/ 981 h 59745"/>
                <a:gd name="connsiteX3" fmla="*/ 1494 w 59745"/>
                <a:gd name="connsiteY3" fmla="*/ 14424 h 59745"/>
                <a:gd name="connsiteX4" fmla="*/ 0 w 59745"/>
                <a:gd name="connsiteY4" fmla="*/ 17411 h 59745"/>
                <a:gd name="connsiteX5" fmla="*/ 0 w 59745"/>
                <a:gd name="connsiteY5" fmla="*/ 17411 h 59745"/>
                <a:gd name="connsiteX6" fmla="*/ 0 w 59745"/>
                <a:gd name="connsiteY6" fmla="*/ 17411 h 59745"/>
                <a:gd name="connsiteX7" fmla="*/ 0 w 59745"/>
                <a:gd name="connsiteY7" fmla="*/ 17411 h 59745"/>
                <a:gd name="connsiteX8" fmla="*/ 1494 w 59745"/>
                <a:gd name="connsiteY8" fmla="*/ 20398 h 59745"/>
                <a:gd name="connsiteX9" fmla="*/ 38835 w 59745"/>
                <a:gd name="connsiteY9" fmla="*/ 65207 h 59745"/>
                <a:gd name="connsiteX10" fmla="*/ 46303 w 59745"/>
                <a:gd name="connsiteY10" fmla="*/ 66701 h 59745"/>
                <a:gd name="connsiteX11" fmla="*/ 64226 w 59745"/>
                <a:gd name="connsiteY11" fmla="*/ 53258 h 59745"/>
                <a:gd name="connsiteX12" fmla="*/ 65720 w 59745"/>
                <a:gd name="connsiteY12" fmla="*/ 50271 h 59745"/>
                <a:gd name="connsiteX13" fmla="*/ 65720 w 59745"/>
                <a:gd name="connsiteY13" fmla="*/ 50271 h 59745"/>
                <a:gd name="connsiteX14" fmla="*/ 65720 w 59745"/>
                <a:gd name="connsiteY14" fmla="*/ 50271 h 59745"/>
                <a:gd name="connsiteX15" fmla="*/ 65720 w 59745"/>
                <a:gd name="connsiteY15" fmla="*/ 50271 h 59745"/>
                <a:gd name="connsiteX16" fmla="*/ 62733 w 59745"/>
                <a:gd name="connsiteY16" fmla="*/ 47284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745" h="59745">
                  <a:moveTo>
                    <a:pt x="62733" y="47284"/>
                  </a:moveTo>
                  <a:lnTo>
                    <a:pt x="25392" y="2475"/>
                  </a:lnTo>
                  <a:cubicBezTo>
                    <a:pt x="23898" y="-513"/>
                    <a:pt x="19417" y="-513"/>
                    <a:pt x="17924" y="981"/>
                  </a:cubicBezTo>
                  <a:lnTo>
                    <a:pt x="1494" y="14424"/>
                  </a:lnTo>
                  <a:cubicBezTo>
                    <a:pt x="0" y="14424"/>
                    <a:pt x="0" y="15918"/>
                    <a:pt x="0" y="17411"/>
                  </a:cubicBezTo>
                  <a:cubicBezTo>
                    <a:pt x="0" y="17411"/>
                    <a:pt x="0" y="17411"/>
                    <a:pt x="0" y="17411"/>
                  </a:cubicBezTo>
                  <a:lnTo>
                    <a:pt x="0" y="17411"/>
                  </a:lnTo>
                  <a:lnTo>
                    <a:pt x="0" y="17411"/>
                  </a:lnTo>
                  <a:cubicBezTo>
                    <a:pt x="0" y="18905"/>
                    <a:pt x="0" y="20398"/>
                    <a:pt x="1494" y="20398"/>
                  </a:cubicBezTo>
                  <a:lnTo>
                    <a:pt x="38835" y="65207"/>
                  </a:lnTo>
                  <a:cubicBezTo>
                    <a:pt x="40328" y="68195"/>
                    <a:pt x="44809" y="68195"/>
                    <a:pt x="46303" y="66701"/>
                  </a:cubicBezTo>
                  <a:lnTo>
                    <a:pt x="64226" y="53258"/>
                  </a:lnTo>
                  <a:cubicBezTo>
                    <a:pt x="65720" y="53258"/>
                    <a:pt x="65720" y="51765"/>
                    <a:pt x="65720" y="50271"/>
                  </a:cubicBezTo>
                  <a:lnTo>
                    <a:pt x="65720" y="50271"/>
                  </a:lnTo>
                  <a:lnTo>
                    <a:pt x="65720" y="50271"/>
                  </a:lnTo>
                  <a:lnTo>
                    <a:pt x="65720" y="50271"/>
                  </a:lnTo>
                  <a:cubicBezTo>
                    <a:pt x="64226" y="48777"/>
                    <a:pt x="64226" y="47284"/>
                    <a:pt x="62733" y="47284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8" name="任意多边形: 形状 407"/>
            <p:cNvSpPr/>
            <p:nvPr/>
          </p:nvSpPr>
          <p:spPr>
            <a:xfrm>
              <a:off x="3952379" y="4013905"/>
              <a:ext cx="13633" cy="13633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9" name="任意多边形: 形状 408"/>
            <p:cNvSpPr/>
            <p:nvPr/>
          </p:nvSpPr>
          <p:spPr>
            <a:xfrm>
              <a:off x="3952379" y="3998013"/>
              <a:ext cx="54534" cy="54534"/>
            </a:xfrm>
            <a:custGeom>
              <a:avLst/>
              <a:gdLst>
                <a:gd name="connsiteX0" fmla="*/ 37341 w 59745"/>
                <a:gd name="connsiteY0" fmla="*/ 66701 h 59745"/>
                <a:gd name="connsiteX1" fmla="*/ 44809 w 59745"/>
                <a:gd name="connsiteY1" fmla="*/ 68195 h 59745"/>
                <a:gd name="connsiteX2" fmla="*/ 62733 w 59745"/>
                <a:gd name="connsiteY2" fmla="*/ 54752 h 59745"/>
                <a:gd name="connsiteX3" fmla="*/ 64227 w 59745"/>
                <a:gd name="connsiteY3" fmla="*/ 51765 h 59745"/>
                <a:gd name="connsiteX4" fmla="*/ 64227 w 59745"/>
                <a:gd name="connsiteY4" fmla="*/ 51765 h 59745"/>
                <a:gd name="connsiteX5" fmla="*/ 64227 w 59745"/>
                <a:gd name="connsiteY5" fmla="*/ 51765 h 59745"/>
                <a:gd name="connsiteX6" fmla="*/ 62733 w 59745"/>
                <a:gd name="connsiteY6" fmla="*/ 47284 h 59745"/>
                <a:gd name="connsiteX7" fmla="*/ 25392 w 59745"/>
                <a:gd name="connsiteY7" fmla="*/ 2475 h 59745"/>
                <a:gd name="connsiteX8" fmla="*/ 17924 w 59745"/>
                <a:gd name="connsiteY8" fmla="*/ 981 h 59745"/>
                <a:gd name="connsiteX9" fmla="*/ 1494 w 59745"/>
                <a:gd name="connsiteY9" fmla="*/ 14424 h 59745"/>
                <a:gd name="connsiteX10" fmla="*/ 0 w 59745"/>
                <a:gd name="connsiteY10" fmla="*/ 17411 h 59745"/>
                <a:gd name="connsiteX11" fmla="*/ 0 w 59745"/>
                <a:gd name="connsiteY11" fmla="*/ 17411 h 59745"/>
                <a:gd name="connsiteX12" fmla="*/ 0 w 59745"/>
                <a:gd name="connsiteY12" fmla="*/ 17411 h 59745"/>
                <a:gd name="connsiteX13" fmla="*/ 1494 w 59745"/>
                <a:gd name="connsiteY13" fmla="*/ 20398 h 59745"/>
                <a:gd name="connsiteX14" fmla="*/ 37341 w 59745"/>
                <a:gd name="connsiteY14" fmla="*/ 66701 h 59745"/>
                <a:gd name="connsiteX15" fmla="*/ 11949 w 59745"/>
                <a:gd name="connsiteY15" fmla="*/ 8449 h 59745"/>
                <a:gd name="connsiteX16" fmla="*/ 11949 w 59745"/>
                <a:gd name="connsiteY16" fmla="*/ 9943 h 59745"/>
                <a:gd name="connsiteX17" fmla="*/ 10456 w 59745"/>
                <a:gd name="connsiteY17" fmla="*/ 9943 h 59745"/>
                <a:gd name="connsiteX18" fmla="*/ 10456 w 59745"/>
                <a:gd name="connsiteY18" fmla="*/ 8449 h 59745"/>
                <a:gd name="connsiteX19" fmla="*/ 11949 w 59745"/>
                <a:gd name="connsiteY19" fmla="*/ 8449 h 59745"/>
                <a:gd name="connsiteX20" fmla="*/ 37341 w 59745"/>
                <a:gd name="connsiteY20" fmla="*/ 60726 h 59745"/>
                <a:gd name="connsiteX21" fmla="*/ 4481 w 59745"/>
                <a:gd name="connsiteY21" fmla="*/ 20398 h 59745"/>
                <a:gd name="connsiteX22" fmla="*/ 4481 w 59745"/>
                <a:gd name="connsiteY22" fmla="*/ 17411 h 59745"/>
                <a:gd name="connsiteX23" fmla="*/ 20911 w 59745"/>
                <a:gd name="connsiteY23" fmla="*/ 3968 h 59745"/>
                <a:gd name="connsiteX24" fmla="*/ 23898 w 59745"/>
                <a:gd name="connsiteY24" fmla="*/ 3968 h 59745"/>
                <a:gd name="connsiteX25" fmla="*/ 56758 w 59745"/>
                <a:gd name="connsiteY25" fmla="*/ 44297 h 59745"/>
                <a:gd name="connsiteX26" fmla="*/ 56758 w 59745"/>
                <a:gd name="connsiteY26" fmla="*/ 47284 h 59745"/>
                <a:gd name="connsiteX27" fmla="*/ 38835 w 59745"/>
                <a:gd name="connsiteY27" fmla="*/ 60726 h 59745"/>
                <a:gd name="connsiteX28" fmla="*/ 37341 w 59745"/>
                <a:gd name="connsiteY28" fmla="*/ 60726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9745" h="59745">
                  <a:moveTo>
                    <a:pt x="37341" y="66701"/>
                  </a:moveTo>
                  <a:cubicBezTo>
                    <a:pt x="38835" y="69688"/>
                    <a:pt x="43315" y="69688"/>
                    <a:pt x="44809" y="68195"/>
                  </a:cubicBezTo>
                  <a:lnTo>
                    <a:pt x="62733" y="54752"/>
                  </a:lnTo>
                  <a:cubicBezTo>
                    <a:pt x="64227" y="54752"/>
                    <a:pt x="64227" y="53258"/>
                    <a:pt x="64227" y="51765"/>
                  </a:cubicBezTo>
                  <a:lnTo>
                    <a:pt x="64227" y="51765"/>
                  </a:lnTo>
                  <a:cubicBezTo>
                    <a:pt x="64227" y="51765"/>
                    <a:pt x="64227" y="51765"/>
                    <a:pt x="64227" y="51765"/>
                  </a:cubicBezTo>
                  <a:cubicBezTo>
                    <a:pt x="64227" y="50271"/>
                    <a:pt x="64227" y="48777"/>
                    <a:pt x="62733" y="47284"/>
                  </a:cubicBezTo>
                  <a:lnTo>
                    <a:pt x="25392" y="2475"/>
                  </a:lnTo>
                  <a:cubicBezTo>
                    <a:pt x="23898" y="-513"/>
                    <a:pt x="19418" y="-513"/>
                    <a:pt x="17924" y="981"/>
                  </a:cubicBezTo>
                  <a:lnTo>
                    <a:pt x="1494" y="14424"/>
                  </a:lnTo>
                  <a:cubicBezTo>
                    <a:pt x="0" y="14424"/>
                    <a:pt x="0" y="15917"/>
                    <a:pt x="0" y="17411"/>
                  </a:cubicBezTo>
                  <a:cubicBezTo>
                    <a:pt x="0" y="17411"/>
                    <a:pt x="0" y="17411"/>
                    <a:pt x="0" y="17411"/>
                  </a:cubicBezTo>
                  <a:cubicBezTo>
                    <a:pt x="0" y="17411"/>
                    <a:pt x="0" y="17411"/>
                    <a:pt x="0" y="17411"/>
                  </a:cubicBezTo>
                  <a:cubicBezTo>
                    <a:pt x="0" y="18905"/>
                    <a:pt x="0" y="20398"/>
                    <a:pt x="1494" y="20398"/>
                  </a:cubicBezTo>
                  <a:lnTo>
                    <a:pt x="37341" y="66701"/>
                  </a:lnTo>
                  <a:close/>
                  <a:moveTo>
                    <a:pt x="11949" y="8449"/>
                  </a:moveTo>
                  <a:cubicBezTo>
                    <a:pt x="11949" y="8449"/>
                    <a:pt x="11949" y="9943"/>
                    <a:pt x="11949" y="9943"/>
                  </a:cubicBezTo>
                  <a:cubicBezTo>
                    <a:pt x="11949" y="9943"/>
                    <a:pt x="10456" y="9943"/>
                    <a:pt x="10456" y="9943"/>
                  </a:cubicBezTo>
                  <a:cubicBezTo>
                    <a:pt x="10456" y="9943"/>
                    <a:pt x="10456" y="8449"/>
                    <a:pt x="10456" y="8449"/>
                  </a:cubicBezTo>
                  <a:cubicBezTo>
                    <a:pt x="10456" y="8449"/>
                    <a:pt x="11949" y="8449"/>
                    <a:pt x="11949" y="8449"/>
                  </a:cubicBezTo>
                  <a:close/>
                  <a:moveTo>
                    <a:pt x="37341" y="60726"/>
                  </a:moveTo>
                  <a:lnTo>
                    <a:pt x="4481" y="20398"/>
                  </a:lnTo>
                  <a:cubicBezTo>
                    <a:pt x="4481" y="18905"/>
                    <a:pt x="2987" y="18905"/>
                    <a:pt x="4481" y="17411"/>
                  </a:cubicBezTo>
                  <a:lnTo>
                    <a:pt x="20911" y="3968"/>
                  </a:lnTo>
                  <a:cubicBezTo>
                    <a:pt x="20911" y="3968"/>
                    <a:pt x="22405" y="3968"/>
                    <a:pt x="23898" y="3968"/>
                  </a:cubicBezTo>
                  <a:lnTo>
                    <a:pt x="56758" y="44297"/>
                  </a:lnTo>
                  <a:cubicBezTo>
                    <a:pt x="58252" y="45790"/>
                    <a:pt x="58252" y="45790"/>
                    <a:pt x="56758" y="47284"/>
                  </a:cubicBezTo>
                  <a:lnTo>
                    <a:pt x="38835" y="60726"/>
                  </a:lnTo>
                  <a:cubicBezTo>
                    <a:pt x="38835" y="62220"/>
                    <a:pt x="37341" y="60726"/>
                    <a:pt x="37341" y="60726"/>
                  </a:cubicBezTo>
                  <a:close/>
                </a:path>
              </a:pathLst>
            </a:custGeom>
            <a:solidFill>
              <a:srgbClr val="706F6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0" name="任意多边形: 形状 409"/>
            <p:cNvSpPr/>
            <p:nvPr/>
          </p:nvSpPr>
          <p:spPr>
            <a:xfrm>
              <a:off x="3961922" y="4005725"/>
              <a:ext cx="13633" cy="13633"/>
            </a:xfrm>
            <a:custGeom>
              <a:avLst/>
              <a:gdLst>
                <a:gd name="connsiteX0" fmla="*/ 1494 w 0"/>
                <a:gd name="connsiteY0" fmla="*/ 1494 h 0"/>
                <a:gd name="connsiteX1" fmla="*/ 0 w 0"/>
                <a:gd name="connsiteY1" fmla="*/ 1494 h 0"/>
                <a:gd name="connsiteX2" fmla="*/ 0 w 0"/>
                <a:gd name="connsiteY2" fmla="*/ 0 h 0"/>
                <a:gd name="connsiteX3" fmla="*/ 1494 w 0"/>
                <a:gd name="connsiteY3" fmla="*/ 0 h 0"/>
                <a:gd name="connsiteX4" fmla="*/ 1494 w 0"/>
                <a:gd name="connsiteY4" fmla="*/ 14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494" y="1494"/>
                  </a:moveTo>
                  <a:cubicBezTo>
                    <a:pt x="1494" y="1494"/>
                    <a:pt x="0" y="1494"/>
                    <a:pt x="0" y="1494"/>
                  </a:cubicBezTo>
                  <a:cubicBezTo>
                    <a:pt x="0" y="1494"/>
                    <a:pt x="0" y="0"/>
                    <a:pt x="0" y="0"/>
                  </a:cubicBezTo>
                  <a:cubicBezTo>
                    <a:pt x="0" y="0"/>
                    <a:pt x="1494" y="0"/>
                    <a:pt x="1494" y="0"/>
                  </a:cubicBezTo>
                  <a:cubicBezTo>
                    <a:pt x="1494" y="1494"/>
                    <a:pt x="1494" y="1494"/>
                    <a:pt x="1494" y="1494"/>
                  </a:cubicBezTo>
                  <a:close/>
                </a:path>
              </a:pathLst>
            </a:custGeom>
            <a:solidFill>
              <a:srgbClr val="EE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" name="任意多边形: 形状 410"/>
            <p:cNvSpPr/>
            <p:nvPr/>
          </p:nvSpPr>
          <p:spPr>
            <a:xfrm>
              <a:off x="3956469" y="4000612"/>
              <a:ext cx="40900" cy="40900"/>
            </a:xfrm>
            <a:custGeom>
              <a:avLst/>
              <a:gdLst>
                <a:gd name="connsiteX0" fmla="*/ 52277 w 44809"/>
                <a:gd name="connsiteY0" fmla="*/ 41448 h 44809"/>
                <a:gd name="connsiteX1" fmla="*/ 19417 w 44809"/>
                <a:gd name="connsiteY1" fmla="*/ 1120 h 44809"/>
                <a:gd name="connsiteX2" fmla="*/ 16430 w 44809"/>
                <a:gd name="connsiteY2" fmla="*/ 1120 h 44809"/>
                <a:gd name="connsiteX3" fmla="*/ 0 w 44809"/>
                <a:gd name="connsiteY3" fmla="*/ 14563 h 44809"/>
                <a:gd name="connsiteX4" fmla="*/ 0 w 44809"/>
                <a:gd name="connsiteY4" fmla="*/ 17550 h 44809"/>
                <a:gd name="connsiteX5" fmla="*/ 32860 w 44809"/>
                <a:gd name="connsiteY5" fmla="*/ 57878 h 44809"/>
                <a:gd name="connsiteX6" fmla="*/ 35847 w 44809"/>
                <a:gd name="connsiteY6" fmla="*/ 59372 h 44809"/>
                <a:gd name="connsiteX7" fmla="*/ 53770 w 44809"/>
                <a:gd name="connsiteY7" fmla="*/ 45929 h 44809"/>
                <a:gd name="connsiteX8" fmla="*/ 52277 w 44809"/>
                <a:gd name="connsiteY8" fmla="*/ 41448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09" h="44809">
                  <a:moveTo>
                    <a:pt x="52277" y="41448"/>
                  </a:moveTo>
                  <a:lnTo>
                    <a:pt x="19417" y="1120"/>
                  </a:lnTo>
                  <a:cubicBezTo>
                    <a:pt x="17923" y="-373"/>
                    <a:pt x="17923" y="-373"/>
                    <a:pt x="16430" y="1120"/>
                  </a:cubicBezTo>
                  <a:lnTo>
                    <a:pt x="0" y="14563"/>
                  </a:lnTo>
                  <a:cubicBezTo>
                    <a:pt x="0" y="14563"/>
                    <a:pt x="0" y="16057"/>
                    <a:pt x="0" y="17550"/>
                  </a:cubicBezTo>
                  <a:lnTo>
                    <a:pt x="32860" y="57878"/>
                  </a:lnTo>
                  <a:cubicBezTo>
                    <a:pt x="34353" y="59372"/>
                    <a:pt x="34353" y="59372"/>
                    <a:pt x="35847" y="59372"/>
                  </a:cubicBezTo>
                  <a:lnTo>
                    <a:pt x="53770" y="45929"/>
                  </a:lnTo>
                  <a:cubicBezTo>
                    <a:pt x="53770" y="44436"/>
                    <a:pt x="53770" y="42942"/>
                    <a:pt x="52277" y="41448"/>
                  </a:cubicBezTo>
                  <a:close/>
                </a:path>
              </a:pathLst>
            </a:custGeom>
            <a:solidFill>
              <a:srgbClr val="00C2B9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" name="任意多边形: 形状 411"/>
            <p:cNvSpPr/>
            <p:nvPr/>
          </p:nvSpPr>
          <p:spPr>
            <a:xfrm>
              <a:off x="3995400" y="4047989"/>
              <a:ext cx="13633" cy="13633"/>
            </a:xfrm>
            <a:custGeom>
              <a:avLst/>
              <a:gdLst>
                <a:gd name="connsiteX0" fmla="*/ 664 w 0"/>
                <a:gd name="connsiteY0" fmla="*/ 2987 h 0"/>
                <a:gd name="connsiteX1" fmla="*/ 5145 w 0"/>
                <a:gd name="connsiteY1" fmla="*/ 0 h 0"/>
                <a:gd name="connsiteX2" fmla="*/ 8132 w 0"/>
                <a:gd name="connsiteY2" fmla="*/ 0 h 0"/>
                <a:gd name="connsiteX3" fmla="*/ 8132 w 0"/>
                <a:gd name="connsiteY3" fmla="*/ 0 h 0"/>
                <a:gd name="connsiteX4" fmla="*/ 8132 w 0"/>
                <a:gd name="connsiteY4" fmla="*/ 1494 h 0"/>
                <a:gd name="connsiteX5" fmla="*/ 3651 w 0"/>
                <a:gd name="connsiteY5" fmla="*/ 4481 h 0"/>
                <a:gd name="connsiteX6" fmla="*/ 664 w 0"/>
                <a:gd name="connsiteY6" fmla="*/ 4481 h 0"/>
                <a:gd name="connsiteX7" fmla="*/ 664 w 0"/>
                <a:gd name="connsiteY7" fmla="*/ 4481 h 0"/>
                <a:gd name="connsiteX8" fmla="*/ 664 w 0"/>
                <a:gd name="connsiteY8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>
                  <a:moveTo>
                    <a:pt x="664" y="2987"/>
                  </a:moveTo>
                  <a:lnTo>
                    <a:pt x="5145" y="0"/>
                  </a:lnTo>
                  <a:cubicBezTo>
                    <a:pt x="5145" y="0"/>
                    <a:pt x="6638" y="0"/>
                    <a:pt x="8132" y="0"/>
                  </a:cubicBezTo>
                  <a:lnTo>
                    <a:pt x="8132" y="0"/>
                  </a:lnTo>
                  <a:cubicBezTo>
                    <a:pt x="8132" y="1494"/>
                    <a:pt x="8132" y="1494"/>
                    <a:pt x="8132" y="1494"/>
                  </a:cubicBezTo>
                  <a:lnTo>
                    <a:pt x="3651" y="4481"/>
                  </a:lnTo>
                  <a:cubicBezTo>
                    <a:pt x="3651" y="4481"/>
                    <a:pt x="2158" y="4481"/>
                    <a:pt x="664" y="4481"/>
                  </a:cubicBezTo>
                  <a:lnTo>
                    <a:pt x="664" y="4481"/>
                  </a:lnTo>
                  <a:cubicBezTo>
                    <a:pt x="664" y="4481"/>
                    <a:pt x="-830" y="2987"/>
                    <a:pt x="664" y="2987"/>
                  </a:cubicBezTo>
                  <a:close/>
                </a:path>
              </a:pathLst>
            </a:custGeom>
            <a:solidFill>
              <a:srgbClr val="EE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3" name="任意多边形: 形状 412"/>
            <p:cNvSpPr/>
            <p:nvPr/>
          </p:nvSpPr>
          <p:spPr>
            <a:xfrm>
              <a:off x="3941472" y="4232040"/>
              <a:ext cx="68168" cy="259037"/>
            </a:xfrm>
            <a:custGeom>
              <a:avLst/>
              <a:gdLst>
                <a:gd name="connsiteX0" fmla="*/ 79162 w 74681"/>
                <a:gd name="connsiteY0" fmla="*/ 247943 h 283790"/>
                <a:gd name="connsiteX1" fmla="*/ 77669 w 74681"/>
                <a:gd name="connsiteY1" fmla="*/ 261386 h 283790"/>
                <a:gd name="connsiteX2" fmla="*/ 77669 w 74681"/>
                <a:gd name="connsiteY2" fmla="*/ 262880 h 283790"/>
                <a:gd name="connsiteX3" fmla="*/ 77669 w 74681"/>
                <a:gd name="connsiteY3" fmla="*/ 262880 h 283790"/>
                <a:gd name="connsiteX4" fmla="*/ 77669 w 74681"/>
                <a:gd name="connsiteY4" fmla="*/ 262880 h 283790"/>
                <a:gd name="connsiteX5" fmla="*/ 53771 w 74681"/>
                <a:gd name="connsiteY5" fmla="*/ 283791 h 283790"/>
                <a:gd name="connsiteX6" fmla="*/ 53771 w 74681"/>
                <a:gd name="connsiteY6" fmla="*/ 283791 h 283790"/>
                <a:gd name="connsiteX7" fmla="*/ 0 w 74681"/>
                <a:gd name="connsiteY7" fmla="*/ 59745 h 283790"/>
                <a:gd name="connsiteX8" fmla="*/ 4481 w 74681"/>
                <a:gd name="connsiteY8" fmla="*/ 43315 h 283790"/>
                <a:gd name="connsiteX9" fmla="*/ 2987 w 74681"/>
                <a:gd name="connsiteY9" fmla="*/ 40328 h 283790"/>
                <a:gd name="connsiteX10" fmla="*/ 10455 w 74681"/>
                <a:gd name="connsiteY10" fmla="*/ 22405 h 283790"/>
                <a:gd name="connsiteX11" fmla="*/ 53771 w 74681"/>
                <a:gd name="connsiteY11" fmla="*/ 0 h 283790"/>
                <a:gd name="connsiteX12" fmla="*/ 53771 w 74681"/>
                <a:gd name="connsiteY12" fmla="*/ 0 h 283790"/>
                <a:gd name="connsiteX13" fmla="*/ 61239 w 74681"/>
                <a:gd name="connsiteY13" fmla="*/ 16430 h 283790"/>
                <a:gd name="connsiteX14" fmla="*/ 79162 w 74681"/>
                <a:gd name="connsiteY14" fmla="*/ 247943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4681" h="283790">
                  <a:moveTo>
                    <a:pt x="79162" y="247943"/>
                  </a:moveTo>
                  <a:lnTo>
                    <a:pt x="77669" y="261386"/>
                  </a:lnTo>
                  <a:cubicBezTo>
                    <a:pt x="77669" y="261386"/>
                    <a:pt x="77669" y="261386"/>
                    <a:pt x="77669" y="262880"/>
                  </a:cubicBezTo>
                  <a:lnTo>
                    <a:pt x="77669" y="262880"/>
                  </a:lnTo>
                  <a:cubicBezTo>
                    <a:pt x="77669" y="262880"/>
                    <a:pt x="77669" y="262880"/>
                    <a:pt x="77669" y="262880"/>
                  </a:cubicBezTo>
                  <a:cubicBezTo>
                    <a:pt x="76175" y="274829"/>
                    <a:pt x="65720" y="283791"/>
                    <a:pt x="53771" y="283791"/>
                  </a:cubicBezTo>
                  <a:lnTo>
                    <a:pt x="53771" y="283791"/>
                  </a:lnTo>
                  <a:cubicBezTo>
                    <a:pt x="7468" y="288271"/>
                    <a:pt x="0" y="59745"/>
                    <a:pt x="0" y="59745"/>
                  </a:cubicBezTo>
                  <a:lnTo>
                    <a:pt x="4481" y="43315"/>
                  </a:lnTo>
                  <a:cubicBezTo>
                    <a:pt x="4481" y="41822"/>
                    <a:pt x="2987" y="41822"/>
                    <a:pt x="2987" y="40328"/>
                  </a:cubicBezTo>
                  <a:cubicBezTo>
                    <a:pt x="1494" y="34353"/>
                    <a:pt x="4481" y="28379"/>
                    <a:pt x="10455" y="22405"/>
                  </a:cubicBezTo>
                  <a:cubicBezTo>
                    <a:pt x="25392" y="8962"/>
                    <a:pt x="53771" y="0"/>
                    <a:pt x="53771" y="0"/>
                  </a:cubicBezTo>
                  <a:lnTo>
                    <a:pt x="53771" y="0"/>
                  </a:lnTo>
                  <a:cubicBezTo>
                    <a:pt x="56758" y="4481"/>
                    <a:pt x="58252" y="10456"/>
                    <a:pt x="61239" y="16430"/>
                  </a:cubicBezTo>
                  <a:cubicBezTo>
                    <a:pt x="82150" y="76175"/>
                    <a:pt x="80656" y="161312"/>
                    <a:pt x="79162" y="247943"/>
                  </a:cubicBezTo>
                  <a:close/>
                </a:path>
              </a:pathLst>
            </a:custGeom>
            <a:solidFill>
              <a:srgbClr val="CBBBA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4" name="任意多边形: 形状 413"/>
            <p:cNvSpPr/>
            <p:nvPr/>
          </p:nvSpPr>
          <p:spPr>
            <a:xfrm>
              <a:off x="3981009" y="4684672"/>
              <a:ext cx="13633" cy="13633"/>
            </a:xfrm>
            <a:custGeom>
              <a:avLst/>
              <a:gdLst>
                <a:gd name="connsiteX0" fmla="*/ 11949 w 0"/>
                <a:gd name="connsiteY0" fmla="*/ 0 h 14936"/>
                <a:gd name="connsiteX1" fmla="*/ 0 w 0"/>
                <a:gd name="connsiteY1" fmla="*/ 1493 h 14936"/>
                <a:gd name="connsiteX2" fmla="*/ 1494 w 0"/>
                <a:gd name="connsiteY2" fmla="*/ 14936 h 14936"/>
                <a:gd name="connsiteX3" fmla="*/ 11949 w 0"/>
                <a:gd name="connsiteY3" fmla="*/ 8961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936">
                  <a:moveTo>
                    <a:pt x="11949" y="0"/>
                  </a:moveTo>
                  <a:lnTo>
                    <a:pt x="0" y="1493"/>
                  </a:lnTo>
                  <a:lnTo>
                    <a:pt x="1494" y="14936"/>
                  </a:lnTo>
                  <a:lnTo>
                    <a:pt x="11949" y="8961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5" name="任意多边形: 形状 414"/>
            <p:cNvSpPr/>
            <p:nvPr/>
          </p:nvSpPr>
          <p:spPr>
            <a:xfrm>
              <a:off x="3971410" y="4640481"/>
              <a:ext cx="40900" cy="54534"/>
            </a:xfrm>
            <a:custGeom>
              <a:avLst/>
              <a:gdLst>
                <a:gd name="connsiteX0" fmla="*/ 23959 w 44809"/>
                <a:gd name="connsiteY0" fmla="*/ 54390 h 59745"/>
                <a:gd name="connsiteX1" fmla="*/ 34414 w 44809"/>
                <a:gd name="connsiteY1" fmla="*/ 61858 h 59745"/>
                <a:gd name="connsiteX2" fmla="*/ 46363 w 44809"/>
                <a:gd name="connsiteY2" fmla="*/ 64845 h 59745"/>
                <a:gd name="connsiteX3" fmla="*/ 50844 w 44809"/>
                <a:gd name="connsiteY3" fmla="*/ 61858 h 59745"/>
                <a:gd name="connsiteX4" fmla="*/ 50844 w 44809"/>
                <a:gd name="connsiteY4" fmla="*/ 55883 h 59745"/>
                <a:gd name="connsiteX5" fmla="*/ 44869 w 44809"/>
                <a:gd name="connsiteY5" fmla="*/ 43934 h 59745"/>
                <a:gd name="connsiteX6" fmla="*/ 29933 w 44809"/>
                <a:gd name="connsiteY6" fmla="*/ 6593 h 59745"/>
                <a:gd name="connsiteX7" fmla="*/ 28440 w 44809"/>
                <a:gd name="connsiteY7" fmla="*/ 3606 h 59745"/>
                <a:gd name="connsiteX8" fmla="*/ 25452 w 44809"/>
                <a:gd name="connsiteY8" fmla="*/ 2112 h 59745"/>
                <a:gd name="connsiteX9" fmla="*/ 7528 w 44809"/>
                <a:gd name="connsiteY9" fmla="*/ 619 h 59745"/>
                <a:gd name="connsiteX10" fmla="*/ 6035 w 44809"/>
                <a:gd name="connsiteY10" fmla="*/ 2112 h 59745"/>
                <a:gd name="connsiteX11" fmla="*/ 4541 w 44809"/>
                <a:gd name="connsiteY11" fmla="*/ 3606 h 59745"/>
                <a:gd name="connsiteX12" fmla="*/ 1554 w 44809"/>
                <a:gd name="connsiteY12" fmla="*/ 11074 h 59745"/>
                <a:gd name="connsiteX13" fmla="*/ 4541 w 44809"/>
                <a:gd name="connsiteY13" fmla="*/ 37960 h 59745"/>
                <a:gd name="connsiteX14" fmla="*/ 12010 w 44809"/>
                <a:gd name="connsiteY14" fmla="*/ 45428 h 59745"/>
                <a:gd name="connsiteX15" fmla="*/ 23959 w 44809"/>
                <a:gd name="connsiteY15" fmla="*/ 54390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59745">
                  <a:moveTo>
                    <a:pt x="23959" y="54390"/>
                  </a:moveTo>
                  <a:cubicBezTo>
                    <a:pt x="26946" y="57377"/>
                    <a:pt x="29933" y="60364"/>
                    <a:pt x="34414" y="61858"/>
                  </a:cubicBezTo>
                  <a:cubicBezTo>
                    <a:pt x="37401" y="63352"/>
                    <a:pt x="41882" y="64845"/>
                    <a:pt x="46363" y="64845"/>
                  </a:cubicBezTo>
                  <a:cubicBezTo>
                    <a:pt x="47857" y="64845"/>
                    <a:pt x="50844" y="63352"/>
                    <a:pt x="50844" y="61858"/>
                  </a:cubicBezTo>
                  <a:cubicBezTo>
                    <a:pt x="52338" y="60364"/>
                    <a:pt x="52338" y="57377"/>
                    <a:pt x="50844" y="55883"/>
                  </a:cubicBezTo>
                  <a:cubicBezTo>
                    <a:pt x="49351" y="51402"/>
                    <a:pt x="47857" y="46921"/>
                    <a:pt x="44869" y="43934"/>
                  </a:cubicBezTo>
                  <a:cubicBezTo>
                    <a:pt x="38895" y="31985"/>
                    <a:pt x="32920" y="20036"/>
                    <a:pt x="29933" y="6593"/>
                  </a:cubicBezTo>
                  <a:cubicBezTo>
                    <a:pt x="29933" y="5099"/>
                    <a:pt x="29933" y="5099"/>
                    <a:pt x="28440" y="3606"/>
                  </a:cubicBezTo>
                  <a:cubicBezTo>
                    <a:pt x="28440" y="3606"/>
                    <a:pt x="26946" y="2112"/>
                    <a:pt x="25452" y="2112"/>
                  </a:cubicBezTo>
                  <a:cubicBezTo>
                    <a:pt x="19478" y="619"/>
                    <a:pt x="13503" y="-875"/>
                    <a:pt x="7528" y="619"/>
                  </a:cubicBezTo>
                  <a:cubicBezTo>
                    <a:pt x="7528" y="619"/>
                    <a:pt x="6035" y="619"/>
                    <a:pt x="6035" y="2112"/>
                  </a:cubicBezTo>
                  <a:cubicBezTo>
                    <a:pt x="6035" y="2112"/>
                    <a:pt x="6035" y="3606"/>
                    <a:pt x="4541" y="3606"/>
                  </a:cubicBezTo>
                  <a:cubicBezTo>
                    <a:pt x="4541" y="6593"/>
                    <a:pt x="3048" y="8087"/>
                    <a:pt x="1554" y="11074"/>
                  </a:cubicBezTo>
                  <a:cubicBezTo>
                    <a:pt x="-1433" y="20036"/>
                    <a:pt x="60" y="30491"/>
                    <a:pt x="4541" y="37960"/>
                  </a:cubicBezTo>
                  <a:cubicBezTo>
                    <a:pt x="6035" y="40947"/>
                    <a:pt x="9022" y="43934"/>
                    <a:pt x="12010" y="45428"/>
                  </a:cubicBezTo>
                  <a:cubicBezTo>
                    <a:pt x="17984" y="48415"/>
                    <a:pt x="20972" y="51402"/>
                    <a:pt x="23959" y="5439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6" name="任意多边形: 形状 415"/>
            <p:cNvSpPr/>
            <p:nvPr/>
          </p:nvSpPr>
          <p:spPr>
            <a:xfrm>
              <a:off x="3967885" y="4642408"/>
              <a:ext cx="68168" cy="68168"/>
            </a:xfrm>
            <a:custGeom>
              <a:avLst/>
              <a:gdLst>
                <a:gd name="connsiteX0" fmla="*/ 5416 w 74681"/>
                <a:gd name="connsiteY0" fmla="*/ 53771 h 74681"/>
                <a:gd name="connsiteX1" fmla="*/ 15872 w 74681"/>
                <a:gd name="connsiteY1" fmla="*/ 61239 h 74681"/>
                <a:gd name="connsiteX2" fmla="*/ 14378 w 74681"/>
                <a:gd name="connsiteY2" fmla="*/ 46303 h 74681"/>
                <a:gd name="connsiteX3" fmla="*/ 29315 w 74681"/>
                <a:gd name="connsiteY3" fmla="*/ 68707 h 74681"/>
                <a:gd name="connsiteX4" fmla="*/ 65162 w 74681"/>
                <a:gd name="connsiteY4" fmla="*/ 85137 h 74681"/>
                <a:gd name="connsiteX5" fmla="*/ 75617 w 74681"/>
                <a:gd name="connsiteY5" fmla="*/ 83644 h 74681"/>
                <a:gd name="connsiteX6" fmla="*/ 77111 w 74681"/>
                <a:gd name="connsiteY6" fmla="*/ 82150 h 74681"/>
                <a:gd name="connsiteX7" fmla="*/ 77111 w 74681"/>
                <a:gd name="connsiteY7" fmla="*/ 79162 h 74681"/>
                <a:gd name="connsiteX8" fmla="*/ 47239 w 74681"/>
                <a:gd name="connsiteY8" fmla="*/ 31366 h 74681"/>
                <a:gd name="connsiteX9" fmla="*/ 51719 w 74681"/>
                <a:gd name="connsiteY9" fmla="*/ 46303 h 74681"/>
                <a:gd name="connsiteX10" fmla="*/ 50226 w 74681"/>
                <a:gd name="connsiteY10" fmla="*/ 52277 h 74681"/>
                <a:gd name="connsiteX11" fmla="*/ 45745 w 74681"/>
                <a:gd name="connsiteY11" fmla="*/ 52277 h 74681"/>
                <a:gd name="connsiteX12" fmla="*/ 33795 w 74681"/>
                <a:gd name="connsiteY12" fmla="*/ 44809 h 74681"/>
                <a:gd name="connsiteX13" fmla="*/ 24834 w 74681"/>
                <a:gd name="connsiteY13" fmla="*/ 37341 h 74681"/>
                <a:gd name="connsiteX14" fmla="*/ 17366 w 74681"/>
                <a:gd name="connsiteY14" fmla="*/ 31366 h 74681"/>
                <a:gd name="connsiteX15" fmla="*/ 9898 w 74681"/>
                <a:gd name="connsiteY15" fmla="*/ 0 h 74681"/>
                <a:gd name="connsiteX16" fmla="*/ 936 w 74681"/>
                <a:gd name="connsiteY16" fmla="*/ 26885 h 74681"/>
                <a:gd name="connsiteX17" fmla="*/ 3923 w 74681"/>
                <a:gd name="connsiteY17" fmla="*/ 37341 h 74681"/>
                <a:gd name="connsiteX18" fmla="*/ 5416 w 74681"/>
                <a:gd name="connsiteY18" fmla="*/ 5377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4681" h="74681">
                  <a:moveTo>
                    <a:pt x="5416" y="53771"/>
                  </a:moveTo>
                  <a:cubicBezTo>
                    <a:pt x="9898" y="56758"/>
                    <a:pt x="12885" y="58252"/>
                    <a:pt x="15872" y="61239"/>
                  </a:cubicBezTo>
                  <a:cubicBezTo>
                    <a:pt x="15872" y="56758"/>
                    <a:pt x="15872" y="52277"/>
                    <a:pt x="14378" y="46303"/>
                  </a:cubicBezTo>
                  <a:cubicBezTo>
                    <a:pt x="21847" y="52277"/>
                    <a:pt x="23340" y="61239"/>
                    <a:pt x="29315" y="68707"/>
                  </a:cubicBezTo>
                  <a:cubicBezTo>
                    <a:pt x="36783" y="79162"/>
                    <a:pt x="51719" y="85137"/>
                    <a:pt x="65162" y="85137"/>
                  </a:cubicBezTo>
                  <a:cubicBezTo>
                    <a:pt x="68149" y="85137"/>
                    <a:pt x="72630" y="85137"/>
                    <a:pt x="75617" y="83644"/>
                  </a:cubicBezTo>
                  <a:cubicBezTo>
                    <a:pt x="75617" y="83644"/>
                    <a:pt x="77111" y="82150"/>
                    <a:pt x="77111" y="82150"/>
                  </a:cubicBezTo>
                  <a:cubicBezTo>
                    <a:pt x="77111" y="80656"/>
                    <a:pt x="77111" y="80656"/>
                    <a:pt x="77111" y="79162"/>
                  </a:cubicBezTo>
                  <a:cubicBezTo>
                    <a:pt x="68149" y="62732"/>
                    <a:pt x="57694" y="46303"/>
                    <a:pt x="47239" y="31366"/>
                  </a:cubicBezTo>
                  <a:cubicBezTo>
                    <a:pt x="50226" y="35847"/>
                    <a:pt x="51719" y="41822"/>
                    <a:pt x="51719" y="46303"/>
                  </a:cubicBezTo>
                  <a:cubicBezTo>
                    <a:pt x="51719" y="47796"/>
                    <a:pt x="51719" y="50783"/>
                    <a:pt x="50226" y="52277"/>
                  </a:cubicBezTo>
                  <a:cubicBezTo>
                    <a:pt x="48732" y="53771"/>
                    <a:pt x="47239" y="53771"/>
                    <a:pt x="45745" y="52277"/>
                  </a:cubicBezTo>
                  <a:cubicBezTo>
                    <a:pt x="41264" y="50783"/>
                    <a:pt x="38277" y="47796"/>
                    <a:pt x="33795" y="44809"/>
                  </a:cubicBezTo>
                  <a:cubicBezTo>
                    <a:pt x="30808" y="41822"/>
                    <a:pt x="27821" y="40328"/>
                    <a:pt x="24834" y="37341"/>
                  </a:cubicBezTo>
                  <a:cubicBezTo>
                    <a:pt x="21847" y="35847"/>
                    <a:pt x="20353" y="32860"/>
                    <a:pt x="17366" y="31366"/>
                  </a:cubicBezTo>
                  <a:cubicBezTo>
                    <a:pt x="9898" y="22405"/>
                    <a:pt x="8404" y="10455"/>
                    <a:pt x="9898" y="0"/>
                  </a:cubicBezTo>
                  <a:cubicBezTo>
                    <a:pt x="2429" y="5974"/>
                    <a:pt x="-2052" y="17923"/>
                    <a:pt x="936" y="26885"/>
                  </a:cubicBezTo>
                  <a:cubicBezTo>
                    <a:pt x="2429" y="29873"/>
                    <a:pt x="2429" y="34353"/>
                    <a:pt x="3923" y="37341"/>
                  </a:cubicBezTo>
                  <a:cubicBezTo>
                    <a:pt x="5416" y="44809"/>
                    <a:pt x="5416" y="49290"/>
                    <a:pt x="5416" y="5377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7" name="任意多边形: 形状 416"/>
            <p:cNvSpPr/>
            <p:nvPr/>
          </p:nvSpPr>
          <p:spPr>
            <a:xfrm>
              <a:off x="3959877" y="4451539"/>
              <a:ext cx="40900" cy="190869"/>
            </a:xfrm>
            <a:custGeom>
              <a:avLst/>
              <a:gdLst>
                <a:gd name="connsiteX0" fmla="*/ 54518 w 44809"/>
                <a:gd name="connsiteY0" fmla="*/ 213590 h 209108"/>
                <a:gd name="connsiteX1" fmla="*/ 9709 w 44809"/>
                <a:gd name="connsiteY1" fmla="*/ 209109 h 209108"/>
                <a:gd name="connsiteX2" fmla="*/ 8215 w 44809"/>
                <a:gd name="connsiteY2" fmla="*/ 23898 h 209108"/>
                <a:gd name="connsiteX3" fmla="*/ 32113 w 44809"/>
                <a:gd name="connsiteY3" fmla="*/ 0 h 209108"/>
                <a:gd name="connsiteX4" fmla="*/ 32113 w 44809"/>
                <a:gd name="connsiteY4" fmla="*/ 0 h 209108"/>
                <a:gd name="connsiteX5" fmla="*/ 56011 w 44809"/>
                <a:gd name="connsiteY5" fmla="*/ 23898 h 209108"/>
                <a:gd name="connsiteX6" fmla="*/ 54518 w 44809"/>
                <a:gd name="connsiteY6" fmla="*/ 213590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09" h="209108">
                  <a:moveTo>
                    <a:pt x="54518" y="213590"/>
                  </a:moveTo>
                  <a:cubicBezTo>
                    <a:pt x="48543" y="230020"/>
                    <a:pt x="11202" y="222551"/>
                    <a:pt x="9709" y="209109"/>
                  </a:cubicBezTo>
                  <a:cubicBezTo>
                    <a:pt x="-3734" y="137414"/>
                    <a:pt x="-2241" y="73188"/>
                    <a:pt x="8215" y="23898"/>
                  </a:cubicBezTo>
                  <a:cubicBezTo>
                    <a:pt x="8215" y="10455"/>
                    <a:pt x="18671" y="0"/>
                    <a:pt x="32113" y="0"/>
                  </a:cubicBezTo>
                  <a:lnTo>
                    <a:pt x="32113" y="0"/>
                  </a:lnTo>
                  <a:cubicBezTo>
                    <a:pt x="45556" y="0"/>
                    <a:pt x="56011" y="10455"/>
                    <a:pt x="56011" y="23898"/>
                  </a:cubicBezTo>
                  <a:lnTo>
                    <a:pt x="54518" y="213590"/>
                  </a:lnTo>
                  <a:close/>
                </a:path>
              </a:pathLst>
            </a:custGeom>
            <a:solidFill>
              <a:srgbClr val="CBBBA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8" name="任意多边形: 形状 417"/>
            <p:cNvSpPr/>
            <p:nvPr/>
          </p:nvSpPr>
          <p:spPr>
            <a:xfrm>
              <a:off x="3882013" y="4245674"/>
              <a:ext cx="81801" cy="259037"/>
            </a:xfrm>
            <a:custGeom>
              <a:avLst/>
              <a:gdLst>
                <a:gd name="connsiteX0" fmla="*/ 92026 w 89618"/>
                <a:gd name="connsiteY0" fmla="*/ 10456 h 283790"/>
                <a:gd name="connsiteX1" fmla="*/ 92026 w 89618"/>
                <a:gd name="connsiteY1" fmla="*/ 17924 h 283790"/>
                <a:gd name="connsiteX2" fmla="*/ 90532 w 89618"/>
                <a:gd name="connsiteY2" fmla="*/ 32860 h 283790"/>
                <a:gd name="connsiteX3" fmla="*/ 77090 w 89618"/>
                <a:gd name="connsiteY3" fmla="*/ 149363 h 283790"/>
                <a:gd name="connsiteX4" fmla="*/ 54685 w 89618"/>
                <a:gd name="connsiteY4" fmla="*/ 270348 h 283790"/>
                <a:gd name="connsiteX5" fmla="*/ 27800 w 89618"/>
                <a:gd name="connsiteY5" fmla="*/ 289765 h 283790"/>
                <a:gd name="connsiteX6" fmla="*/ 27800 w 89618"/>
                <a:gd name="connsiteY6" fmla="*/ 289765 h 283790"/>
                <a:gd name="connsiteX7" fmla="*/ 3902 w 89618"/>
                <a:gd name="connsiteY7" fmla="*/ 268854 h 283790"/>
                <a:gd name="connsiteX8" fmla="*/ 3902 w 89618"/>
                <a:gd name="connsiteY8" fmla="*/ 268854 h 283790"/>
                <a:gd name="connsiteX9" fmla="*/ 3902 w 89618"/>
                <a:gd name="connsiteY9" fmla="*/ 267360 h 283790"/>
                <a:gd name="connsiteX10" fmla="*/ 9876 w 89618"/>
                <a:gd name="connsiteY10" fmla="*/ 41822 h 283790"/>
                <a:gd name="connsiteX11" fmla="*/ 17344 w 89618"/>
                <a:gd name="connsiteY11" fmla="*/ 16430 h 283790"/>
                <a:gd name="connsiteX12" fmla="*/ 21825 w 89618"/>
                <a:gd name="connsiteY12" fmla="*/ 0 h 283790"/>
                <a:gd name="connsiteX13" fmla="*/ 72609 w 89618"/>
                <a:gd name="connsiteY13" fmla="*/ 8962 h 283790"/>
                <a:gd name="connsiteX14" fmla="*/ 92026 w 89618"/>
                <a:gd name="connsiteY14" fmla="*/ 10456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9618" h="283790">
                  <a:moveTo>
                    <a:pt x="92026" y="10456"/>
                  </a:moveTo>
                  <a:lnTo>
                    <a:pt x="92026" y="17924"/>
                  </a:lnTo>
                  <a:lnTo>
                    <a:pt x="90532" y="32860"/>
                  </a:lnTo>
                  <a:lnTo>
                    <a:pt x="77090" y="149363"/>
                  </a:lnTo>
                  <a:cubicBezTo>
                    <a:pt x="77090" y="149363"/>
                    <a:pt x="72609" y="213590"/>
                    <a:pt x="54685" y="270348"/>
                  </a:cubicBezTo>
                  <a:cubicBezTo>
                    <a:pt x="48711" y="286778"/>
                    <a:pt x="50204" y="289765"/>
                    <a:pt x="27800" y="289765"/>
                  </a:cubicBezTo>
                  <a:lnTo>
                    <a:pt x="27800" y="289765"/>
                  </a:lnTo>
                  <a:cubicBezTo>
                    <a:pt x="15851" y="289765"/>
                    <a:pt x="5395" y="280803"/>
                    <a:pt x="3902" y="268854"/>
                  </a:cubicBezTo>
                  <a:cubicBezTo>
                    <a:pt x="3902" y="268854"/>
                    <a:pt x="3902" y="268854"/>
                    <a:pt x="3902" y="268854"/>
                  </a:cubicBezTo>
                  <a:cubicBezTo>
                    <a:pt x="3902" y="268854"/>
                    <a:pt x="3902" y="267360"/>
                    <a:pt x="3902" y="267360"/>
                  </a:cubicBezTo>
                  <a:cubicBezTo>
                    <a:pt x="3902" y="267360"/>
                    <a:pt x="-8047" y="86631"/>
                    <a:pt x="9876" y="41822"/>
                  </a:cubicBezTo>
                  <a:lnTo>
                    <a:pt x="17344" y="16430"/>
                  </a:lnTo>
                  <a:lnTo>
                    <a:pt x="21825" y="0"/>
                  </a:lnTo>
                  <a:lnTo>
                    <a:pt x="72609" y="8962"/>
                  </a:lnTo>
                  <a:lnTo>
                    <a:pt x="92026" y="10456"/>
                  </a:lnTo>
                  <a:close/>
                </a:path>
              </a:pathLst>
            </a:custGeom>
            <a:solidFill>
              <a:srgbClr val="CBBBA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9" name="任意多边形: 形状 418"/>
            <p:cNvSpPr/>
            <p:nvPr/>
          </p:nvSpPr>
          <p:spPr>
            <a:xfrm>
              <a:off x="3904662" y="4702396"/>
              <a:ext cx="13633" cy="13633"/>
            </a:xfrm>
            <a:custGeom>
              <a:avLst/>
              <a:gdLst>
                <a:gd name="connsiteX0" fmla="*/ 0 w 0"/>
                <a:gd name="connsiteY0" fmla="*/ 0 h 14936"/>
                <a:gd name="connsiteX1" fmla="*/ 11949 w 0"/>
                <a:gd name="connsiteY1" fmla="*/ 0 h 14936"/>
                <a:gd name="connsiteX2" fmla="*/ 11949 w 0"/>
                <a:gd name="connsiteY2" fmla="*/ 14936 h 14936"/>
                <a:gd name="connsiteX3" fmla="*/ 0 w 0"/>
                <a:gd name="connsiteY3" fmla="*/ 7468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936">
                  <a:moveTo>
                    <a:pt x="0" y="0"/>
                  </a:moveTo>
                  <a:lnTo>
                    <a:pt x="11949" y="0"/>
                  </a:lnTo>
                  <a:lnTo>
                    <a:pt x="11949" y="14936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0" name="任意多边形: 形状 419"/>
            <p:cNvSpPr/>
            <p:nvPr/>
          </p:nvSpPr>
          <p:spPr>
            <a:xfrm>
              <a:off x="3879099" y="4656841"/>
              <a:ext cx="40900" cy="54534"/>
            </a:xfrm>
            <a:custGeom>
              <a:avLst/>
              <a:gdLst>
                <a:gd name="connsiteX0" fmla="*/ 28006 w 44809"/>
                <a:gd name="connsiteY0" fmla="*/ 54389 h 59745"/>
                <a:gd name="connsiteX1" fmla="*/ 17550 w 44809"/>
                <a:gd name="connsiteY1" fmla="*/ 61857 h 59745"/>
                <a:gd name="connsiteX2" fmla="*/ 5601 w 44809"/>
                <a:gd name="connsiteY2" fmla="*/ 64845 h 59745"/>
                <a:gd name="connsiteX3" fmla="*/ 1120 w 44809"/>
                <a:gd name="connsiteY3" fmla="*/ 61857 h 59745"/>
                <a:gd name="connsiteX4" fmla="*/ 1120 w 44809"/>
                <a:gd name="connsiteY4" fmla="*/ 55883 h 59745"/>
                <a:gd name="connsiteX5" fmla="*/ 7095 w 44809"/>
                <a:gd name="connsiteY5" fmla="*/ 43934 h 59745"/>
                <a:gd name="connsiteX6" fmla="*/ 22031 w 44809"/>
                <a:gd name="connsiteY6" fmla="*/ 6593 h 59745"/>
                <a:gd name="connsiteX7" fmla="*/ 23525 w 44809"/>
                <a:gd name="connsiteY7" fmla="*/ 3606 h 59745"/>
                <a:gd name="connsiteX8" fmla="*/ 26512 w 44809"/>
                <a:gd name="connsiteY8" fmla="*/ 2112 h 59745"/>
                <a:gd name="connsiteX9" fmla="*/ 44436 w 44809"/>
                <a:gd name="connsiteY9" fmla="*/ 619 h 59745"/>
                <a:gd name="connsiteX10" fmla="*/ 45929 w 44809"/>
                <a:gd name="connsiteY10" fmla="*/ 2112 h 59745"/>
                <a:gd name="connsiteX11" fmla="*/ 47423 w 44809"/>
                <a:gd name="connsiteY11" fmla="*/ 3606 h 59745"/>
                <a:gd name="connsiteX12" fmla="*/ 50410 w 44809"/>
                <a:gd name="connsiteY12" fmla="*/ 11074 h 59745"/>
                <a:gd name="connsiteX13" fmla="*/ 47423 w 44809"/>
                <a:gd name="connsiteY13" fmla="*/ 37960 h 59745"/>
                <a:gd name="connsiteX14" fmla="*/ 39955 w 44809"/>
                <a:gd name="connsiteY14" fmla="*/ 45428 h 59745"/>
                <a:gd name="connsiteX15" fmla="*/ 28006 w 44809"/>
                <a:gd name="connsiteY15" fmla="*/ 54389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59745">
                  <a:moveTo>
                    <a:pt x="28006" y="54389"/>
                  </a:moveTo>
                  <a:cubicBezTo>
                    <a:pt x="25019" y="57377"/>
                    <a:pt x="22031" y="60364"/>
                    <a:pt x="17550" y="61857"/>
                  </a:cubicBezTo>
                  <a:cubicBezTo>
                    <a:pt x="14563" y="63351"/>
                    <a:pt x="10082" y="64845"/>
                    <a:pt x="5601" y="64845"/>
                  </a:cubicBezTo>
                  <a:cubicBezTo>
                    <a:pt x="4107" y="64845"/>
                    <a:pt x="1120" y="63351"/>
                    <a:pt x="1120" y="61857"/>
                  </a:cubicBezTo>
                  <a:cubicBezTo>
                    <a:pt x="-373" y="60364"/>
                    <a:pt x="-373" y="57377"/>
                    <a:pt x="1120" y="55883"/>
                  </a:cubicBezTo>
                  <a:cubicBezTo>
                    <a:pt x="2614" y="51402"/>
                    <a:pt x="4107" y="46921"/>
                    <a:pt x="7095" y="43934"/>
                  </a:cubicBezTo>
                  <a:cubicBezTo>
                    <a:pt x="13069" y="31985"/>
                    <a:pt x="19044" y="20036"/>
                    <a:pt x="22031" y="6593"/>
                  </a:cubicBezTo>
                  <a:cubicBezTo>
                    <a:pt x="22031" y="5099"/>
                    <a:pt x="22031" y="5099"/>
                    <a:pt x="23525" y="3606"/>
                  </a:cubicBezTo>
                  <a:cubicBezTo>
                    <a:pt x="23525" y="3606"/>
                    <a:pt x="25019" y="2112"/>
                    <a:pt x="26512" y="2112"/>
                  </a:cubicBezTo>
                  <a:cubicBezTo>
                    <a:pt x="32487" y="619"/>
                    <a:pt x="38461" y="-875"/>
                    <a:pt x="44436" y="619"/>
                  </a:cubicBezTo>
                  <a:cubicBezTo>
                    <a:pt x="44436" y="619"/>
                    <a:pt x="45929" y="619"/>
                    <a:pt x="45929" y="2112"/>
                  </a:cubicBezTo>
                  <a:cubicBezTo>
                    <a:pt x="45929" y="2112"/>
                    <a:pt x="45929" y="3606"/>
                    <a:pt x="47423" y="3606"/>
                  </a:cubicBezTo>
                  <a:cubicBezTo>
                    <a:pt x="47423" y="6593"/>
                    <a:pt x="48916" y="8087"/>
                    <a:pt x="50410" y="11074"/>
                  </a:cubicBezTo>
                  <a:cubicBezTo>
                    <a:pt x="53397" y="20036"/>
                    <a:pt x="51904" y="30491"/>
                    <a:pt x="47423" y="37960"/>
                  </a:cubicBezTo>
                  <a:cubicBezTo>
                    <a:pt x="45929" y="40947"/>
                    <a:pt x="42942" y="43934"/>
                    <a:pt x="39955" y="45428"/>
                  </a:cubicBezTo>
                  <a:cubicBezTo>
                    <a:pt x="33980" y="48415"/>
                    <a:pt x="30993" y="51402"/>
                    <a:pt x="28006" y="5438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1" name="任意多边形: 形状 420"/>
            <p:cNvSpPr/>
            <p:nvPr/>
          </p:nvSpPr>
          <p:spPr>
            <a:xfrm>
              <a:off x="3859671" y="4658769"/>
              <a:ext cx="68168" cy="68168"/>
            </a:xfrm>
            <a:custGeom>
              <a:avLst/>
              <a:gdLst>
                <a:gd name="connsiteX0" fmla="*/ 71694 w 74681"/>
                <a:gd name="connsiteY0" fmla="*/ 53771 h 74681"/>
                <a:gd name="connsiteX1" fmla="*/ 61239 w 74681"/>
                <a:gd name="connsiteY1" fmla="*/ 61239 h 74681"/>
                <a:gd name="connsiteX2" fmla="*/ 62732 w 74681"/>
                <a:gd name="connsiteY2" fmla="*/ 46303 h 74681"/>
                <a:gd name="connsiteX3" fmla="*/ 47796 w 74681"/>
                <a:gd name="connsiteY3" fmla="*/ 68707 h 74681"/>
                <a:gd name="connsiteX4" fmla="*/ 11949 w 74681"/>
                <a:gd name="connsiteY4" fmla="*/ 85137 h 74681"/>
                <a:gd name="connsiteX5" fmla="*/ 1494 w 74681"/>
                <a:gd name="connsiteY5" fmla="*/ 83644 h 74681"/>
                <a:gd name="connsiteX6" fmla="*/ 0 w 74681"/>
                <a:gd name="connsiteY6" fmla="*/ 82150 h 74681"/>
                <a:gd name="connsiteX7" fmla="*/ 0 w 74681"/>
                <a:gd name="connsiteY7" fmla="*/ 79163 h 74681"/>
                <a:gd name="connsiteX8" fmla="*/ 29873 w 74681"/>
                <a:gd name="connsiteY8" fmla="*/ 31366 h 74681"/>
                <a:gd name="connsiteX9" fmla="*/ 25392 w 74681"/>
                <a:gd name="connsiteY9" fmla="*/ 46303 h 74681"/>
                <a:gd name="connsiteX10" fmla="*/ 26885 w 74681"/>
                <a:gd name="connsiteY10" fmla="*/ 52277 h 74681"/>
                <a:gd name="connsiteX11" fmla="*/ 31366 w 74681"/>
                <a:gd name="connsiteY11" fmla="*/ 52277 h 74681"/>
                <a:gd name="connsiteX12" fmla="*/ 43315 w 74681"/>
                <a:gd name="connsiteY12" fmla="*/ 44809 h 74681"/>
                <a:gd name="connsiteX13" fmla="*/ 52277 w 74681"/>
                <a:gd name="connsiteY13" fmla="*/ 37341 h 74681"/>
                <a:gd name="connsiteX14" fmla="*/ 59745 w 74681"/>
                <a:gd name="connsiteY14" fmla="*/ 31366 h 74681"/>
                <a:gd name="connsiteX15" fmla="*/ 67214 w 74681"/>
                <a:gd name="connsiteY15" fmla="*/ 0 h 74681"/>
                <a:gd name="connsiteX16" fmla="*/ 76175 w 74681"/>
                <a:gd name="connsiteY16" fmla="*/ 26886 h 74681"/>
                <a:gd name="connsiteX17" fmla="*/ 73188 w 74681"/>
                <a:gd name="connsiteY17" fmla="*/ 37341 h 74681"/>
                <a:gd name="connsiteX18" fmla="*/ 71694 w 74681"/>
                <a:gd name="connsiteY18" fmla="*/ 5377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4681" h="74681">
                  <a:moveTo>
                    <a:pt x="71694" y="53771"/>
                  </a:moveTo>
                  <a:cubicBezTo>
                    <a:pt x="67214" y="56758"/>
                    <a:pt x="64226" y="58252"/>
                    <a:pt x="61239" y="61239"/>
                  </a:cubicBezTo>
                  <a:cubicBezTo>
                    <a:pt x="61239" y="56758"/>
                    <a:pt x="61239" y="52277"/>
                    <a:pt x="62732" y="46303"/>
                  </a:cubicBezTo>
                  <a:cubicBezTo>
                    <a:pt x="55264" y="52277"/>
                    <a:pt x="53771" y="61239"/>
                    <a:pt x="47796" y="68707"/>
                  </a:cubicBezTo>
                  <a:cubicBezTo>
                    <a:pt x="40328" y="79163"/>
                    <a:pt x="25392" y="85137"/>
                    <a:pt x="11949" y="85137"/>
                  </a:cubicBezTo>
                  <a:cubicBezTo>
                    <a:pt x="8962" y="85137"/>
                    <a:pt x="4481" y="85137"/>
                    <a:pt x="1494" y="83644"/>
                  </a:cubicBezTo>
                  <a:cubicBezTo>
                    <a:pt x="1494" y="83644"/>
                    <a:pt x="0" y="82150"/>
                    <a:pt x="0" y="82150"/>
                  </a:cubicBezTo>
                  <a:cubicBezTo>
                    <a:pt x="0" y="80657"/>
                    <a:pt x="0" y="80657"/>
                    <a:pt x="0" y="79163"/>
                  </a:cubicBezTo>
                  <a:cubicBezTo>
                    <a:pt x="8962" y="62733"/>
                    <a:pt x="19417" y="46303"/>
                    <a:pt x="29873" y="31366"/>
                  </a:cubicBezTo>
                  <a:cubicBezTo>
                    <a:pt x="26885" y="35848"/>
                    <a:pt x="25392" y="41822"/>
                    <a:pt x="25392" y="46303"/>
                  </a:cubicBezTo>
                  <a:cubicBezTo>
                    <a:pt x="25392" y="47796"/>
                    <a:pt x="25392" y="50784"/>
                    <a:pt x="26885" y="52277"/>
                  </a:cubicBezTo>
                  <a:cubicBezTo>
                    <a:pt x="28379" y="53771"/>
                    <a:pt x="29873" y="53771"/>
                    <a:pt x="31366" y="52277"/>
                  </a:cubicBezTo>
                  <a:cubicBezTo>
                    <a:pt x="35847" y="50784"/>
                    <a:pt x="38835" y="47796"/>
                    <a:pt x="43315" y="44809"/>
                  </a:cubicBezTo>
                  <a:cubicBezTo>
                    <a:pt x="46303" y="41822"/>
                    <a:pt x="49290" y="40328"/>
                    <a:pt x="52277" y="37341"/>
                  </a:cubicBezTo>
                  <a:cubicBezTo>
                    <a:pt x="55264" y="35848"/>
                    <a:pt x="56758" y="32860"/>
                    <a:pt x="59745" y="31366"/>
                  </a:cubicBezTo>
                  <a:cubicBezTo>
                    <a:pt x="67214" y="22405"/>
                    <a:pt x="68707" y="10456"/>
                    <a:pt x="67214" y="0"/>
                  </a:cubicBezTo>
                  <a:cubicBezTo>
                    <a:pt x="74682" y="5975"/>
                    <a:pt x="79162" y="17924"/>
                    <a:pt x="76175" y="26886"/>
                  </a:cubicBezTo>
                  <a:cubicBezTo>
                    <a:pt x="74682" y="29873"/>
                    <a:pt x="74682" y="34354"/>
                    <a:pt x="73188" y="37341"/>
                  </a:cubicBezTo>
                  <a:cubicBezTo>
                    <a:pt x="71694" y="44809"/>
                    <a:pt x="71694" y="49290"/>
                    <a:pt x="71694" y="5377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2" name="任意多边形: 形状 421"/>
            <p:cNvSpPr/>
            <p:nvPr/>
          </p:nvSpPr>
          <p:spPr>
            <a:xfrm>
              <a:off x="3886939" y="4467900"/>
              <a:ext cx="54534" cy="190869"/>
            </a:xfrm>
            <a:custGeom>
              <a:avLst/>
              <a:gdLst>
                <a:gd name="connsiteX0" fmla="*/ 5974 w 59745"/>
                <a:gd name="connsiteY0" fmla="*/ 215084 h 209108"/>
                <a:gd name="connsiteX1" fmla="*/ 53771 w 59745"/>
                <a:gd name="connsiteY1" fmla="*/ 206122 h 209108"/>
                <a:gd name="connsiteX2" fmla="*/ 47796 w 59745"/>
                <a:gd name="connsiteY2" fmla="*/ 23898 h 209108"/>
                <a:gd name="connsiteX3" fmla="*/ 23898 w 59745"/>
                <a:gd name="connsiteY3" fmla="*/ 0 h 209108"/>
                <a:gd name="connsiteX4" fmla="*/ 23898 w 59745"/>
                <a:gd name="connsiteY4" fmla="*/ 0 h 209108"/>
                <a:gd name="connsiteX5" fmla="*/ 0 w 59745"/>
                <a:gd name="connsiteY5" fmla="*/ 23898 h 209108"/>
                <a:gd name="connsiteX6" fmla="*/ 5974 w 59745"/>
                <a:gd name="connsiteY6" fmla="*/ 215084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745" h="209108">
                  <a:moveTo>
                    <a:pt x="5974" y="215084"/>
                  </a:moveTo>
                  <a:cubicBezTo>
                    <a:pt x="10455" y="225539"/>
                    <a:pt x="52277" y="219564"/>
                    <a:pt x="53771" y="206122"/>
                  </a:cubicBezTo>
                  <a:cubicBezTo>
                    <a:pt x="65720" y="132934"/>
                    <a:pt x="62732" y="61239"/>
                    <a:pt x="47796" y="23898"/>
                  </a:cubicBezTo>
                  <a:cubicBezTo>
                    <a:pt x="47796" y="10456"/>
                    <a:pt x="37341" y="0"/>
                    <a:pt x="23898" y="0"/>
                  </a:cubicBezTo>
                  <a:lnTo>
                    <a:pt x="23898" y="0"/>
                  </a:lnTo>
                  <a:cubicBezTo>
                    <a:pt x="10455" y="0"/>
                    <a:pt x="0" y="10456"/>
                    <a:pt x="0" y="23898"/>
                  </a:cubicBezTo>
                  <a:lnTo>
                    <a:pt x="5974" y="215084"/>
                  </a:lnTo>
                  <a:close/>
                </a:path>
              </a:pathLst>
            </a:custGeom>
            <a:solidFill>
              <a:srgbClr val="CBBBA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3" name="任意多边形: 形状 422"/>
            <p:cNvSpPr/>
            <p:nvPr/>
          </p:nvSpPr>
          <p:spPr>
            <a:xfrm>
              <a:off x="3964104" y="4060791"/>
              <a:ext cx="81801" cy="81801"/>
            </a:xfrm>
            <a:custGeom>
              <a:avLst/>
              <a:gdLst>
                <a:gd name="connsiteX0" fmla="*/ 93203 w 89618"/>
                <a:gd name="connsiteY0" fmla="*/ 50201 h 89618"/>
                <a:gd name="connsiteX1" fmla="*/ 20015 w 89618"/>
                <a:gd name="connsiteY1" fmla="*/ 2405 h 89618"/>
                <a:gd name="connsiteX2" fmla="*/ 3585 w 89618"/>
                <a:gd name="connsiteY2" fmla="*/ 11367 h 89618"/>
                <a:gd name="connsiteX3" fmla="*/ 3585 w 89618"/>
                <a:gd name="connsiteY3" fmla="*/ 11367 h 89618"/>
                <a:gd name="connsiteX4" fmla="*/ 8065 w 89618"/>
                <a:gd name="connsiteY4" fmla="*/ 39746 h 89618"/>
                <a:gd name="connsiteX5" fmla="*/ 100671 w 89618"/>
                <a:gd name="connsiteY5" fmla="*/ 90529 h 89618"/>
                <a:gd name="connsiteX6" fmla="*/ 93203 w 89618"/>
                <a:gd name="connsiteY6" fmla="*/ 50201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618" h="89618">
                  <a:moveTo>
                    <a:pt x="93203" y="50201"/>
                  </a:moveTo>
                  <a:lnTo>
                    <a:pt x="20015" y="2405"/>
                  </a:lnTo>
                  <a:cubicBezTo>
                    <a:pt x="11053" y="-3570"/>
                    <a:pt x="9559" y="2405"/>
                    <a:pt x="3585" y="11367"/>
                  </a:cubicBezTo>
                  <a:lnTo>
                    <a:pt x="3585" y="11367"/>
                  </a:lnTo>
                  <a:cubicBezTo>
                    <a:pt x="-2390" y="20329"/>
                    <a:pt x="-896" y="32278"/>
                    <a:pt x="8065" y="39746"/>
                  </a:cubicBezTo>
                  <a:cubicBezTo>
                    <a:pt x="8065" y="39746"/>
                    <a:pt x="82747" y="100985"/>
                    <a:pt x="100671" y="90529"/>
                  </a:cubicBezTo>
                  <a:cubicBezTo>
                    <a:pt x="108139" y="78580"/>
                    <a:pt x="94696" y="65138"/>
                    <a:pt x="93203" y="50201"/>
                  </a:cubicBez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4" name="任意多边形: 形状 423"/>
            <p:cNvSpPr/>
            <p:nvPr/>
          </p:nvSpPr>
          <p:spPr>
            <a:xfrm>
              <a:off x="3865124" y="4054805"/>
              <a:ext cx="136334" cy="204502"/>
            </a:xfrm>
            <a:custGeom>
              <a:avLst/>
              <a:gdLst>
                <a:gd name="connsiteX0" fmla="*/ 144883 w 149363"/>
                <a:gd name="connsiteY0" fmla="*/ 129946 h 224045"/>
                <a:gd name="connsiteX1" fmla="*/ 137415 w 149363"/>
                <a:gd name="connsiteY1" fmla="*/ 137415 h 224045"/>
                <a:gd name="connsiteX2" fmla="*/ 134427 w 149363"/>
                <a:gd name="connsiteY2" fmla="*/ 149363 h 224045"/>
                <a:gd name="connsiteX3" fmla="*/ 134427 w 149363"/>
                <a:gd name="connsiteY3" fmla="*/ 179236 h 224045"/>
                <a:gd name="connsiteX4" fmla="*/ 134427 w 149363"/>
                <a:gd name="connsiteY4" fmla="*/ 182224 h 224045"/>
                <a:gd name="connsiteX5" fmla="*/ 131440 w 149363"/>
                <a:gd name="connsiteY5" fmla="*/ 206121 h 224045"/>
                <a:gd name="connsiteX6" fmla="*/ 125465 w 149363"/>
                <a:gd name="connsiteY6" fmla="*/ 213590 h 224045"/>
                <a:gd name="connsiteX7" fmla="*/ 64226 w 149363"/>
                <a:gd name="connsiteY7" fmla="*/ 231513 h 224045"/>
                <a:gd name="connsiteX8" fmla="*/ 43315 w 149363"/>
                <a:gd name="connsiteY8" fmla="*/ 219564 h 224045"/>
                <a:gd name="connsiteX9" fmla="*/ 40328 w 149363"/>
                <a:gd name="connsiteY9" fmla="*/ 207615 h 224045"/>
                <a:gd name="connsiteX10" fmla="*/ 40328 w 149363"/>
                <a:gd name="connsiteY10" fmla="*/ 200147 h 224045"/>
                <a:gd name="connsiteX11" fmla="*/ 40328 w 149363"/>
                <a:gd name="connsiteY11" fmla="*/ 197160 h 224045"/>
                <a:gd name="connsiteX12" fmla="*/ 20911 w 149363"/>
                <a:gd name="connsiteY12" fmla="*/ 143389 h 224045"/>
                <a:gd name="connsiteX13" fmla="*/ 19417 w 149363"/>
                <a:gd name="connsiteY13" fmla="*/ 141895 h 224045"/>
                <a:gd name="connsiteX14" fmla="*/ 0 w 149363"/>
                <a:gd name="connsiteY14" fmla="*/ 92606 h 224045"/>
                <a:gd name="connsiteX15" fmla="*/ 71694 w 149363"/>
                <a:gd name="connsiteY15" fmla="*/ 8962 h 224045"/>
                <a:gd name="connsiteX16" fmla="*/ 101567 w 149363"/>
                <a:gd name="connsiteY16" fmla="*/ 0 h 224045"/>
                <a:gd name="connsiteX17" fmla="*/ 128453 w 149363"/>
                <a:gd name="connsiteY17" fmla="*/ 13443 h 224045"/>
                <a:gd name="connsiteX18" fmla="*/ 134427 w 149363"/>
                <a:gd name="connsiteY18" fmla="*/ 50783 h 224045"/>
                <a:gd name="connsiteX19" fmla="*/ 150857 w 149363"/>
                <a:gd name="connsiteY19" fmla="*/ 83644 h 224045"/>
                <a:gd name="connsiteX20" fmla="*/ 144883 w 149363"/>
                <a:gd name="connsiteY20" fmla="*/ 129946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9363" h="224045">
                  <a:moveTo>
                    <a:pt x="144883" y="129946"/>
                  </a:moveTo>
                  <a:cubicBezTo>
                    <a:pt x="141895" y="132933"/>
                    <a:pt x="140402" y="134427"/>
                    <a:pt x="137415" y="137415"/>
                  </a:cubicBezTo>
                  <a:cubicBezTo>
                    <a:pt x="135921" y="140402"/>
                    <a:pt x="134427" y="144883"/>
                    <a:pt x="134427" y="149363"/>
                  </a:cubicBezTo>
                  <a:cubicBezTo>
                    <a:pt x="134427" y="159819"/>
                    <a:pt x="134427" y="170274"/>
                    <a:pt x="134427" y="179236"/>
                  </a:cubicBezTo>
                  <a:cubicBezTo>
                    <a:pt x="134427" y="180730"/>
                    <a:pt x="134427" y="180730"/>
                    <a:pt x="134427" y="182224"/>
                  </a:cubicBezTo>
                  <a:cubicBezTo>
                    <a:pt x="134427" y="189692"/>
                    <a:pt x="134427" y="198653"/>
                    <a:pt x="131440" y="206121"/>
                  </a:cubicBezTo>
                  <a:cubicBezTo>
                    <a:pt x="129946" y="209109"/>
                    <a:pt x="128453" y="212096"/>
                    <a:pt x="125465" y="213590"/>
                  </a:cubicBezTo>
                  <a:cubicBezTo>
                    <a:pt x="110529" y="228526"/>
                    <a:pt x="86631" y="235994"/>
                    <a:pt x="64226" y="231513"/>
                  </a:cubicBezTo>
                  <a:cubicBezTo>
                    <a:pt x="56758" y="230020"/>
                    <a:pt x="47796" y="225539"/>
                    <a:pt x="43315" y="219564"/>
                  </a:cubicBezTo>
                  <a:cubicBezTo>
                    <a:pt x="41822" y="216577"/>
                    <a:pt x="40328" y="212096"/>
                    <a:pt x="40328" y="207615"/>
                  </a:cubicBezTo>
                  <a:cubicBezTo>
                    <a:pt x="40328" y="204628"/>
                    <a:pt x="40328" y="203134"/>
                    <a:pt x="40328" y="200147"/>
                  </a:cubicBezTo>
                  <a:cubicBezTo>
                    <a:pt x="40328" y="198653"/>
                    <a:pt x="40328" y="198653"/>
                    <a:pt x="40328" y="197160"/>
                  </a:cubicBezTo>
                  <a:cubicBezTo>
                    <a:pt x="38835" y="177742"/>
                    <a:pt x="31366" y="159819"/>
                    <a:pt x="20911" y="143389"/>
                  </a:cubicBezTo>
                  <a:cubicBezTo>
                    <a:pt x="20911" y="143389"/>
                    <a:pt x="20911" y="141895"/>
                    <a:pt x="19417" y="141895"/>
                  </a:cubicBezTo>
                  <a:cubicBezTo>
                    <a:pt x="11949" y="131440"/>
                    <a:pt x="0" y="106048"/>
                    <a:pt x="0" y="92606"/>
                  </a:cubicBezTo>
                  <a:cubicBezTo>
                    <a:pt x="0" y="59745"/>
                    <a:pt x="64226" y="13443"/>
                    <a:pt x="71694" y="8962"/>
                  </a:cubicBezTo>
                  <a:cubicBezTo>
                    <a:pt x="82150" y="4481"/>
                    <a:pt x="91112" y="0"/>
                    <a:pt x="101567" y="0"/>
                  </a:cubicBezTo>
                  <a:cubicBezTo>
                    <a:pt x="112023" y="0"/>
                    <a:pt x="123971" y="2987"/>
                    <a:pt x="128453" y="13443"/>
                  </a:cubicBezTo>
                  <a:cubicBezTo>
                    <a:pt x="135921" y="23898"/>
                    <a:pt x="131440" y="38835"/>
                    <a:pt x="134427" y="50783"/>
                  </a:cubicBezTo>
                  <a:cubicBezTo>
                    <a:pt x="137415" y="62733"/>
                    <a:pt x="146376" y="71694"/>
                    <a:pt x="150857" y="83644"/>
                  </a:cubicBezTo>
                  <a:cubicBezTo>
                    <a:pt x="159819" y="100074"/>
                    <a:pt x="156832" y="117997"/>
                    <a:pt x="144883" y="129946"/>
                  </a:cubicBez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5" name="任意多边形: 形状 424"/>
            <p:cNvSpPr/>
            <p:nvPr/>
          </p:nvSpPr>
          <p:spPr>
            <a:xfrm>
              <a:off x="3915310" y="4166600"/>
              <a:ext cx="54534" cy="27267"/>
            </a:xfrm>
            <a:custGeom>
              <a:avLst/>
              <a:gdLst>
                <a:gd name="connsiteX0" fmla="*/ 43598 w 59745"/>
                <a:gd name="connsiteY0" fmla="*/ 32860 h 29872"/>
                <a:gd name="connsiteX1" fmla="*/ 12232 w 59745"/>
                <a:gd name="connsiteY1" fmla="*/ 28379 h 29872"/>
                <a:gd name="connsiteX2" fmla="*/ 283 w 59745"/>
                <a:gd name="connsiteY2" fmla="*/ 0 h 29872"/>
                <a:gd name="connsiteX3" fmla="*/ 25675 w 59745"/>
                <a:gd name="connsiteY3" fmla="*/ 25392 h 29872"/>
                <a:gd name="connsiteX4" fmla="*/ 60028 w 59745"/>
                <a:gd name="connsiteY4" fmla="*/ 20911 h 29872"/>
                <a:gd name="connsiteX5" fmla="*/ 43598 w 59745"/>
                <a:gd name="connsiteY5" fmla="*/ 3286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745" h="29872">
                  <a:moveTo>
                    <a:pt x="43598" y="32860"/>
                  </a:moveTo>
                  <a:cubicBezTo>
                    <a:pt x="33143" y="37341"/>
                    <a:pt x="21194" y="34353"/>
                    <a:pt x="12232" y="28379"/>
                  </a:cubicBezTo>
                  <a:cubicBezTo>
                    <a:pt x="3270" y="20911"/>
                    <a:pt x="-1211" y="10455"/>
                    <a:pt x="283" y="0"/>
                  </a:cubicBezTo>
                  <a:cubicBezTo>
                    <a:pt x="4764" y="11949"/>
                    <a:pt x="13726" y="20911"/>
                    <a:pt x="25675" y="25392"/>
                  </a:cubicBezTo>
                  <a:cubicBezTo>
                    <a:pt x="37624" y="29873"/>
                    <a:pt x="51067" y="28379"/>
                    <a:pt x="60028" y="20911"/>
                  </a:cubicBezTo>
                  <a:cubicBezTo>
                    <a:pt x="55547" y="25392"/>
                    <a:pt x="51067" y="29873"/>
                    <a:pt x="43598" y="32860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6" name="任意多边形: 形状 425"/>
            <p:cNvSpPr/>
            <p:nvPr/>
          </p:nvSpPr>
          <p:spPr>
            <a:xfrm>
              <a:off x="3884211" y="4135243"/>
              <a:ext cx="13633" cy="109068"/>
            </a:xfrm>
            <a:custGeom>
              <a:avLst/>
              <a:gdLst>
                <a:gd name="connsiteX0" fmla="*/ 20911 w 14936"/>
                <a:gd name="connsiteY0" fmla="*/ 91112 h 119490"/>
                <a:gd name="connsiteX1" fmla="*/ 19418 w 14936"/>
                <a:gd name="connsiteY1" fmla="*/ 119491 h 119490"/>
                <a:gd name="connsiteX2" fmla="*/ 19418 w 14936"/>
                <a:gd name="connsiteY2" fmla="*/ 112023 h 119490"/>
                <a:gd name="connsiteX3" fmla="*/ 0 w 14936"/>
                <a:gd name="connsiteY3" fmla="*/ 55265 h 119490"/>
                <a:gd name="connsiteX4" fmla="*/ 1494 w 14936"/>
                <a:gd name="connsiteY4" fmla="*/ 47796 h 119490"/>
                <a:gd name="connsiteX5" fmla="*/ 17924 w 14936"/>
                <a:gd name="connsiteY5" fmla="*/ 0 h 119490"/>
                <a:gd name="connsiteX6" fmla="*/ 20911 w 14936"/>
                <a:gd name="connsiteY6" fmla="*/ 91112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36" h="119490">
                  <a:moveTo>
                    <a:pt x="20911" y="91112"/>
                  </a:moveTo>
                  <a:cubicBezTo>
                    <a:pt x="22405" y="100074"/>
                    <a:pt x="23898" y="110529"/>
                    <a:pt x="19418" y="119491"/>
                  </a:cubicBezTo>
                  <a:cubicBezTo>
                    <a:pt x="19418" y="116504"/>
                    <a:pt x="19418" y="115010"/>
                    <a:pt x="19418" y="112023"/>
                  </a:cubicBezTo>
                  <a:cubicBezTo>
                    <a:pt x="17924" y="92606"/>
                    <a:pt x="11949" y="71695"/>
                    <a:pt x="0" y="55265"/>
                  </a:cubicBezTo>
                  <a:cubicBezTo>
                    <a:pt x="0" y="52277"/>
                    <a:pt x="1494" y="50783"/>
                    <a:pt x="1494" y="47796"/>
                  </a:cubicBezTo>
                  <a:cubicBezTo>
                    <a:pt x="4481" y="31366"/>
                    <a:pt x="8962" y="13443"/>
                    <a:pt x="17924" y="0"/>
                  </a:cubicBezTo>
                  <a:cubicBezTo>
                    <a:pt x="28379" y="29873"/>
                    <a:pt x="17924" y="61239"/>
                    <a:pt x="20911" y="91112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7" name="任意多边形: 形状 426"/>
            <p:cNvSpPr/>
            <p:nvPr/>
          </p:nvSpPr>
          <p:spPr>
            <a:xfrm>
              <a:off x="3855407" y="4212953"/>
              <a:ext cx="27267" cy="27267"/>
            </a:xfrm>
            <a:custGeom>
              <a:avLst/>
              <a:gdLst>
                <a:gd name="connsiteX0" fmla="*/ 1684 w 29872"/>
                <a:gd name="connsiteY0" fmla="*/ 0 h 29872"/>
                <a:gd name="connsiteX1" fmla="*/ 190 w 29872"/>
                <a:gd name="connsiteY1" fmla="*/ 7468 h 29872"/>
                <a:gd name="connsiteX2" fmla="*/ 16620 w 29872"/>
                <a:gd name="connsiteY2" fmla="*/ 29873 h 29872"/>
                <a:gd name="connsiteX3" fmla="*/ 16620 w 29872"/>
                <a:gd name="connsiteY3" fmla="*/ 29873 h 29872"/>
                <a:gd name="connsiteX4" fmla="*/ 39025 w 29872"/>
                <a:gd name="connsiteY4" fmla="*/ 13443 h 29872"/>
                <a:gd name="connsiteX5" fmla="*/ 39025 w 29872"/>
                <a:gd name="connsiteY5" fmla="*/ 7468 h 29872"/>
                <a:gd name="connsiteX6" fmla="*/ 1684 w 29872"/>
                <a:gd name="connsiteY6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72" h="29872">
                  <a:moveTo>
                    <a:pt x="1684" y="0"/>
                  </a:moveTo>
                  <a:lnTo>
                    <a:pt x="190" y="7468"/>
                  </a:lnTo>
                  <a:cubicBezTo>
                    <a:pt x="-1303" y="17923"/>
                    <a:pt x="6165" y="28379"/>
                    <a:pt x="16620" y="29873"/>
                  </a:cubicBezTo>
                  <a:lnTo>
                    <a:pt x="16620" y="29873"/>
                  </a:lnTo>
                  <a:cubicBezTo>
                    <a:pt x="27076" y="31366"/>
                    <a:pt x="37531" y="23898"/>
                    <a:pt x="39025" y="13443"/>
                  </a:cubicBezTo>
                  <a:lnTo>
                    <a:pt x="39025" y="7468"/>
                  </a:lnTo>
                  <a:cubicBezTo>
                    <a:pt x="28570" y="8962"/>
                    <a:pt x="13633" y="8962"/>
                    <a:pt x="1684" y="0"/>
                  </a:cubicBez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8" name="任意多边形: 形状 427"/>
            <p:cNvSpPr/>
            <p:nvPr/>
          </p:nvSpPr>
          <p:spPr>
            <a:xfrm>
              <a:off x="3810591" y="4204499"/>
              <a:ext cx="81801" cy="68168"/>
            </a:xfrm>
            <a:custGeom>
              <a:avLst/>
              <a:gdLst>
                <a:gd name="connsiteX0" fmla="*/ 14936 w 89618"/>
                <a:gd name="connsiteY0" fmla="*/ 88425 h 74681"/>
                <a:gd name="connsiteX1" fmla="*/ 0 w 89618"/>
                <a:gd name="connsiteY1" fmla="*/ 73489 h 74681"/>
                <a:gd name="connsiteX2" fmla="*/ 56758 w 89618"/>
                <a:gd name="connsiteY2" fmla="*/ 4782 h 74681"/>
                <a:gd name="connsiteX3" fmla="*/ 85137 w 89618"/>
                <a:gd name="connsiteY3" fmla="*/ 7769 h 74681"/>
                <a:gd name="connsiteX4" fmla="*/ 85137 w 89618"/>
                <a:gd name="connsiteY4" fmla="*/ 7769 h 74681"/>
                <a:gd name="connsiteX5" fmla="*/ 82150 w 89618"/>
                <a:gd name="connsiteY5" fmla="*/ 36148 h 74681"/>
                <a:gd name="connsiteX6" fmla="*/ 14936 w 89618"/>
                <a:gd name="connsiteY6" fmla="*/ 88425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618" h="74681">
                  <a:moveTo>
                    <a:pt x="14936" y="88425"/>
                  </a:moveTo>
                  <a:lnTo>
                    <a:pt x="0" y="73489"/>
                  </a:lnTo>
                  <a:lnTo>
                    <a:pt x="56758" y="4782"/>
                  </a:lnTo>
                  <a:cubicBezTo>
                    <a:pt x="65720" y="-2687"/>
                    <a:pt x="77669" y="-1193"/>
                    <a:pt x="85137" y="7769"/>
                  </a:cubicBezTo>
                  <a:lnTo>
                    <a:pt x="85137" y="7769"/>
                  </a:lnTo>
                  <a:cubicBezTo>
                    <a:pt x="92606" y="16731"/>
                    <a:pt x="91112" y="28680"/>
                    <a:pt x="82150" y="36148"/>
                  </a:cubicBezTo>
                  <a:lnTo>
                    <a:pt x="14936" y="88425"/>
                  </a:ln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9" name="任意多边形: 形状 428"/>
            <p:cNvSpPr/>
            <p:nvPr/>
          </p:nvSpPr>
          <p:spPr>
            <a:xfrm>
              <a:off x="3778490" y="4269003"/>
              <a:ext cx="40900" cy="54534"/>
            </a:xfrm>
            <a:custGeom>
              <a:avLst/>
              <a:gdLst>
                <a:gd name="connsiteX0" fmla="*/ 39648 w 44809"/>
                <a:gd name="connsiteY0" fmla="*/ 1327 h 59745"/>
                <a:gd name="connsiteX1" fmla="*/ 54585 w 44809"/>
                <a:gd name="connsiteY1" fmla="*/ 14770 h 59745"/>
                <a:gd name="connsiteX2" fmla="*/ 45623 w 44809"/>
                <a:gd name="connsiteY2" fmla="*/ 41655 h 59745"/>
                <a:gd name="connsiteX3" fmla="*/ 38155 w 44809"/>
                <a:gd name="connsiteY3" fmla="*/ 52110 h 59745"/>
                <a:gd name="connsiteX4" fmla="*/ 27699 w 44809"/>
                <a:gd name="connsiteY4" fmla="*/ 65553 h 59745"/>
                <a:gd name="connsiteX5" fmla="*/ 24712 w 44809"/>
                <a:gd name="connsiteY5" fmla="*/ 70034 h 59745"/>
                <a:gd name="connsiteX6" fmla="*/ 20231 w 44809"/>
                <a:gd name="connsiteY6" fmla="*/ 71528 h 59745"/>
                <a:gd name="connsiteX7" fmla="*/ 814 w 44809"/>
                <a:gd name="connsiteY7" fmla="*/ 71528 h 59745"/>
                <a:gd name="connsiteX8" fmla="*/ 6789 w 44809"/>
                <a:gd name="connsiteY8" fmla="*/ 55097 h 59745"/>
                <a:gd name="connsiteX9" fmla="*/ 14257 w 44809"/>
                <a:gd name="connsiteY9" fmla="*/ 40161 h 59745"/>
                <a:gd name="connsiteX10" fmla="*/ 20231 w 44809"/>
                <a:gd name="connsiteY10" fmla="*/ 20744 h 59745"/>
                <a:gd name="connsiteX11" fmla="*/ 26206 w 44809"/>
                <a:gd name="connsiteY11" fmla="*/ 11782 h 59745"/>
                <a:gd name="connsiteX12" fmla="*/ 39648 w 44809"/>
                <a:gd name="connsiteY12" fmla="*/ 1327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09" h="59745">
                  <a:moveTo>
                    <a:pt x="39648" y="1327"/>
                  </a:moveTo>
                  <a:cubicBezTo>
                    <a:pt x="47117" y="-3154"/>
                    <a:pt x="60560" y="4314"/>
                    <a:pt x="54585" y="14770"/>
                  </a:cubicBezTo>
                  <a:cubicBezTo>
                    <a:pt x="50104" y="22238"/>
                    <a:pt x="50104" y="32693"/>
                    <a:pt x="45623" y="41655"/>
                  </a:cubicBezTo>
                  <a:cubicBezTo>
                    <a:pt x="44130" y="46136"/>
                    <a:pt x="41142" y="49123"/>
                    <a:pt x="38155" y="52110"/>
                  </a:cubicBezTo>
                  <a:cubicBezTo>
                    <a:pt x="35168" y="56591"/>
                    <a:pt x="30687" y="61072"/>
                    <a:pt x="27699" y="65553"/>
                  </a:cubicBezTo>
                  <a:cubicBezTo>
                    <a:pt x="26206" y="67047"/>
                    <a:pt x="26206" y="68540"/>
                    <a:pt x="24712" y="70034"/>
                  </a:cubicBezTo>
                  <a:cubicBezTo>
                    <a:pt x="23219" y="71528"/>
                    <a:pt x="21725" y="71528"/>
                    <a:pt x="20231" y="71528"/>
                  </a:cubicBezTo>
                  <a:cubicBezTo>
                    <a:pt x="17244" y="73021"/>
                    <a:pt x="3801" y="74515"/>
                    <a:pt x="814" y="71528"/>
                  </a:cubicBezTo>
                  <a:cubicBezTo>
                    <a:pt x="-2173" y="70034"/>
                    <a:pt x="3801" y="59579"/>
                    <a:pt x="6789" y="55097"/>
                  </a:cubicBezTo>
                  <a:cubicBezTo>
                    <a:pt x="9776" y="49123"/>
                    <a:pt x="11269" y="46136"/>
                    <a:pt x="14257" y="40161"/>
                  </a:cubicBezTo>
                  <a:cubicBezTo>
                    <a:pt x="17244" y="34187"/>
                    <a:pt x="17244" y="26718"/>
                    <a:pt x="20231" y="20744"/>
                  </a:cubicBezTo>
                  <a:cubicBezTo>
                    <a:pt x="21725" y="17757"/>
                    <a:pt x="24712" y="14770"/>
                    <a:pt x="26206" y="11782"/>
                  </a:cubicBezTo>
                  <a:cubicBezTo>
                    <a:pt x="32180" y="7301"/>
                    <a:pt x="35168" y="4314"/>
                    <a:pt x="39648" y="132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0" name="任意多边形: 形状 429"/>
            <p:cNvSpPr/>
            <p:nvPr/>
          </p:nvSpPr>
          <p:spPr>
            <a:xfrm>
              <a:off x="3773780" y="4268851"/>
              <a:ext cx="40900" cy="27267"/>
            </a:xfrm>
            <a:custGeom>
              <a:avLst/>
              <a:gdLst>
                <a:gd name="connsiteX0" fmla="*/ 11949 w 44809"/>
                <a:gd name="connsiteY0" fmla="*/ 25392 h 29872"/>
                <a:gd name="connsiteX1" fmla="*/ 0 w 44809"/>
                <a:gd name="connsiteY1" fmla="*/ 38834 h 29872"/>
                <a:gd name="connsiteX2" fmla="*/ 5975 w 44809"/>
                <a:gd name="connsiteY2" fmla="*/ 41822 h 29872"/>
                <a:gd name="connsiteX3" fmla="*/ 11949 w 44809"/>
                <a:gd name="connsiteY3" fmla="*/ 37341 h 29872"/>
                <a:gd name="connsiteX4" fmla="*/ 16430 w 44809"/>
                <a:gd name="connsiteY4" fmla="*/ 31366 h 29872"/>
                <a:gd name="connsiteX5" fmla="*/ 31366 w 44809"/>
                <a:gd name="connsiteY5" fmla="*/ 25392 h 29872"/>
                <a:gd name="connsiteX6" fmla="*/ 43316 w 44809"/>
                <a:gd name="connsiteY6" fmla="*/ 14936 h 29872"/>
                <a:gd name="connsiteX7" fmla="*/ 49290 w 44809"/>
                <a:gd name="connsiteY7" fmla="*/ 7468 h 29872"/>
                <a:gd name="connsiteX8" fmla="*/ 44809 w 44809"/>
                <a:gd name="connsiteY8" fmla="*/ 0 h 29872"/>
                <a:gd name="connsiteX9" fmla="*/ 23898 w 44809"/>
                <a:gd name="connsiteY9" fmla="*/ 11949 h 29872"/>
                <a:gd name="connsiteX10" fmla="*/ 16430 w 44809"/>
                <a:gd name="connsiteY10" fmla="*/ 16430 h 29872"/>
                <a:gd name="connsiteX11" fmla="*/ 11949 w 44809"/>
                <a:gd name="connsiteY11" fmla="*/ 25392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809" h="29872">
                  <a:moveTo>
                    <a:pt x="11949" y="25392"/>
                  </a:moveTo>
                  <a:cubicBezTo>
                    <a:pt x="8962" y="29873"/>
                    <a:pt x="4481" y="34353"/>
                    <a:pt x="0" y="38834"/>
                  </a:cubicBezTo>
                  <a:cubicBezTo>
                    <a:pt x="0" y="41822"/>
                    <a:pt x="2987" y="43315"/>
                    <a:pt x="5975" y="41822"/>
                  </a:cubicBezTo>
                  <a:cubicBezTo>
                    <a:pt x="8962" y="41822"/>
                    <a:pt x="10456" y="40328"/>
                    <a:pt x="11949" y="37341"/>
                  </a:cubicBezTo>
                  <a:cubicBezTo>
                    <a:pt x="13443" y="35847"/>
                    <a:pt x="14936" y="32860"/>
                    <a:pt x="16430" y="31366"/>
                  </a:cubicBezTo>
                  <a:cubicBezTo>
                    <a:pt x="20911" y="28379"/>
                    <a:pt x="26886" y="26885"/>
                    <a:pt x="31366" y="25392"/>
                  </a:cubicBezTo>
                  <a:cubicBezTo>
                    <a:pt x="35848" y="22405"/>
                    <a:pt x="40328" y="19417"/>
                    <a:pt x="43316" y="14936"/>
                  </a:cubicBezTo>
                  <a:cubicBezTo>
                    <a:pt x="44809" y="11949"/>
                    <a:pt x="47796" y="10455"/>
                    <a:pt x="49290" y="7468"/>
                  </a:cubicBezTo>
                  <a:cubicBezTo>
                    <a:pt x="50784" y="4481"/>
                    <a:pt x="46303" y="2987"/>
                    <a:pt x="44809" y="0"/>
                  </a:cubicBezTo>
                  <a:cubicBezTo>
                    <a:pt x="35848" y="4481"/>
                    <a:pt x="32860" y="7468"/>
                    <a:pt x="23898" y="11949"/>
                  </a:cubicBezTo>
                  <a:cubicBezTo>
                    <a:pt x="20911" y="13443"/>
                    <a:pt x="19418" y="14936"/>
                    <a:pt x="16430" y="16430"/>
                  </a:cubicBezTo>
                  <a:cubicBezTo>
                    <a:pt x="14936" y="19417"/>
                    <a:pt x="13443" y="22405"/>
                    <a:pt x="11949" y="25392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1" name="任意多边形: 形状 430"/>
            <p:cNvSpPr/>
            <p:nvPr/>
          </p:nvSpPr>
          <p:spPr>
            <a:xfrm>
              <a:off x="3897844" y="4232040"/>
              <a:ext cx="95434" cy="40900"/>
            </a:xfrm>
            <a:custGeom>
              <a:avLst/>
              <a:gdLst>
                <a:gd name="connsiteX0" fmla="*/ 106048 w 104554"/>
                <a:gd name="connsiteY0" fmla="*/ 16430 h 44809"/>
                <a:gd name="connsiteX1" fmla="*/ 98580 w 104554"/>
                <a:gd name="connsiteY1" fmla="*/ 29873 h 44809"/>
                <a:gd name="connsiteX2" fmla="*/ 25392 w 104554"/>
                <a:gd name="connsiteY2" fmla="*/ 52277 h 44809"/>
                <a:gd name="connsiteX3" fmla="*/ 14936 w 104554"/>
                <a:gd name="connsiteY3" fmla="*/ 49290 h 44809"/>
                <a:gd name="connsiteX4" fmla="*/ 0 w 104554"/>
                <a:gd name="connsiteY4" fmla="*/ 31366 h 44809"/>
                <a:gd name="connsiteX5" fmla="*/ 4481 w 104554"/>
                <a:gd name="connsiteY5" fmla="*/ 14936 h 44809"/>
                <a:gd name="connsiteX6" fmla="*/ 7468 w 104554"/>
                <a:gd name="connsiteY6" fmla="*/ 26885 h 44809"/>
                <a:gd name="connsiteX7" fmla="*/ 28379 w 104554"/>
                <a:gd name="connsiteY7" fmla="*/ 38835 h 44809"/>
                <a:gd name="connsiteX8" fmla="*/ 47796 w 104554"/>
                <a:gd name="connsiteY8" fmla="*/ 40328 h 44809"/>
                <a:gd name="connsiteX9" fmla="*/ 71695 w 104554"/>
                <a:gd name="connsiteY9" fmla="*/ 32860 h 44809"/>
                <a:gd name="connsiteX10" fmla="*/ 88124 w 104554"/>
                <a:gd name="connsiteY10" fmla="*/ 20911 h 44809"/>
                <a:gd name="connsiteX11" fmla="*/ 94099 w 104554"/>
                <a:gd name="connsiteY11" fmla="*/ 13443 h 44809"/>
                <a:gd name="connsiteX12" fmla="*/ 97086 w 104554"/>
                <a:gd name="connsiteY12" fmla="*/ 0 h 44809"/>
                <a:gd name="connsiteX13" fmla="*/ 106048 w 104554"/>
                <a:gd name="connsiteY13" fmla="*/ 16430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554" h="44809">
                  <a:moveTo>
                    <a:pt x="106048" y="16430"/>
                  </a:moveTo>
                  <a:cubicBezTo>
                    <a:pt x="104554" y="20911"/>
                    <a:pt x="101567" y="25392"/>
                    <a:pt x="98580" y="29873"/>
                  </a:cubicBezTo>
                  <a:cubicBezTo>
                    <a:pt x="91112" y="37341"/>
                    <a:pt x="61239" y="61239"/>
                    <a:pt x="25392" y="52277"/>
                  </a:cubicBezTo>
                  <a:cubicBezTo>
                    <a:pt x="22405" y="50783"/>
                    <a:pt x="17924" y="50783"/>
                    <a:pt x="14936" y="49290"/>
                  </a:cubicBezTo>
                  <a:cubicBezTo>
                    <a:pt x="7468" y="46303"/>
                    <a:pt x="2987" y="38835"/>
                    <a:pt x="0" y="31366"/>
                  </a:cubicBezTo>
                  <a:lnTo>
                    <a:pt x="4481" y="14936"/>
                  </a:lnTo>
                  <a:cubicBezTo>
                    <a:pt x="4481" y="19417"/>
                    <a:pt x="5974" y="23898"/>
                    <a:pt x="7468" y="26885"/>
                  </a:cubicBezTo>
                  <a:cubicBezTo>
                    <a:pt x="11949" y="34353"/>
                    <a:pt x="19418" y="37341"/>
                    <a:pt x="28379" y="38835"/>
                  </a:cubicBezTo>
                  <a:cubicBezTo>
                    <a:pt x="34354" y="40328"/>
                    <a:pt x="41822" y="40328"/>
                    <a:pt x="47796" y="40328"/>
                  </a:cubicBezTo>
                  <a:cubicBezTo>
                    <a:pt x="56758" y="38835"/>
                    <a:pt x="64227" y="37341"/>
                    <a:pt x="71695" y="32860"/>
                  </a:cubicBezTo>
                  <a:cubicBezTo>
                    <a:pt x="77669" y="29873"/>
                    <a:pt x="83644" y="25392"/>
                    <a:pt x="88124" y="20911"/>
                  </a:cubicBezTo>
                  <a:cubicBezTo>
                    <a:pt x="91112" y="17924"/>
                    <a:pt x="92606" y="16430"/>
                    <a:pt x="94099" y="13443"/>
                  </a:cubicBezTo>
                  <a:cubicBezTo>
                    <a:pt x="95593" y="8962"/>
                    <a:pt x="97086" y="4481"/>
                    <a:pt x="97086" y="0"/>
                  </a:cubicBezTo>
                  <a:cubicBezTo>
                    <a:pt x="101567" y="5974"/>
                    <a:pt x="104554" y="10456"/>
                    <a:pt x="106048" y="16430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2" name="任意多边形: 形状 431"/>
            <p:cNvSpPr/>
            <p:nvPr/>
          </p:nvSpPr>
          <p:spPr>
            <a:xfrm>
              <a:off x="3940109" y="4322021"/>
              <a:ext cx="27267" cy="68168"/>
            </a:xfrm>
            <a:custGeom>
              <a:avLst/>
              <a:gdLst>
                <a:gd name="connsiteX0" fmla="*/ 17924 w 29872"/>
                <a:gd name="connsiteY0" fmla="*/ 47796 h 74681"/>
                <a:gd name="connsiteX1" fmla="*/ 22405 w 29872"/>
                <a:gd name="connsiteY1" fmla="*/ 25392 h 74681"/>
                <a:gd name="connsiteX2" fmla="*/ 38835 w 29872"/>
                <a:gd name="connsiteY2" fmla="*/ 0 h 74681"/>
                <a:gd name="connsiteX3" fmla="*/ 22405 w 29872"/>
                <a:gd name="connsiteY3" fmla="*/ 16430 h 74681"/>
                <a:gd name="connsiteX4" fmla="*/ 0 w 29872"/>
                <a:gd name="connsiteY4" fmla="*/ 17923 h 74681"/>
                <a:gd name="connsiteX5" fmla="*/ 8962 w 29872"/>
                <a:gd name="connsiteY5" fmla="*/ 34353 h 74681"/>
                <a:gd name="connsiteX6" fmla="*/ 13443 w 29872"/>
                <a:gd name="connsiteY6" fmla="*/ 86631 h 74681"/>
                <a:gd name="connsiteX7" fmla="*/ 17924 w 29872"/>
                <a:gd name="connsiteY7" fmla="*/ 47796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72" h="74681">
                  <a:moveTo>
                    <a:pt x="17924" y="47796"/>
                  </a:moveTo>
                  <a:cubicBezTo>
                    <a:pt x="19417" y="40328"/>
                    <a:pt x="19417" y="32860"/>
                    <a:pt x="22405" y="25392"/>
                  </a:cubicBezTo>
                  <a:cubicBezTo>
                    <a:pt x="26885" y="16430"/>
                    <a:pt x="35847" y="8962"/>
                    <a:pt x="38835" y="0"/>
                  </a:cubicBezTo>
                  <a:cubicBezTo>
                    <a:pt x="32860" y="5974"/>
                    <a:pt x="28379" y="11949"/>
                    <a:pt x="22405" y="16430"/>
                  </a:cubicBezTo>
                  <a:cubicBezTo>
                    <a:pt x="16430" y="20911"/>
                    <a:pt x="7468" y="22405"/>
                    <a:pt x="0" y="17923"/>
                  </a:cubicBezTo>
                  <a:cubicBezTo>
                    <a:pt x="5974" y="20911"/>
                    <a:pt x="7468" y="26885"/>
                    <a:pt x="8962" y="34353"/>
                  </a:cubicBezTo>
                  <a:cubicBezTo>
                    <a:pt x="11949" y="50783"/>
                    <a:pt x="10456" y="70201"/>
                    <a:pt x="13443" y="86631"/>
                  </a:cubicBezTo>
                  <a:lnTo>
                    <a:pt x="17924" y="47796"/>
                  </a:ln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3" name="任意多边形: 形状 432"/>
            <p:cNvSpPr/>
            <p:nvPr/>
          </p:nvSpPr>
          <p:spPr>
            <a:xfrm>
              <a:off x="3952379" y="4266124"/>
              <a:ext cx="13633" cy="13633"/>
            </a:xfrm>
            <a:custGeom>
              <a:avLst/>
              <a:gdLst>
                <a:gd name="connsiteX0" fmla="*/ 10456 w 0"/>
                <a:gd name="connsiteY0" fmla="*/ 8962 h 0"/>
                <a:gd name="connsiteX1" fmla="*/ 0 w 0"/>
                <a:gd name="connsiteY1" fmla="*/ 11949 h 0"/>
                <a:gd name="connsiteX2" fmla="*/ 0 w 0"/>
                <a:gd name="connsiteY2" fmla="*/ 2987 h 0"/>
                <a:gd name="connsiteX3" fmla="*/ 10456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0456" y="8962"/>
                  </a:moveTo>
                  <a:lnTo>
                    <a:pt x="0" y="11949"/>
                  </a:lnTo>
                  <a:lnTo>
                    <a:pt x="0" y="2987"/>
                  </a:lnTo>
                  <a:lnTo>
                    <a:pt x="10456" y="0"/>
                  </a:lnTo>
                  <a:close/>
                </a:path>
              </a:pathLst>
            </a:custGeom>
            <a:solidFill>
              <a:srgbClr val="CBBBA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4" name="任意多边形: 形状 433"/>
            <p:cNvSpPr/>
            <p:nvPr/>
          </p:nvSpPr>
          <p:spPr>
            <a:xfrm>
              <a:off x="3856944" y="4124162"/>
              <a:ext cx="40900" cy="95434"/>
            </a:xfrm>
            <a:custGeom>
              <a:avLst/>
              <a:gdLst>
                <a:gd name="connsiteX0" fmla="*/ 32860 w 44809"/>
                <a:gd name="connsiteY0" fmla="*/ 190 h 104554"/>
                <a:gd name="connsiteX1" fmla="*/ 32860 w 44809"/>
                <a:gd name="connsiteY1" fmla="*/ 190 h 104554"/>
                <a:gd name="connsiteX2" fmla="*/ 10456 w 44809"/>
                <a:gd name="connsiteY2" fmla="*/ 16620 h 104554"/>
                <a:gd name="connsiteX3" fmla="*/ 0 w 44809"/>
                <a:gd name="connsiteY3" fmla="*/ 97277 h 104554"/>
                <a:gd name="connsiteX4" fmla="*/ 40328 w 44809"/>
                <a:gd name="connsiteY4" fmla="*/ 103251 h 104554"/>
                <a:gd name="connsiteX5" fmla="*/ 50783 w 44809"/>
                <a:gd name="connsiteY5" fmla="*/ 21101 h 104554"/>
                <a:gd name="connsiteX6" fmla="*/ 32860 w 44809"/>
                <a:gd name="connsiteY6" fmla="*/ 190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09" h="104554">
                  <a:moveTo>
                    <a:pt x="32860" y="190"/>
                  </a:moveTo>
                  <a:lnTo>
                    <a:pt x="32860" y="190"/>
                  </a:lnTo>
                  <a:cubicBezTo>
                    <a:pt x="20911" y="-1303"/>
                    <a:pt x="11949" y="6165"/>
                    <a:pt x="10456" y="16620"/>
                  </a:cubicBezTo>
                  <a:lnTo>
                    <a:pt x="0" y="97277"/>
                  </a:lnTo>
                  <a:cubicBezTo>
                    <a:pt x="10456" y="104745"/>
                    <a:pt x="26886" y="106238"/>
                    <a:pt x="40328" y="103251"/>
                  </a:cubicBezTo>
                  <a:lnTo>
                    <a:pt x="50783" y="21101"/>
                  </a:lnTo>
                  <a:cubicBezTo>
                    <a:pt x="52277" y="10646"/>
                    <a:pt x="44809" y="1684"/>
                    <a:pt x="32860" y="190"/>
                  </a:cubicBez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5" name="任意多边形: 形状 434"/>
            <p:cNvSpPr/>
            <p:nvPr/>
          </p:nvSpPr>
          <p:spPr>
            <a:xfrm>
              <a:off x="3940109" y="4082072"/>
              <a:ext cx="27267" cy="54534"/>
            </a:xfrm>
            <a:custGeom>
              <a:avLst/>
              <a:gdLst>
                <a:gd name="connsiteX0" fmla="*/ 37341 w 29872"/>
                <a:gd name="connsiteY0" fmla="*/ 70201 h 59745"/>
                <a:gd name="connsiteX1" fmla="*/ 19417 w 29872"/>
                <a:gd name="connsiteY1" fmla="*/ 0 h 59745"/>
                <a:gd name="connsiteX2" fmla="*/ 2987 w 29872"/>
                <a:gd name="connsiteY2" fmla="*/ 5974 h 59745"/>
                <a:gd name="connsiteX3" fmla="*/ 0 w 29872"/>
                <a:gd name="connsiteY3" fmla="*/ 7468 h 59745"/>
                <a:gd name="connsiteX4" fmla="*/ 37341 w 29872"/>
                <a:gd name="connsiteY4" fmla="*/ 70201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72" h="59745">
                  <a:moveTo>
                    <a:pt x="37341" y="70201"/>
                  </a:moveTo>
                  <a:cubicBezTo>
                    <a:pt x="34353" y="46303"/>
                    <a:pt x="22405" y="23898"/>
                    <a:pt x="19417" y="0"/>
                  </a:cubicBezTo>
                  <a:cubicBezTo>
                    <a:pt x="13443" y="1494"/>
                    <a:pt x="8962" y="4481"/>
                    <a:pt x="2987" y="5974"/>
                  </a:cubicBezTo>
                  <a:cubicBezTo>
                    <a:pt x="1494" y="5974"/>
                    <a:pt x="0" y="7468"/>
                    <a:pt x="0" y="7468"/>
                  </a:cubicBezTo>
                  <a:cubicBezTo>
                    <a:pt x="11949" y="29873"/>
                    <a:pt x="31366" y="46303"/>
                    <a:pt x="37341" y="70201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6" name="任意多边形: 形状 435"/>
            <p:cNvSpPr/>
            <p:nvPr/>
          </p:nvSpPr>
          <p:spPr>
            <a:xfrm>
              <a:off x="3911479" y="4065712"/>
              <a:ext cx="40900" cy="27267"/>
            </a:xfrm>
            <a:custGeom>
              <a:avLst/>
              <a:gdLst>
                <a:gd name="connsiteX0" fmla="*/ 55265 w 44809"/>
                <a:gd name="connsiteY0" fmla="*/ 17924 h 29872"/>
                <a:gd name="connsiteX1" fmla="*/ 55265 w 44809"/>
                <a:gd name="connsiteY1" fmla="*/ 20911 h 29872"/>
                <a:gd name="connsiteX2" fmla="*/ 53771 w 44809"/>
                <a:gd name="connsiteY2" fmla="*/ 22405 h 29872"/>
                <a:gd name="connsiteX3" fmla="*/ 46303 w 44809"/>
                <a:gd name="connsiteY3" fmla="*/ 28379 h 29872"/>
                <a:gd name="connsiteX4" fmla="*/ 7468 w 44809"/>
                <a:gd name="connsiteY4" fmla="*/ 28379 h 29872"/>
                <a:gd name="connsiteX5" fmla="*/ 0 w 44809"/>
                <a:gd name="connsiteY5" fmla="*/ 16430 h 29872"/>
                <a:gd name="connsiteX6" fmla="*/ 7468 w 44809"/>
                <a:gd name="connsiteY6" fmla="*/ 4481 h 29872"/>
                <a:gd name="connsiteX7" fmla="*/ 14936 w 44809"/>
                <a:gd name="connsiteY7" fmla="*/ 1493 h 29872"/>
                <a:gd name="connsiteX8" fmla="*/ 19418 w 44809"/>
                <a:gd name="connsiteY8" fmla="*/ 0 h 29872"/>
                <a:gd name="connsiteX9" fmla="*/ 20911 w 44809"/>
                <a:gd name="connsiteY9" fmla="*/ 0 h 29872"/>
                <a:gd name="connsiteX10" fmla="*/ 28379 w 44809"/>
                <a:gd name="connsiteY10" fmla="*/ 0 h 29872"/>
                <a:gd name="connsiteX11" fmla="*/ 47796 w 44809"/>
                <a:gd name="connsiteY11" fmla="*/ 4481 h 29872"/>
                <a:gd name="connsiteX12" fmla="*/ 52277 w 44809"/>
                <a:gd name="connsiteY12" fmla="*/ 7468 h 29872"/>
                <a:gd name="connsiteX13" fmla="*/ 52277 w 44809"/>
                <a:gd name="connsiteY13" fmla="*/ 7468 h 29872"/>
                <a:gd name="connsiteX14" fmla="*/ 53771 w 44809"/>
                <a:gd name="connsiteY14" fmla="*/ 10455 h 29872"/>
                <a:gd name="connsiteX15" fmla="*/ 55265 w 44809"/>
                <a:gd name="connsiteY15" fmla="*/ 17924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29872">
                  <a:moveTo>
                    <a:pt x="55265" y="17924"/>
                  </a:moveTo>
                  <a:cubicBezTo>
                    <a:pt x="55265" y="19417"/>
                    <a:pt x="55265" y="19417"/>
                    <a:pt x="55265" y="20911"/>
                  </a:cubicBezTo>
                  <a:cubicBezTo>
                    <a:pt x="55265" y="20911"/>
                    <a:pt x="55265" y="22405"/>
                    <a:pt x="53771" y="22405"/>
                  </a:cubicBezTo>
                  <a:cubicBezTo>
                    <a:pt x="52277" y="25392"/>
                    <a:pt x="50783" y="26885"/>
                    <a:pt x="46303" y="28379"/>
                  </a:cubicBezTo>
                  <a:cubicBezTo>
                    <a:pt x="35847" y="34354"/>
                    <a:pt x="17924" y="34354"/>
                    <a:pt x="7468" y="28379"/>
                  </a:cubicBezTo>
                  <a:cubicBezTo>
                    <a:pt x="1494" y="25392"/>
                    <a:pt x="0" y="20911"/>
                    <a:pt x="0" y="16430"/>
                  </a:cubicBezTo>
                  <a:cubicBezTo>
                    <a:pt x="0" y="11949"/>
                    <a:pt x="2987" y="8962"/>
                    <a:pt x="7468" y="4481"/>
                  </a:cubicBezTo>
                  <a:cubicBezTo>
                    <a:pt x="10456" y="2987"/>
                    <a:pt x="11949" y="1493"/>
                    <a:pt x="14936" y="1493"/>
                  </a:cubicBezTo>
                  <a:cubicBezTo>
                    <a:pt x="16430" y="1493"/>
                    <a:pt x="17924" y="1493"/>
                    <a:pt x="19418" y="0"/>
                  </a:cubicBezTo>
                  <a:cubicBezTo>
                    <a:pt x="19418" y="0"/>
                    <a:pt x="19418" y="0"/>
                    <a:pt x="20911" y="0"/>
                  </a:cubicBezTo>
                  <a:cubicBezTo>
                    <a:pt x="23898" y="0"/>
                    <a:pt x="25392" y="0"/>
                    <a:pt x="28379" y="0"/>
                  </a:cubicBezTo>
                  <a:cubicBezTo>
                    <a:pt x="35847" y="0"/>
                    <a:pt x="41822" y="1493"/>
                    <a:pt x="47796" y="4481"/>
                  </a:cubicBezTo>
                  <a:cubicBezTo>
                    <a:pt x="49290" y="5974"/>
                    <a:pt x="50783" y="5974"/>
                    <a:pt x="52277" y="7468"/>
                  </a:cubicBezTo>
                  <a:cubicBezTo>
                    <a:pt x="52277" y="7468"/>
                    <a:pt x="52277" y="7468"/>
                    <a:pt x="52277" y="7468"/>
                  </a:cubicBezTo>
                  <a:cubicBezTo>
                    <a:pt x="53771" y="8962"/>
                    <a:pt x="53771" y="8962"/>
                    <a:pt x="53771" y="10455"/>
                  </a:cubicBezTo>
                  <a:cubicBezTo>
                    <a:pt x="55265" y="16430"/>
                    <a:pt x="55265" y="16430"/>
                    <a:pt x="55265" y="17924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7" name="任意多边形: 形状 436"/>
            <p:cNvSpPr/>
            <p:nvPr/>
          </p:nvSpPr>
          <p:spPr>
            <a:xfrm>
              <a:off x="3946718" y="3974367"/>
              <a:ext cx="27267" cy="95434"/>
            </a:xfrm>
            <a:custGeom>
              <a:avLst/>
              <a:gdLst>
                <a:gd name="connsiteX0" fmla="*/ 21138 w 29872"/>
                <a:gd name="connsiteY0" fmla="*/ 106048 h 104554"/>
                <a:gd name="connsiteX1" fmla="*/ 40555 w 29872"/>
                <a:gd name="connsiteY1" fmla="*/ 26885 h 104554"/>
                <a:gd name="connsiteX2" fmla="*/ 33087 w 29872"/>
                <a:gd name="connsiteY2" fmla="*/ 2987 h 104554"/>
                <a:gd name="connsiteX3" fmla="*/ 31594 w 29872"/>
                <a:gd name="connsiteY3" fmla="*/ 0 h 104554"/>
                <a:gd name="connsiteX4" fmla="*/ 28606 w 29872"/>
                <a:gd name="connsiteY4" fmla="*/ 0 h 104554"/>
                <a:gd name="connsiteX5" fmla="*/ 7695 w 29872"/>
                <a:gd name="connsiteY5" fmla="*/ 13443 h 104554"/>
                <a:gd name="connsiteX6" fmla="*/ 227 w 29872"/>
                <a:gd name="connsiteY6" fmla="*/ 37341 h 104554"/>
                <a:gd name="connsiteX7" fmla="*/ 15163 w 29872"/>
                <a:gd name="connsiteY7" fmla="*/ 104554 h 104554"/>
                <a:gd name="connsiteX8" fmla="*/ 21138 w 29872"/>
                <a:gd name="connsiteY8" fmla="*/ 106048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72" h="104554">
                  <a:moveTo>
                    <a:pt x="21138" y="106048"/>
                  </a:moveTo>
                  <a:cubicBezTo>
                    <a:pt x="36074" y="82150"/>
                    <a:pt x="43542" y="55264"/>
                    <a:pt x="40555" y="26885"/>
                  </a:cubicBezTo>
                  <a:cubicBezTo>
                    <a:pt x="39062" y="17924"/>
                    <a:pt x="36074" y="10455"/>
                    <a:pt x="33087" y="2987"/>
                  </a:cubicBezTo>
                  <a:cubicBezTo>
                    <a:pt x="33087" y="1493"/>
                    <a:pt x="31594" y="1493"/>
                    <a:pt x="31594" y="0"/>
                  </a:cubicBezTo>
                  <a:cubicBezTo>
                    <a:pt x="30100" y="0"/>
                    <a:pt x="30100" y="0"/>
                    <a:pt x="28606" y="0"/>
                  </a:cubicBezTo>
                  <a:cubicBezTo>
                    <a:pt x="19644" y="0"/>
                    <a:pt x="12176" y="5974"/>
                    <a:pt x="7695" y="13443"/>
                  </a:cubicBezTo>
                  <a:cubicBezTo>
                    <a:pt x="3215" y="20911"/>
                    <a:pt x="1721" y="28379"/>
                    <a:pt x="227" y="37341"/>
                  </a:cubicBezTo>
                  <a:cubicBezTo>
                    <a:pt x="-1267" y="61239"/>
                    <a:pt x="4708" y="85137"/>
                    <a:pt x="15163" y="104554"/>
                  </a:cubicBezTo>
                  <a:cubicBezTo>
                    <a:pt x="18151" y="104554"/>
                    <a:pt x="19644" y="106048"/>
                    <a:pt x="21138" y="106048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8" name="任意多边形: 形状 437"/>
            <p:cNvSpPr/>
            <p:nvPr/>
          </p:nvSpPr>
          <p:spPr>
            <a:xfrm>
              <a:off x="3911479" y="4007088"/>
              <a:ext cx="40900" cy="68168"/>
            </a:xfrm>
            <a:custGeom>
              <a:avLst/>
              <a:gdLst>
                <a:gd name="connsiteX0" fmla="*/ 0 w 44809"/>
                <a:gd name="connsiteY0" fmla="*/ 0 h 74681"/>
                <a:gd name="connsiteX1" fmla="*/ 55265 w 44809"/>
                <a:gd name="connsiteY1" fmla="*/ 0 h 74681"/>
                <a:gd name="connsiteX2" fmla="*/ 55265 w 44809"/>
                <a:gd name="connsiteY2" fmla="*/ 82150 h 74681"/>
                <a:gd name="connsiteX3" fmla="*/ 0 w 44809"/>
                <a:gd name="connsiteY3" fmla="*/ 8215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809" h="74681">
                  <a:moveTo>
                    <a:pt x="0" y="0"/>
                  </a:moveTo>
                  <a:lnTo>
                    <a:pt x="55265" y="0"/>
                  </a:lnTo>
                  <a:lnTo>
                    <a:pt x="55265" y="82150"/>
                  </a:lnTo>
                  <a:lnTo>
                    <a:pt x="0" y="82150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9" name="任意多边形: 形状 438"/>
            <p:cNvSpPr/>
            <p:nvPr/>
          </p:nvSpPr>
          <p:spPr>
            <a:xfrm>
              <a:off x="3910115" y="4013905"/>
              <a:ext cx="40900" cy="54534"/>
            </a:xfrm>
            <a:custGeom>
              <a:avLst/>
              <a:gdLst>
                <a:gd name="connsiteX0" fmla="*/ 56758 w 44809"/>
                <a:gd name="connsiteY0" fmla="*/ 62733 h 59745"/>
                <a:gd name="connsiteX1" fmla="*/ 56758 w 44809"/>
                <a:gd name="connsiteY1" fmla="*/ 73188 h 59745"/>
                <a:gd name="connsiteX2" fmla="*/ 41822 w 44809"/>
                <a:gd name="connsiteY2" fmla="*/ 73188 h 59745"/>
                <a:gd name="connsiteX3" fmla="*/ 25392 w 44809"/>
                <a:gd name="connsiteY3" fmla="*/ 65720 h 59745"/>
                <a:gd name="connsiteX4" fmla="*/ 20911 w 44809"/>
                <a:gd name="connsiteY4" fmla="*/ 61239 h 59745"/>
                <a:gd name="connsiteX5" fmla="*/ 17924 w 44809"/>
                <a:gd name="connsiteY5" fmla="*/ 56758 h 59745"/>
                <a:gd name="connsiteX6" fmla="*/ 10456 w 44809"/>
                <a:gd name="connsiteY6" fmla="*/ 43315 h 59745"/>
                <a:gd name="connsiteX7" fmla="*/ 2987 w 44809"/>
                <a:gd name="connsiteY7" fmla="*/ 16430 h 59745"/>
                <a:gd name="connsiteX8" fmla="*/ 0 w 44809"/>
                <a:gd name="connsiteY8" fmla="*/ 0 h 59745"/>
                <a:gd name="connsiteX9" fmla="*/ 1494 w 44809"/>
                <a:gd name="connsiteY9" fmla="*/ 5974 h 59745"/>
                <a:gd name="connsiteX10" fmla="*/ 8962 w 44809"/>
                <a:gd name="connsiteY10" fmla="*/ 32860 h 59745"/>
                <a:gd name="connsiteX11" fmla="*/ 22405 w 44809"/>
                <a:gd name="connsiteY11" fmla="*/ 53771 h 59745"/>
                <a:gd name="connsiteX12" fmla="*/ 23898 w 44809"/>
                <a:gd name="connsiteY12" fmla="*/ 55264 h 59745"/>
                <a:gd name="connsiteX13" fmla="*/ 28379 w 44809"/>
                <a:gd name="connsiteY13" fmla="*/ 58252 h 59745"/>
                <a:gd name="connsiteX14" fmla="*/ 52277 w 44809"/>
                <a:gd name="connsiteY14" fmla="*/ 62733 h 59745"/>
                <a:gd name="connsiteX15" fmla="*/ 56758 w 44809"/>
                <a:gd name="connsiteY15" fmla="*/ 62733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59745">
                  <a:moveTo>
                    <a:pt x="56758" y="62733"/>
                  </a:moveTo>
                  <a:cubicBezTo>
                    <a:pt x="56758" y="62733"/>
                    <a:pt x="56758" y="71694"/>
                    <a:pt x="56758" y="73188"/>
                  </a:cubicBezTo>
                  <a:cubicBezTo>
                    <a:pt x="52277" y="74682"/>
                    <a:pt x="47796" y="73188"/>
                    <a:pt x="41822" y="73188"/>
                  </a:cubicBezTo>
                  <a:cubicBezTo>
                    <a:pt x="35848" y="71694"/>
                    <a:pt x="29873" y="68707"/>
                    <a:pt x="25392" y="65720"/>
                  </a:cubicBezTo>
                  <a:cubicBezTo>
                    <a:pt x="23898" y="64226"/>
                    <a:pt x="22405" y="62733"/>
                    <a:pt x="20911" y="61239"/>
                  </a:cubicBezTo>
                  <a:cubicBezTo>
                    <a:pt x="19418" y="59745"/>
                    <a:pt x="17924" y="58252"/>
                    <a:pt x="17924" y="56758"/>
                  </a:cubicBezTo>
                  <a:cubicBezTo>
                    <a:pt x="14936" y="52277"/>
                    <a:pt x="13443" y="47796"/>
                    <a:pt x="10456" y="43315"/>
                  </a:cubicBezTo>
                  <a:cubicBezTo>
                    <a:pt x="7468" y="34354"/>
                    <a:pt x="5975" y="25392"/>
                    <a:pt x="2987" y="16430"/>
                  </a:cubicBezTo>
                  <a:cubicBezTo>
                    <a:pt x="1494" y="11949"/>
                    <a:pt x="1494" y="5974"/>
                    <a:pt x="0" y="0"/>
                  </a:cubicBezTo>
                  <a:cubicBezTo>
                    <a:pt x="0" y="2987"/>
                    <a:pt x="1494" y="4481"/>
                    <a:pt x="1494" y="5974"/>
                  </a:cubicBezTo>
                  <a:cubicBezTo>
                    <a:pt x="2987" y="14936"/>
                    <a:pt x="4481" y="23898"/>
                    <a:pt x="8962" y="32860"/>
                  </a:cubicBezTo>
                  <a:cubicBezTo>
                    <a:pt x="11949" y="40328"/>
                    <a:pt x="16430" y="47796"/>
                    <a:pt x="22405" y="53771"/>
                  </a:cubicBezTo>
                  <a:cubicBezTo>
                    <a:pt x="22405" y="53771"/>
                    <a:pt x="23898" y="55264"/>
                    <a:pt x="23898" y="55264"/>
                  </a:cubicBezTo>
                  <a:cubicBezTo>
                    <a:pt x="25392" y="56758"/>
                    <a:pt x="26886" y="58252"/>
                    <a:pt x="28379" y="58252"/>
                  </a:cubicBezTo>
                  <a:cubicBezTo>
                    <a:pt x="34354" y="61239"/>
                    <a:pt x="44809" y="62733"/>
                    <a:pt x="52277" y="62733"/>
                  </a:cubicBezTo>
                  <a:cubicBezTo>
                    <a:pt x="55265" y="62733"/>
                    <a:pt x="55265" y="62733"/>
                    <a:pt x="56758" y="62733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0" name="任意多边形: 形状 439"/>
            <p:cNvSpPr/>
            <p:nvPr/>
          </p:nvSpPr>
          <p:spPr>
            <a:xfrm>
              <a:off x="3905751" y="3968705"/>
              <a:ext cx="68168" cy="95434"/>
            </a:xfrm>
            <a:custGeom>
              <a:avLst/>
              <a:gdLst>
                <a:gd name="connsiteX0" fmla="*/ 4781 w 74681"/>
                <a:gd name="connsiteY0" fmla="*/ 64455 h 104554"/>
                <a:gd name="connsiteX1" fmla="*/ 13743 w 74681"/>
                <a:gd name="connsiteY1" fmla="*/ 88353 h 104554"/>
                <a:gd name="connsiteX2" fmla="*/ 64527 w 74681"/>
                <a:gd name="connsiteY2" fmla="*/ 115238 h 104554"/>
                <a:gd name="connsiteX3" fmla="*/ 70502 w 74681"/>
                <a:gd name="connsiteY3" fmla="*/ 24127 h 104554"/>
                <a:gd name="connsiteX4" fmla="*/ 67514 w 74681"/>
                <a:gd name="connsiteY4" fmla="*/ 13672 h 104554"/>
                <a:gd name="connsiteX5" fmla="*/ 43616 w 74681"/>
                <a:gd name="connsiteY5" fmla="*/ 229 h 104554"/>
                <a:gd name="connsiteX6" fmla="*/ 12250 w 74681"/>
                <a:gd name="connsiteY6" fmla="*/ 12178 h 104554"/>
                <a:gd name="connsiteX7" fmla="*/ 4781 w 74681"/>
                <a:gd name="connsiteY7" fmla="*/ 18152 h 104554"/>
                <a:gd name="connsiteX8" fmla="*/ 301 w 74681"/>
                <a:gd name="connsiteY8" fmla="*/ 25620 h 104554"/>
                <a:gd name="connsiteX9" fmla="*/ 4781 w 74681"/>
                <a:gd name="connsiteY9" fmla="*/ 6445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681" h="104554">
                  <a:moveTo>
                    <a:pt x="4781" y="64455"/>
                  </a:moveTo>
                  <a:cubicBezTo>
                    <a:pt x="6275" y="73417"/>
                    <a:pt x="10756" y="79391"/>
                    <a:pt x="13743" y="88353"/>
                  </a:cubicBezTo>
                  <a:cubicBezTo>
                    <a:pt x="25693" y="115238"/>
                    <a:pt x="54072" y="121213"/>
                    <a:pt x="64527" y="115238"/>
                  </a:cubicBezTo>
                  <a:cubicBezTo>
                    <a:pt x="80957" y="106277"/>
                    <a:pt x="74982" y="48025"/>
                    <a:pt x="70502" y="24127"/>
                  </a:cubicBezTo>
                  <a:cubicBezTo>
                    <a:pt x="69008" y="21140"/>
                    <a:pt x="69008" y="16659"/>
                    <a:pt x="67514" y="13672"/>
                  </a:cubicBezTo>
                  <a:cubicBezTo>
                    <a:pt x="63033" y="4710"/>
                    <a:pt x="54072" y="-1265"/>
                    <a:pt x="43616" y="229"/>
                  </a:cubicBezTo>
                  <a:cubicBezTo>
                    <a:pt x="31667" y="229"/>
                    <a:pt x="21211" y="6203"/>
                    <a:pt x="12250" y="12178"/>
                  </a:cubicBezTo>
                  <a:cubicBezTo>
                    <a:pt x="9263" y="13672"/>
                    <a:pt x="7769" y="15165"/>
                    <a:pt x="4781" y="18152"/>
                  </a:cubicBezTo>
                  <a:cubicBezTo>
                    <a:pt x="3288" y="19646"/>
                    <a:pt x="1794" y="22633"/>
                    <a:pt x="301" y="25620"/>
                  </a:cubicBezTo>
                  <a:cubicBezTo>
                    <a:pt x="-1193" y="25620"/>
                    <a:pt x="3288" y="52506"/>
                    <a:pt x="4781" y="64455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1" name="任意多边形: 形状 440"/>
            <p:cNvSpPr/>
            <p:nvPr/>
          </p:nvSpPr>
          <p:spPr>
            <a:xfrm>
              <a:off x="3878992" y="3952019"/>
              <a:ext cx="95434" cy="122701"/>
            </a:xfrm>
            <a:custGeom>
              <a:avLst/>
              <a:gdLst>
                <a:gd name="connsiteX0" fmla="*/ 83387 w 104554"/>
                <a:gd name="connsiteY0" fmla="*/ 3573 h 134427"/>
                <a:gd name="connsiteX1" fmla="*/ 53515 w 104554"/>
                <a:gd name="connsiteY1" fmla="*/ 586 h 134427"/>
                <a:gd name="connsiteX2" fmla="*/ 19161 w 104554"/>
                <a:gd name="connsiteY2" fmla="*/ 14029 h 134427"/>
                <a:gd name="connsiteX3" fmla="*/ 1237 w 104554"/>
                <a:gd name="connsiteY3" fmla="*/ 42408 h 134427"/>
                <a:gd name="connsiteX4" fmla="*/ 4224 w 104554"/>
                <a:gd name="connsiteY4" fmla="*/ 84230 h 134427"/>
                <a:gd name="connsiteX5" fmla="*/ 8706 w 104554"/>
                <a:gd name="connsiteY5" fmla="*/ 94685 h 134427"/>
                <a:gd name="connsiteX6" fmla="*/ 10199 w 104554"/>
                <a:gd name="connsiteY6" fmla="*/ 96179 h 134427"/>
                <a:gd name="connsiteX7" fmla="*/ 14680 w 104554"/>
                <a:gd name="connsiteY7" fmla="*/ 106634 h 134427"/>
                <a:gd name="connsiteX8" fmla="*/ 26629 w 104554"/>
                <a:gd name="connsiteY8" fmla="*/ 124558 h 134427"/>
                <a:gd name="connsiteX9" fmla="*/ 43059 w 104554"/>
                <a:gd name="connsiteY9" fmla="*/ 133519 h 134427"/>
                <a:gd name="connsiteX10" fmla="*/ 52021 w 104554"/>
                <a:gd name="connsiteY10" fmla="*/ 135013 h 134427"/>
                <a:gd name="connsiteX11" fmla="*/ 38578 w 104554"/>
                <a:gd name="connsiteY11" fmla="*/ 96179 h 134427"/>
                <a:gd name="connsiteX12" fmla="*/ 34097 w 104554"/>
                <a:gd name="connsiteY12" fmla="*/ 72280 h 134427"/>
                <a:gd name="connsiteX13" fmla="*/ 113260 w 104554"/>
                <a:gd name="connsiteY13" fmla="*/ 36433 h 134427"/>
                <a:gd name="connsiteX14" fmla="*/ 83387 w 104554"/>
                <a:gd name="connsiteY14" fmla="*/ 3573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4554" h="134427">
                  <a:moveTo>
                    <a:pt x="83387" y="3573"/>
                  </a:moveTo>
                  <a:cubicBezTo>
                    <a:pt x="74425" y="586"/>
                    <a:pt x="63970" y="-908"/>
                    <a:pt x="53515" y="586"/>
                  </a:cubicBezTo>
                  <a:cubicBezTo>
                    <a:pt x="41565" y="2080"/>
                    <a:pt x="28123" y="6560"/>
                    <a:pt x="19161" y="14029"/>
                  </a:cubicBezTo>
                  <a:cubicBezTo>
                    <a:pt x="10199" y="21497"/>
                    <a:pt x="2731" y="31952"/>
                    <a:pt x="1237" y="42408"/>
                  </a:cubicBezTo>
                  <a:cubicBezTo>
                    <a:pt x="-1750" y="55850"/>
                    <a:pt x="1237" y="72280"/>
                    <a:pt x="4224" y="84230"/>
                  </a:cubicBezTo>
                  <a:cubicBezTo>
                    <a:pt x="5718" y="87217"/>
                    <a:pt x="7212" y="90204"/>
                    <a:pt x="8706" y="94685"/>
                  </a:cubicBezTo>
                  <a:cubicBezTo>
                    <a:pt x="8706" y="94685"/>
                    <a:pt x="10199" y="96179"/>
                    <a:pt x="10199" y="96179"/>
                  </a:cubicBezTo>
                  <a:cubicBezTo>
                    <a:pt x="11693" y="99166"/>
                    <a:pt x="13186" y="102153"/>
                    <a:pt x="14680" y="106634"/>
                  </a:cubicBezTo>
                  <a:cubicBezTo>
                    <a:pt x="17668" y="114102"/>
                    <a:pt x="20655" y="120077"/>
                    <a:pt x="26629" y="124558"/>
                  </a:cubicBezTo>
                  <a:cubicBezTo>
                    <a:pt x="31110" y="129039"/>
                    <a:pt x="37085" y="132026"/>
                    <a:pt x="43059" y="133519"/>
                  </a:cubicBezTo>
                  <a:cubicBezTo>
                    <a:pt x="46046" y="135013"/>
                    <a:pt x="49033" y="135013"/>
                    <a:pt x="52021" y="135013"/>
                  </a:cubicBezTo>
                  <a:cubicBezTo>
                    <a:pt x="43059" y="115596"/>
                    <a:pt x="38578" y="100659"/>
                    <a:pt x="38578" y="96179"/>
                  </a:cubicBezTo>
                  <a:cubicBezTo>
                    <a:pt x="37085" y="93191"/>
                    <a:pt x="35591" y="76761"/>
                    <a:pt x="34097" y="72280"/>
                  </a:cubicBezTo>
                  <a:cubicBezTo>
                    <a:pt x="74425" y="115596"/>
                    <a:pt x="86374" y="28965"/>
                    <a:pt x="113260" y="36433"/>
                  </a:cubicBezTo>
                  <a:cubicBezTo>
                    <a:pt x="110273" y="37927"/>
                    <a:pt x="114754" y="12535"/>
                    <a:pt x="83387" y="3573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2" name="任意多边形: 形状 441"/>
            <p:cNvSpPr/>
            <p:nvPr/>
          </p:nvSpPr>
          <p:spPr>
            <a:xfrm>
              <a:off x="3901329" y="4018986"/>
              <a:ext cx="13633" cy="13633"/>
            </a:xfrm>
            <a:custGeom>
              <a:avLst/>
              <a:gdLst>
                <a:gd name="connsiteX0" fmla="*/ 3651 w 14936"/>
                <a:gd name="connsiteY0" fmla="*/ 407 h 14936"/>
                <a:gd name="connsiteX1" fmla="*/ 12613 w 14936"/>
                <a:gd name="connsiteY1" fmla="*/ 3394 h 14936"/>
                <a:gd name="connsiteX2" fmla="*/ 17093 w 14936"/>
                <a:gd name="connsiteY2" fmla="*/ 12356 h 14936"/>
                <a:gd name="connsiteX3" fmla="*/ 18587 w 14936"/>
                <a:gd name="connsiteY3" fmla="*/ 24305 h 14936"/>
                <a:gd name="connsiteX4" fmla="*/ 17093 w 14936"/>
                <a:gd name="connsiteY4" fmla="*/ 27292 h 14936"/>
                <a:gd name="connsiteX5" fmla="*/ 11119 w 14936"/>
                <a:gd name="connsiteY5" fmla="*/ 27292 h 14936"/>
                <a:gd name="connsiteX6" fmla="*/ 6638 w 14936"/>
                <a:gd name="connsiteY6" fmla="*/ 22812 h 14936"/>
                <a:gd name="connsiteX7" fmla="*/ 664 w 14936"/>
                <a:gd name="connsiteY7" fmla="*/ 9369 h 14936"/>
                <a:gd name="connsiteX8" fmla="*/ 664 w 14936"/>
                <a:gd name="connsiteY8" fmla="*/ 3394 h 14936"/>
                <a:gd name="connsiteX9" fmla="*/ 3651 w 14936"/>
                <a:gd name="connsiteY9" fmla="*/ 407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14936">
                  <a:moveTo>
                    <a:pt x="3651" y="407"/>
                  </a:moveTo>
                  <a:cubicBezTo>
                    <a:pt x="6638" y="-1086"/>
                    <a:pt x="9625" y="1901"/>
                    <a:pt x="12613" y="3394"/>
                  </a:cubicBezTo>
                  <a:cubicBezTo>
                    <a:pt x="15600" y="6382"/>
                    <a:pt x="15600" y="9369"/>
                    <a:pt x="17093" y="12356"/>
                  </a:cubicBezTo>
                  <a:cubicBezTo>
                    <a:pt x="18587" y="16837"/>
                    <a:pt x="20081" y="19824"/>
                    <a:pt x="18587" y="24305"/>
                  </a:cubicBezTo>
                  <a:cubicBezTo>
                    <a:pt x="18587" y="25799"/>
                    <a:pt x="17093" y="27292"/>
                    <a:pt x="17093" y="27292"/>
                  </a:cubicBezTo>
                  <a:cubicBezTo>
                    <a:pt x="15600" y="28786"/>
                    <a:pt x="12613" y="28786"/>
                    <a:pt x="11119" y="27292"/>
                  </a:cubicBezTo>
                  <a:cubicBezTo>
                    <a:pt x="9625" y="25799"/>
                    <a:pt x="8132" y="24305"/>
                    <a:pt x="6638" y="22812"/>
                  </a:cubicBezTo>
                  <a:cubicBezTo>
                    <a:pt x="3651" y="18331"/>
                    <a:pt x="2157" y="13850"/>
                    <a:pt x="664" y="9369"/>
                  </a:cubicBezTo>
                  <a:cubicBezTo>
                    <a:pt x="664" y="7875"/>
                    <a:pt x="-830" y="4888"/>
                    <a:pt x="664" y="3394"/>
                  </a:cubicBezTo>
                  <a:cubicBezTo>
                    <a:pt x="-830" y="1901"/>
                    <a:pt x="2157" y="407"/>
                    <a:pt x="3651" y="40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3" name="任意多边形: 形状 442"/>
            <p:cNvSpPr/>
            <p:nvPr/>
          </p:nvSpPr>
          <p:spPr>
            <a:xfrm>
              <a:off x="3927304" y="3996499"/>
              <a:ext cx="27267" cy="27267"/>
            </a:xfrm>
            <a:custGeom>
              <a:avLst/>
              <a:gdLst>
                <a:gd name="connsiteX0" fmla="*/ 586 w 29872"/>
                <a:gd name="connsiteY0" fmla="*/ 16081 h 29872"/>
                <a:gd name="connsiteX1" fmla="*/ 3573 w 29872"/>
                <a:gd name="connsiteY1" fmla="*/ 8613 h 29872"/>
                <a:gd name="connsiteX2" fmla="*/ 25978 w 29872"/>
                <a:gd name="connsiteY2" fmla="*/ 1145 h 29872"/>
                <a:gd name="connsiteX3" fmla="*/ 30459 w 29872"/>
                <a:gd name="connsiteY3" fmla="*/ 4132 h 29872"/>
                <a:gd name="connsiteX4" fmla="*/ 31952 w 29872"/>
                <a:gd name="connsiteY4" fmla="*/ 8613 h 29872"/>
                <a:gd name="connsiteX5" fmla="*/ 8054 w 29872"/>
                <a:gd name="connsiteY5" fmla="*/ 23549 h 29872"/>
                <a:gd name="connsiteX6" fmla="*/ 3573 w 29872"/>
                <a:gd name="connsiteY6" fmla="*/ 32511 h 29872"/>
                <a:gd name="connsiteX7" fmla="*/ 586 w 29872"/>
                <a:gd name="connsiteY7" fmla="*/ 16081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72" h="29872">
                  <a:moveTo>
                    <a:pt x="586" y="16081"/>
                  </a:moveTo>
                  <a:cubicBezTo>
                    <a:pt x="586" y="13094"/>
                    <a:pt x="2080" y="11600"/>
                    <a:pt x="3573" y="8613"/>
                  </a:cubicBezTo>
                  <a:cubicBezTo>
                    <a:pt x="8054" y="1145"/>
                    <a:pt x="17016" y="-1843"/>
                    <a:pt x="25978" y="1145"/>
                  </a:cubicBezTo>
                  <a:cubicBezTo>
                    <a:pt x="27471" y="1145"/>
                    <a:pt x="28965" y="2638"/>
                    <a:pt x="30459" y="4132"/>
                  </a:cubicBezTo>
                  <a:cubicBezTo>
                    <a:pt x="31952" y="5626"/>
                    <a:pt x="31952" y="7119"/>
                    <a:pt x="31952" y="8613"/>
                  </a:cubicBezTo>
                  <a:cubicBezTo>
                    <a:pt x="22991" y="13094"/>
                    <a:pt x="14029" y="16081"/>
                    <a:pt x="8054" y="23549"/>
                  </a:cubicBezTo>
                  <a:cubicBezTo>
                    <a:pt x="6560" y="26536"/>
                    <a:pt x="5067" y="29524"/>
                    <a:pt x="3573" y="32511"/>
                  </a:cubicBezTo>
                  <a:cubicBezTo>
                    <a:pt x="586" y="28030"/>
                    <a:pt x="-908" y="22056"/>
                    <a:pt x="586" y="16081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4" name="任意多边形: 形状 443"/>
            <p:cNvSpPr/>
            <p:nvPr/>
          </p:nvSpPr>
          <p:spPr>
            <a:xfrm>
              <a:off x="3923214" y="3992409"/>
              <a:ext cx="27267" cy="27267"/>
            </a:xfrm>
            <a:custGeom>
              <a:avLst/>
              <a:gdLst>
                <a:gd name="connsiteX0" fmla="*/ 586 w 29872"/>
                <a:gd name="connsiteY0" fmla="*/ 16081 h 29872"/>
                <a:gd name="connsiteX1" fmla="*/ 3573 w 29872"/>
                <a:gd name="connsiteY1" fmla="*/ 8613 h 29872"/>
                <a:gd name="connsiteX2" fmla="*/ 25978 w 29872"/>
                <a:gd name="connsiteY2" fmla="*/ 1145 h 29872"/>
                <a:gd name="connsiteX3" fmla="*/ 30458 w 29872"/>
                <a:gd name="connsiteY3" fmla="*/ 4132 h 29872"/>
                <a:gd name="connsiteX4" fmla="*/ 31952 w 29872"/>
                <a:gd name="connsiteY4" fmla="*/ 8613 h 29872"/>
                <a:gd name="connsiteX5" fmla="*/ 8054 w 29872"/>
                <a:gd name="connsiteY5" fmla="*/ 23549 h 29872"/>
                <a:gd name="connsiteX6" fmla="*/ 3573 w 29872"/>
                <a:gd name="connsiteY6" fmla="*/ 32511 h 29872"/>
                <a:gd name="connsiteX7" fmla="*/ 586 w 29872"/>
                <a:gd name="connsiteY7" fmla="*/ 16081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72" h="29872">
                  <a:moveTo>
                    <a:pt x="586" y="16081"/>
                  </a:moveTo>
                  <a:cubicBezTo>
                    <a:pt x="586" y="13094"/>
                    <a:pt x="2080" y="11600"/>
                    <a:pt x="3573" y="8613"/>
                  </a:cubicBezTo>
                  <a:cubicBezTo>
                    <a:pt x="8054" y="1145"/>
                    <a:pt x="17016" y="-1843"/>
                    <a:pt x="25978" y="1145"/>
                  </a:cubicBezTo>
                  <a:cubicBezTo>
                    <a:pt x="27471" y="1145"/>
                    <a:pt x="28965" y="2638"/>
                    <a:pt x="30458" y="4132"/>
                  </a:cubicBezTo>
                  <a:cubicBezTo>
                    <a:pt x="31952" y="5626"/>
                    <a:pt x="31952" y="7119"/>
                    <a:pt x="31952" y="8613"/>
                  </a:cubicBezTo>
                  <a:cubicBezTo>
                    <a:pt x="22990" y="13094"/>
                    <a:pt x="14029" y="16081"/>
                    <a:pt x="8054" y="23549"/>
                  </a:cubicBezTo>
                  <a:cubicBezTo>
                    <a:pt x="6561" y="26536"/>
                    <a:pt x="5067" y="29524"/>
                    <a:pt x="3573" y="32511"/>
                  </a:cubicBezTo>
                  <a:cubicBezTo>
                    <a:pt x="586" y="28030"/>
                    <a:pt x="-907" y="22056"/>
                    <a:pt x="586" y="16081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5" name="任意多边形: 形状 444"/>
            <p:cNvSpPr/>
            <p:nvPr/>
          </p:nvSpPr>
          <p:spPr>
            <a:xfrm>
              <a:off x="3019775" y="5238192"/>
              <a:ext cx="81801" cy="68168"/>
            </a:xfrm>
            <a:custGeom>
              <a:avLst/>
              <a:gdLst>
                <a:gd name="connsiteX0" fmla="*/ 95673 w 89618"/>
                <a:gd name="connsiteY0" fmla="*/ 0 h 74681"/>
                <a:gd name="connsiteX1" fmla="*/ 47877 w 89618"/>
                <a:gd name="connsiteY1" fmla="*/ 16430 h 74681"/>
                <a:gd name="connsiteX2" fmla="*/ 81 w 89618"/>
                <a:gd name="connsiteY2" fmla="*/ 40328 h 74681"/>
                <a:gd name="connsiteX3" fmla="*/ 81 w 89618"/>
                <a:gd name="connsiteY3" fmla="*/ 40328 h 74681"/>
                <a:gd name="connsiteX4" fmla="*/ 7549 w 89618"/>
                <a:gd name="connsiteY4" fmla="*/ 49290 h 74681"/>
                <a:gd name="connsiteX5" fmla="*/ 62813 w 89618"/>
                <a:gd name="connsiteY5" fmla="*/ 73188 h 74681"/>
                <a:gd name="connsiteX6" fmla="*/ 95673 w 89618"/>
                <a:gd name="connsiteY6" fmla="*/ 70201 h 74681"/>
                <a:gd name="connsiteX7" fmla="*/ 101648 w 89618"/>
                <a:gd name="connsiteY7" fmla="*/ 59745 h 74681"/>
                <a:gd name="connsiteX8" fmla="*/ 101648 w 89618"/>
                <a:gd name="connsiteY8" fmla="*/ 59745 h 74681"/>
                <a:gd name="connsiteX9" fmla="*/ 95673 w 89618"/>
                <a:gd name="connsiteY9" fmla="*/ 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618" h="74681">
                  <a:moveTo>
                    <a:pt x="95673" y="0"/>
                  </a:moveTo>
                  <a:lnTo>
                    <a:pt x="47877" y="16430"/>
                  </a:lnTo>
                  <a:cubicBezTo>
                    <a:pt x="18004" y="11949"/>
                    <a:pt x="-1413" y="23898"/>
                    <a:pt x="81" y="40328"/>
                  </a:cubicBezTo>
                  <a:lnTo>
                    <a:pt x="81" y="40328"/>
                  </a:lnTo>
                  <a:cubicBezTo>
                    <a:pt x="81" y="43316"/>
                    <a:pt x="3068" y="47796"/>
                    <a:pt x="7549" y="49290"/>
                  </a:cubicBezTo>
                  <a:lnTo>
                    <a:pt x="62813" y="73188"/>
                  </a:lnTo>
                  <a:cubicBezTo>
                    <a:pt x="73269" y="77669"/>
                    <a:pt x="86711" y="76175"/>
                    <a:pt x="95673" y="70201"/>
                  </a:cubicBezTo>
                  <a:cubicBezTo>
                    <a:pt x="100154" y="67214"/>
                    <a:pt x="101648" y="62733"/>
                    <a:pt x="101648" y="59745"/>
                  </a:cubicBezTo>
                  <a:lnTo>
                    <a:pt x="101648" y="59745"/>
                  </a:lnTo>
                  <a:lnTo>
                    <a:pt x="95673" y="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6" name="任意多边形: 形状 445"/>
            <p:cNvSpPr/>
            <p:nvPr/>
          </p:nvSpPr>
          <p:spPr>
            <a:xfrm>
              <a:off x="3019848" y="5273639"/>
              <a:ext cx="81801" cy="40900"/>
            </a:xfrm>
            <a:custGeom>
              <a:avLst/>
              <a:gdLst>
                <a:gd name="connsiteX0" fmla="*/ 88124 w 89618"/>
                <a:gd name="connsiteY0" fmla="*/ 43315 h 44809"/>
                <a:gd name="connsiteX1" fmla="*/ 101567 w 89618"/>
                <a:gd name="connsiteY1" fmla="*/ 26886 h 44809"/>
                <a:gd name="connsiteX2" fmla="*/ 100073 w 89618"/>
                <a:gd name="connsiteY2" fmla="*/ 14936 h 44809"/>
                <a:gd name="connsiteX3" fmla="*/ 89618 w 89618"/>
                <a:gd name="connsiteY3" fmla="*/ 16430 h 44809"/>
                <a:gd name="connsiteX4" fmla="*/ 77669 w 89618"/>
                <a:gd name="connsiteY4" fmla="*/ 26886 h 44809"/>
                <a:gd name="connsiteX5" fmla="*/ 58252 w 89618"/>
                <a:gd name="connsiteY5" fmla="*/ 29873 h 44809"/>
                <a:gd name="connsiteX6" fmla="*/ 0 w 89618"/>
                <a:gd name="connsiteY6" fmla="*/ 0 h 44809"/>
                <a:gd name="connsiteX7" fmla="*/ 2987 w 89618"/>
                <a:gd name="connsiteY7" fmla="*/ 11949 h 44809"/>
                <a:gd name="connsiteX8" fmla="*/ 88124 w 89618"/>
                <a:gd name="connsiteY8" fmla="*/ 43315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88124" y="43315"/>
                  </a:moveTo>
                  <a:cubicBezTo>
                    <a:pt x="94099" y="38835"/>
                    <a:pt x="101567" y="34354"/>
                    <a:pt x="101567" y="26886"/>
                  </a:cubicBezTo>
                  <a:cubicBezTo>
                    <a:pt x="101567" y="23898"/>
                    <a:pt x="101567" y="17924"/>
                    <a:pt x="100073" y="14936"/>
                  </a:cubicBezTo>
                  <a:cubicBezTo>
                    <a:pt x="97086" y="10456"/>
                    <a:pt x="92605" y="14936"/>
                    <a:pt x="89618" y="16430"/>
                  </a:cubicBezTo>
                  <a:cubicBezTo>
                    <a:pt x="85137" y="19418"/>
                    <a:pt x="82150" y="23898"/>
                    <a:pt x="77669" y="26886"/>
                  </a:cubicBezTo>
                  <a:cubicBezTo>
                    <a:pt x="71694" y="32860"/>
                    <a:pt x="67214" y="34354"/>
                    <a:pt x="58252" y="29873"/>
                  </a:cubicBezTo>
                  <a:cubicBezTo>
                    <a:pt x="40328" y="22405"/>
                    <a:pt x="13443" y="11949"/>
                    <a:pt x="0" y="0"/>
                  </a:cubicBezTo>
                  <a:cubicBezTo>
                    <a:pt x="0" y="4481"/>
                    <a:pt x="0" y="8962"/>
                    <a:pt x="2987" y="11949"/>
                  </a:cubicBezTo>
                  <a:cubicBezTo>
                    <a:pt x="23898" y="28379"/>
                    <a:pt x="74682" y="53771"/>
                    <a:pt x="88124" y="43315"/>
                  </a:cubicBez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7" name="任意多边形: 形状 446"/>
            <p:cNvSpPr/>
            <p:nvPr/>
          </p:nvSpPr>
          <p:spPr>
            <a:xfrm>
              <a:off x="3053932" y="5055844"/>
              <a:ext cx="68168" cy="204502"/>
            </a:xfrm>
            <a:custGeom>
              <a:avLst/>
              <a:gdLst>
                <a:gd name="connsiteX0" fmla="*/ 0 w 74681"/>
                <a:gd name="connsiteY0" fmla="*/ 222178 h 224045"/>
                <a:gd name="connsiteX1" fmla="*/ 5974 w 74681"/>
                <a:gd name="connsiteY1" fmla="*/ 25019 h 224045"/>
                <a:gd name="connsiteX2" fmla="*/ 23898 w 74681"/>
                <a:gd name="connsiteY2" fmla="*/ 4108 h 224045"/>
                <a:gd name="connsiteX3" fmla="*/ 58252 w 74681"/>
                <a:gd name="connsiteY3" fmla="*/ 2614 h 224045"/>
                <a:gd name="connsiteX4" fmla="*/ 86631 w 74681"/>
                <a:gd name="connsiteY4" fmla="*/ 22031 h 224045"/>
                <a:gd name="connsiteX5" fmla="*/ 64226 w 74681"/>
                <a:gd name="connsiteY5" fmla="*/ 222178 h 224045"/>
                <a:gd name="connsiteX6" fmla="*/ 32860 w 74681"/>
                <a:gd name="connsiteY6" fmla="*/ 226659 h 224045"/>
                <a:gd name="connsiteX7" fmla="*/ 0 w 74681"/>
                <a:gd name="connsiteY7" fmla="*/ 222178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224045">
                  <a:moveTo>
                    <a:pt x="0" y="222178"/>
                  </a:moveTo>
                  <a:cubicBezTo>
                    <a:pt x="0" y="163926"/>
                    <a:pt x="1494" y="32487"/>
                    <a:pt x="5974" y="25019"/>
                  </a:cubicBezTo>
                  <a:cubicBezTo>
                    <a:pt x="10455" y="17550"/>
                    <a:pt x="16430" y="8588"/>
                    <a:pt x="23898" y="4108"/>
                  </a:cubicBezTo>
                  <a:cubicBezTo>
                    <a:pt x="34354" y="-1867"/>
                    <a:pt x="46303" y="-373"/>
                    <a:pt x="58252" y="2614"/>
                  </a:cubicBezTo>
                  <a:cubicBezTo>
                    <a:pt x="73188" y="5601"/>
                    <a:pt x="83644" y="8588"/>
                    <a:pt x="86631" y="22031"/>
                  </a:cubicBezTo>
                  <a:cubicBezTo>
                    <a:pt x="89618" y="36967"/>
                    <a:pt x="65720" y="214710"/>
                    <a:pt x="64226" y="222178"/>
                  </a:cubicBezTo>
                  <a:cubicBezTo>
                    <a:pt x="61239" y="229646"/>
                    <a:pt x="40328" y="223672"/>
                    <a:pt x="32860" y="226659"/>
                  </a:cubicBezTo>
                  <a:lnTo>
                    <a:pt x="0" y="222178"/>
                  </a:lnTo>
                  <a:close/>
                </a:path>
              </a:pathLst>
            </a:custGeom>
            <a:solidFill>
              <a:srgbClr val="9C8A6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8" name="任意多边形: 形状 447"/>
            <p:cNvSpPr/>
            <p:nvPr/>
          </p:nvSpPr>
          <p:spPr>
            <a:xfrm>
              <a:off x="3053932" y="5239164"/>
              <a:ext cx="54534" cy="27267"/>
            </a:xfrm>
            <a:custGeom>
              <a:avLst/>
              <a:gdLst>
                <a:gd name="connsiteX0" fmla="*/ 62733 w 59745"/>
                <a:gd name="connsiteY0" fmla="*/ 21340 h 29872"/>
                <a:gd name="connsiteX1" fmla="*/ 56758 w 59745"/>
                <a:gd name="connsiteY1" fmla="*/ 30302 h 29872"/>
                <a:gd name="connsiteX2" fmla="*/ 53771 w 59745"/>
                <a:gd name="connsiteY2" fmla="*/ 31795 h 29872"/>
                <a:gd name="connsiteX3" fmla="*/ 50783 w 59745"/>
                <a:gd name="connsiteY3" fmla="*/ 33289 h 29872"/>
                <a:gd name="connsiteX4" fmla="*/ 47796 w 59745"/>
                <a:gd name="connsiteY4" fmla="*/ 34783 h 29872"/>
                <a:gd name="connsiteX5" fmla="*/ 10455 w 59745"/>
                <a:gd name="connsiteY5" fmla="*/ 33289 h 29872"/>
                <a:gd name="connsiteX6" fmla="*/ 4481 w 59745"/>
                <a:gd name="connsiteY6" fmla="*/ 28808 h 29872"/>
                <a:gd name="connsiteX7" fmla="*/ 0 w 59745"/>
                <a:gd name="connsiteY7" fmla="*/ 19846 h 29872"/>
                <a:gd name="connsiteX8" fmla="*/ 0 w 59745"/>
                <a:gd name="connsiteY8" fmla="*/ 19846 h 29872"/>
                <a:gd name="connsiteX9" fmla="*/ 8962 w 59745"/>
                <a:gd name="connsiteY9" fmla="*/ 6403 h 29872"/>
                <a:gd name="connsiteX10" fmla="*/ 53771 w 59745"/>
                <a:gd name="connsiteY10" fmla="*/ 4910 h 29872"/>
                <a:gd name="connsiteX11" fmla="*/ 62733 w 59745"/>
                <a:gd name="connsiteY11" fmla="*/ 2134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745" h="29872">
                  <a:moveTo>
                    <a:pt x="62733" y="21340"/>
                  </a:moveTo>
                  <a:cubicBezTo>
                    <a:pt x="62733" y="24327"/>
                    <a:pt x="59745" y="27315"/>
                    <a:pt x="56758" y="30302"/>
                  </a:cubicBezTo>
                  <a:cubicBezTo>
                    <a:pt x="56758" y="30302"/>
                    <a:pt x="55264" y="31795"/>
                    <a:pt x="53771" y="31795"/>
                  </a:cubicBezTo>
                  <a:cubicBezTo>
                    <a:pt x="52277" y="31795"/>
                    <a:pt x="52277" y="33289"/>
                    <a:pt x="50783" y="33289"/>
                  </a:cubicBezTo>
                  <a:cubicBezTo>
                    <a:pt x="49290" y="33289"/>
                    <a:pt x="47796" y="34783"/>
                    <a:pt x="47796" y="34783"/>
                  </a:cubicBezTo>
                  <a:cubicBezTo>
                    <a:pt x="35847" y="39264"/>
                    <a:pt x="20911" y="39264"/>
                    <a:pt x="10455" y="33289"/>
                  </a:cubicBezTo>
                  <a:cubicBezTo>
                    <a:pt x="8962" y="31795"/>
                    <a:pt x="5974" y="30302"/>
                    <a:pt x="4481" y="28808"/>
                  </a:cubicBezTo>
                  <a:cubicBezTo>
                    <a:pt x="1494" y="25821"/>
                    <a:pt x="0" y="22833"/>
                    <a:pt x="0" y="19846"/>
                  </a:cubicBezTo>
                  <a:lnTo>
                    <a:pt x="0" y="19846"/>
                  </a:lnTo>
                  <a:cubicBezTo>
                    <a:pt x="0" y="15365"/>
                    <a:pt x="2987" y="10885"/>
                    <a:pt x="8962" y="6403"/>
                  </a:cubicBezTo>
                  <a:cubicBezTo>
                    <a:pt x="20911" y="-1065"/>
                    <a:pt x="40328" y="-2558"/>
                    <a:pt x="53771" y="4910"/>
                  </a:cubicBezTo>
                  <a:cubicBezTo>
                    <a:pt x="61239" y="9391"/>
                    <a:pt x="64226" y="15365"/>
                    <a:pt x="62733" y="21340"/>
                  </a:cubicBezTo>
                  <a:close/>
                </a:path>
              </a:pathLst>
            </a:custGeom>
            <a:solidFill>
              <a:srgbClr val="9C8A6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9" name="任意多边形: 形状 448"/>
            <p:cNvSpPr/>
            <p:nvPr/>
          </p:nvSpPr>
          <p:spPr>
            <a:xfrm>
              <a:off x="3054780" y="5052154"/>
              <a:ext cx="231769" cy="149969"/>
            </a:xfrm>
            <a:custGeom>
              <a:avLst/>
              <a:gdLst>
                <a:gd name="connsiteX0" fmla="*/ 565 w 253917"/>
                <a:gd name="connsiteY0" fmla="*/ 61921 h 164299"/>
                <a:gd name="connsiteX1" fmla="*/ 46867 w 253917"/>
                <a:gd name="connsiteY1" fmla="*/ 90300 h 164299"/>
                <a:gd name="connsiteX2" fmla="*/ 79727 w 253917"/>
                <a:gd name="connsiteY2" fmla="*/ 87313 h 164299"/>
                <a:gd name="connsiteX3" fmla="*/ 224610 w 253917"/>
                <a:gd name="connsiteY3" fmla="*/ 166475 h 164299"/>
                <a:gd name="connsiteX4" fmla="*/ 263444 w 253917"/>
                <a:gd name="connsiteY4" fmla="*/ 81338 h 164299"/>
                <a:gd name="connsiteX5" fmla="*/ 37905 w 253917"/>
                <a:gd name="connsiteY5" fmla="*/ 682 h 164299"/>
                <a:gd name="connsiteX6" fmla="*/ 565 w 253917"/>
                <a:gd name="connsiteY6" fmla="*/ 61921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917" h="164299">
                  <a:moveTo>
                    <a:pt x="565" y="61921"/>
                  </a:moveTo>
                  <a:lnTo>
                    <a:pt x="46867" y="90300"/>
                  </a:lnTo>
                  <a:lnTo>
                    <a:pt x="79727" y="87313"/>
                  </a:lnTo>
                  <a:lnTo>
                    <a:pt x="224610" y="166475"/>
                  </a:lnTo>
                  <a:cubicBezTo>
                    <a:pt x="235065" y="160501"/>
                    <a:pt x="263444" y="81338"/>
                    <a:pt x="263444" y="81338"/>
                  </a:cubicBezTo>
                  <a:cubicBezTo>
                    <a:pt x="220129" y="103743"/>
                    <a:pt x="72259" y="-9773"/>
                    <a:pt x="37905" y="682"/>
                  </a:cubicBezTo>
                  <a:cubicBezTo>
                    <a:pt x="-2423" y="12631"/>
                    <a:pt x="-929" y="39516"/>
                    <a:pt x="565" y="61921"/>
                  </a:cubicBezTo>
                  <a:close/>
                </a:path>
              </a:pathLst>
            </a:custGeom>
            <a:solidFill>
              <a:srgbClr val="9C8A6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0" name="任意多边形: 形状 449"/>
            <p:cNvSpPr/>
            <p:nvPr/>
          </p:nvSpPr>
          <p:spPr>
            <a:xfrm>
              <a:off x="2942064" y="5295453"/>
              <a:ext cx="81801" cy="68168"/>
            </a:xfrm>
            <a:custGeom>
              <a:avLst/>
              <a:gdLst>
                <a:gd name="connsiteX0" fmla="*/ 95673 w 89618"/>
                <a:gd name="connsiteY0" fmla="*/ 0 h 74681"/>
                <a:gd name="connsiteX1" fmla="*/ 47877 w 89618"/>
                <a:gd name="connsiteY1" fmla="*/ 16430 h 74681"/>
                <a:gd name="connsiteX2" fmla="*/ 81 w 89618"/>
                <a:gd name="connsiteY2" fmla="*/ 40328 h 74681"/>
                <a:gd name="connsiteX3" fmla="*/ 81 w 89618"/>
                <a:gd name="connsiteY3" fmla="*/ 40328 h 74681"/>
                <a:gd name="connsiteX4" fmla="*/ 7549 w 89618"/>
                <a:gd name="connsiteY4" fmla="*/ 49290 h 74681"/>
                <a:gd name="connsiteX5" fmla="*/ 62813 w 89618"/>
                <a:gd name="connsiteY5" fmla="*/ 73188 h 74681"/>
                <a:gd name="connsiteX6" fmla="*/ 95673 w 89618"/>
                <a:gd name="connsiteY6" fmla="*/ 70201 h 74681"/>
                <a:gd name="connsiteX7" fmla="*/ 101648 w 89618"/>
                <a:gd name="connsiteY7" fmla="*/ 59745 h 74681"/>
                <a:gd name="connsiteX8" fmla="*/ 101648 w 89618"/>
                <a:gd name="connsiteY8" fmla="*/ 59745 h 74681"/>
                <a:gd name="connsiteX9" fmla="*/ 95673 w 89618"/>
                <a:gd name="connsiteY9" fmla="*/ 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618" h="74681">
                  <a:moveTo>
                    <a:pt x="95673" y="0"/>
                  </a:moveTo>
                  <a:lnTo>
                    <a:pt x="47877" y="16430"/>
                  </a:lnTo>
                  <a:cubicBezTo>
                    <a:pt x="18004" y="11949"/>
                    <a:pt x="-1413" y="23898"/>
                    <a:pt x="81" y="40328"/>
                  </a:cubicBezTo>
                  <a:lnTo>
                    <a:pt x="81" y="40328"/>
                  </a:lnTo>
                  <a:cubicBezTo>
                    <a:pt x="81" y="43315"/>
                    <a:pt x="3068" y="47796"/>
                    <a:pt x="7549" y="49290"/>
                  </a:cubicBezTo>
                  <a:lnTo>
                    <a:pt x="62813" y="73188"/>
                  </a:lnTo>
                  <a:cubicBezTo>
                    <a:pt x="73269" y="77669"/>
                    <a:pt x="86711" y="76175"/>
                    <a:pt x="95673" y="70201"/>
                  </a:cubicBezTo>
                  <a:cubicBezTo>
                    <a:pt x="100154" y="67214"/>
                    <a:pt x="101648" y="62733"/>
                    <a:pt x="101648" y="59745"/>
                  </a:cubicBezTo>
                  <a:lnTo>
                    <a:pt x="101648" y="59745"/>
                  </a:lnTo>
                  <a:lnTo>
                    <a:pt x="95673" y="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1" name="任意多边形: 形状 450"/>
            <p:cNvSpPr/>
            <p:nvPr/>
          </p:nvSpPr>
          <p:spPr>
            <a:xfrm>
              <a:off x="2942138" y="5329536"/>
              <a:ext cx="81801" cy="40900"/>
            </a:xfrm>
            <a:custGeom>
              <a:avLst/>
              <a:gdLst>
                <a:gd name="connsiteX0" fmla="*/ 88124 w 89618"/>
                <a:gd name="connsiteY0" fmla="*/ 43315 h 44809"/>
                <a:gd name="connsiteX1" fmla="*/ 101567 w 89618"/>
                <a:gd name="connsiteY1" fmla="*/ 26885 h 44809"/>
                <a:gd name="connsiteX2" fmla="*/ 100073 w 89618"/>
                <a:gd name="connsiteY2" fmla="*/ 14936 h 44809"/>
                <a:gd name="connsiteX3" fmla="*/ 89618 w 89618"/>
                <a:gd name="connsiteY3" fmla="*/ 16430 h 44809"/>
                <a:gd name="connsiteX4" fmla="*/ 77669 w 89618"/>
                <a:gd name="connsiteY4" fmla="*/ 26885 h 44809"/>
                <a:gd name="connsiteX5" fmla="*/ 58252 w 89618"/>
                <a:gd name="connsiteY5" fmla="*/ 29873 h 44809"/>
                <a:gd name="connsiteX6" fmla="*/ 0 w 89618"/>
                <a:gd name="connsiteY6" fmla="*/ 0 h 44809"/>
                <a:gd name="connsiteX7" fmla="*/ 2987 w 89618"/>
                <a:gd name="connsiteY7" fmla="*/ 11949 h 44809"/>
                <a:gd name="connsiteX8" fmla="*/ 88124 w 89618"/>
                <a:gd name="connsiteY8" fmla="*/ 43315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88124" y="43315"/>
                  </a:moveTo>
                  <a:cubicBezTo>
                    <a:pt x="94099" y="38835"/>
                    <a:pt x="101567" y="34353"/>
                    <a:pt x="101567" y="26885"/>
                  </a:cubicBezTo>
                  <a:cubicBezTo>
                    <a:pt x="101567" y="23898"/>
                    <a:pt x="101567" y="17924"/>
                    <a:pt x="100073" y="14936"/>
                  </a:cubicBezTo>
                  <a:cubicBezTo>
                    <a:pt x="97086" y="10456"/>
                    <a:pt x="92605" y="14936"/>
                    <a:pt x="89618" y="16430"/>
                  </a:cubicBezTo>
                  <a:cubicBezTo>
                    <a:pt x="85137" y="19417"/>
                    <a:pt x="82150" y="23898"/>
                    <a:pt x="77669" y="26885"/>
                  </a:cubicBezTo>
                  <a:cubicBezTo>
                    <a:pt x="71694" y="32860"/>
                    <a:pt x="67214" y="34353"/>
                    <a:pt x="58252" y="29873"/>
                  </a:cubicBezTo>
                  <a:cubicBezTo>
                    <a:pt x="40328" y="22405"/>
                    <a:pt x="13443" y="11949"/>
                    <a:pt x="0" y="0"/>
                  </a:cubicBezTo>
                  <a:cubicBezTo>
                    <a:pt x="0" y="4481"/>
                    <a:pt x="0" y="8962"/>
                    <a:pt x="2987" y="11949"/>
                  </a:cubicBezTo>
                  <a:cubicBezTo>
                    <a:pt x="23898" y="29873"/>
                    <a:pt x="74682" y="53771"/>
                    <a:pt x="88124" y="43315"/>
                  </a:cubicBez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2" name="任意多边形: 形状 451"/>
            <p:cNvSpPr/>
            <p:nvPr/>
          </p:nvSpPr>
          <p:spPr>
            <a:xfrm>
              <a:off x="2976221" y="5105735"/>
              <a:ext cx="68168" cy="204502"/>
            </a:xfrm>
            <a:custGeom>
              <a:avLst/>
              <a:gdLst>
                <a:gd name="connsiteX0" fmla="*/ 0 w 74681"/>
                <a:gd name="connsiteY0" fmla="*/ 228758 h 224045"/>
                <a:gd name="connsiteX1" fmla="*/ 5974 w 74681"/>
                <a:gd name="connsiteY1" fmla="*/ 31599 h 224045"/>
                <a:gd name="connsiteX2" fmla="*/ 23898 w 74681"/>
                <a:gd name="connsiteY2" fmla="*/ 10687 h 224045"/>
                <a:gd name="connsiteX3" fmla="*/ 58252 w 74681"/>
                <a:gd name="connsiteY3" fmla="*/ 232 h 224045"/>
                <a:gd name="connsiteX4" fmla="*/ 86631 w 74681"/>
                <a:gd name="connsiteY4" fmla="*/ 28611 h 224045"/>
                <a:gd name="connsiteX5" fmla="*/ 64226 w 74681"/>
                <a:gd name="connsiteY5" fmla="*/ 228758 h 224045"/>
                <a:gd name="connsiteX6" fmla="*/ 32860 w 74681"/>
                <a:gd name="connsiteY6" fmla="*/ 233239 h 224045"/>
                <a:gd name="connsiteX7" fmla="*/ 0 w 74681"/>
                <a:gd name="connsiteY7" fmla="*/ 228758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224045">
                  <a:moveTo>
                    <a:pt x="0" y="228758"/>
                  </a:moveTo>
                  <a:cubicBezTo>
                    <a:pt x="0" y="170506"/>
                    <a:pt x="1493" y="39067"/>
                    <a:pt x="5974" y="31599"/>
                  </a:cubicBezTo>
                  <a:cubicBezTo>
                    <a:pt x="10455" y="24130"/>
                    <a:pt x="16430" y="15169"/>
                    <a:pt x="23898" y="10687"/>
                  </a:cubicBezTo>
                  <a:cubicBezTo>
                    <a:pt x="34354" y="4713"/>
                    <a:pt x="46303" y="-1262"/>
                    <a:pt x="58252" y="232"/>
                  </a:cubicBezTo>
                  <a:cubicBezTo>
                    <a:pt x="73188" y="3219"/>
                    <a:pt x="83643" y="13675"/>
                    <a:pt x="86631" y="28611"/>
                  </a:cubicBezTo>
                  <a:cubicBezTo>
                    <a:pt x="89618" y="43547"/>
                    <a:pt x="65720" y="221290"/>
                    <a:pt x="64226" y="228758"/>
                  </a:cubicBezTo>
                  <a:cubicBezTo>
                    <a:pt x="61239" y="236226"/>
                    <a:pt x="40328" y="230252"/>
                    <a:pt x="32860" y="233239"/>
                  </a:cubicBezTo>
                  <a:lnTo>
                    <a:pt x="0" y="228758"/>
                  </a:lnTo>
                  <a:close/>
                </a:path>
              </a:pathLst>
            </a:custGeom>
            <a:solidFill>
              <a:srgbClr val="AB987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3" name="任意多边形: 形状 452"/>
            <p:cNvSpPr/>
            <p:nvPr/>
          </p:nvSpPr>
          <p:spPr>
            <a:xfrm>
              <a:off x="2976221" y="5295061"/>
              <a:ext cx="54534" cy="27267"/>
            </a:xfrm>
            <a:custGeom>
              <a:avLst/>
              <a:gdLst>
                <a:gd name="connsiteX0" fmla="*/ 62733 w 59745"/>
                <a:gd name="connsiteY0" fmla="*/ 21340 h 29872"/>
                <a:gd name="connsiteX1" fmla="*/ 56758 w 59745"/>
                <a:gd name="connsiteY1" fmla="*/ 30302 h 29872"/>
                <a:gd name="connsiteX2" fmla="*/ 53771 w 59745"/>
                <a:gd name="connsiteY2" fmla="*/ 31796 h 29872"/>
                <a:gd name="connsiteX3" fmla="*/ 50783 w 59745"/>
                <a:gd name="connsiteY3" fmla="*/ 33289 h 29872"/>
                <a:gd name="connsiteX4" fmla="*/ 47796 w 59745"/>
                <a:gd name="connsiteY4" fmla="*/ 34783 h 29872"/>
                <a:gd name="connsiteX5" fmla="*/ 10455 w 59745"/>
                <a:gd name="connsiteY5" fmla="*/ 33289 h 29872"/>
                <a:gd name="connsiteX6" fmla="*/ 4481 w 59745"/>
                <a:gd name="connsiteY6" fmla="*/ 28808 h 29872"/>
                <a:gd name="connsiteX7" fmla="*/ 0 w 59745"/>
                <a:gd name="connsiteY7" fmla="*/ 19846 h 29872"/>
                <a:gd name="connsiteX8" fmla="*/ 0 w 59745"/>
                <a:gd name="connsiteY8" fmla="*/ 19846 h 29872"/>
                <a:gd name="connsiteX9" fmla="*/ 8962 w 59745"/>
                <a:gd name="connsiteY9" fmla="*/ 6404 h 29872"/>
                <a:gd name="connsiteX10" fmla="*/ 53771 w 59745"/>
                <a:gd name="connsiteY10" fmla="*/ 4910 h 29872"/>
                <a:gd name="connsiteX11" fmla="*/ 62733 w 59745"/>
                <a:gd name="connsiteY11" fmla="*/ 2134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745" h="29872">
                  <a:moveTo>
                    <a:pt x="62733" y="21340"/>
                  </a:moveTo>
                  <a:cubicBezTo>
                    <a:pt x="62733" y="24327"/>
                    <a:pt x="59745" y="27314"/>
                    <a:pt x="56758" y="30302"/>
                  </a:cubicBezTo>
                  <a:cubicBezTo>
                    <a:pt x="55264" y="30302"/>
                    <a:pt x="55264" y="31796"/>
                    <a:pt x="53771" y="31796"/>
                  </a:cubicBezTo>
                  <a:cubicBezTo>
                    <a:pt x="52277" y="31796"/>
                    <a:pt x="52277" y="33289"/>
                    <a:pt x="50783" y="33289"/>
                  </a:cubicBezTo>
                  <a:cubicBezTo>
                    <a:pt x="49290" y="33289"/>
                    <a:pt x="47796" y="34783"/>
                    <a:pt x="47796" y="34783"/>
                  </a:cubicBezTo>
                  <a:cubicBezTo>
                    <a:pt x="35847" y="39264"/>
                    <a:pt x="20911" y="39264"/>
                    <a:pt x="10455" y="33289"/>
                  </a:cubicBezTo>
                  <a:cubicBezTo>
                    <a:pt x="8962" y="31796"/>
                    <a:pt x="5974" y="30302"/>
                    <a:pt x="4481" y="28808"/>
                  </a:cubicBezTo>
                  <a:cubicBezTo>
                    <a:pt x="1493" y="25821"/>
                    <a:pt x="0" y="22834"/>
                    <a:pt x="0" y="19846"/>
                  </a:cubicBezTo>
                  <a:lnTo>
                    <a:pt x="0" y="19846"/>
                  </a:lnTo>
                  <a:cubicBezTo>
                    <a:pt x="0" y="15366"/>
                    <a:pt x="2987" y="10885"/>
                    <a:pt x="8962" y="6404"/>
                  </a:cubicBezTo>
                  <a:cubicBezTo>
                    <a:pt x="20911" y="-1065"/>
                    <a:pt x="40328" y="-2558"/>
                    <a:pt x="53771" y="4910"/>
                  </a:cubicBezTo>
                  <a:cubicBezTo>
                    <a:pt x="61239" y="10885"/>
                    <a:pt x="64226" y="16859"/>
                    <a:pt x="62733" y="21340"/>
                  </a:cubicBezTo>
                  <a:close/>
                </a:path>
              </a:pathLst>
            </a:custGeom>
            <a:solidFill>
              <a:srgbClr val="AB987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4" name="任意多边形: 形状 453"/>
            <p:cNvSpPr/>
            <p:nvPr/>
          </p:nvSpPr>
          <p:spPr>
            <a:xfrm>
              <a:off x="3269341" y="5330899"/>
              <a:ext cx="13633" cy="13633"/>
            </a:xfrm>
            <a:custGeom>
              <a:avLst/>
              <a:gdLst>
                <a:gd name="connsiteX0" fmla="*/ 0 w 14936"/>
                <a:gd name="connsiteY0" fmla="*/ 10455 h 14936"/>
                <a:gd name="connsiteX1" fmla="*/ 10455 w 14936"/>
                <a:gd name="connsiteY1" fmla="*/ 20911 h 14936"/>
                <a:gd name="connsiteX2" fmla="*/ 20911 w 14936"/>
                <a:gd name="connsiteY2" fmla="*/ 10455 h 14936"/>
                <a:gd name="connsiteX3" fmla="*/ 10455 w 14936"/>
                <a:gd name="connsiteY3" fmla="*/ 0 h 14936"/>
                <a:gd name="connsiteX4" fmla="*/ 0 w 14936"/>
                <a:gd name="connsiteY4" fmla="*/ 10455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0" y="10455"/>
                  </a:moveTo>
                  <a:cubicBezTo>
                    <a:pt x="0" y="16430"/>
                    <a:pt x="4481" y="20911"/>
                    <a:pt x="10455" y="20911"/>
                  </a:cubicBezTo>
                  <a:cubicBezTo>
                    <a:pt x="16430" y="20911"/>
                    <a:pt x="20911" y="16430"/>
                    <a:pt x="20911" y="10455"/>
                  </a:cubicBezTo>
                  <a:cubicBezTo>
                    <a:pt x="20911" y="4481"/>
                    <a:pt x="16430" y="0"/>
                    <a:pt x="10455" y="0"/>
                  </a:cubicBezTo>
                  <a:cubicBezTo>
                    <a:pt x="4481" y="0"/>
                    <a:pt x="0" y="4481"/>
                    <a:pt x="0" y="10455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5" name="任意多边形: 形状 454"/>
            <p:cNvSpPr/>
            <p:nvPr/>
          </p:nvSpPr>
          <p:spPr>
            <a:xfrm>
              <a:off x="3291155" y="5423607"/>
              <a:ext cx="13633" cy="13633"/>
            </a:xfrm>
            <a:custGeom>
              <a:avLst/>
              <a:gdLst>
                <a:gd name="connsiteX0" fmla="*/ 0 w 14936"/>
                <a:gd name="connsiteY0" fmla="*/ 10456 h 14936"/>
                <a:gd name="connsiteX1" fmla="*/ 10456 w 14936"/>
                <a:gd name="connsiteY1" fmla="*/ 20911 h 14936"/>
                <a:gd name="connsiteX2" fmla="*/ 20911 w 14936"/>
                <a:gd name="connsiteY2" fmla="*/ 10456 h 14936"/>
                <a:gd name="connsiteX3" fmla="*/ 10456 w 14936"/>
                <a:gd name="connsiteY3" fmla="*/ 0 h 14936"/>
                <a:gd name="connsiteX4" fmla="*/ 0 w 14936"/>
                <a:gd name="connsiteY4" fmla="*/ 1045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0" y="10456"/>
                  </a:moveTo>
                  <a:cubicBezTo>
                    <a:pt x="0" y="16430"/>
                    <a:pt x="4481" y="20911"/>
                    <a:pt x="10456" y="20911"/>
                  </a:cubicBezTo>
                  <a:cubicBezTo>
                    <a:pt x="16430" y="20911"/>
                    <a:pt x="20911" y="16430"/>
                    <a:pt x="20911" y="10456"/>
                  </a:cubicBezTo>
                  <a:cubicBezTo>
                    <a:pt x="20911" y="4481"/>
                    <a:pt x="16430" y="0"/>
                    <a:pt x="10456" y="0"/>
                  </a:cubicBezTo>
                  <a:cubicBezTo>
                    <a:pt x="4481" y="0"/>
                    <a:pt x="0" y="4481"/>
                    <a:pt x="0" y="10456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6" name="任意多边形: 形状 455"/>
            <p:cNvSpPr/>
            <p:nvPr/>
          </p:nvSpPr>
          <p:spPr>
            <a:xfrm>
              <a:off x="3143913" y="5465871"/>
              <a:ext cx="13633" cy="13633"/>
            </a:xfrm>
            <a:custGeom>
              <a:avLst/>
              <a:gdLst>
                <a:gd name="connsiteX0" fmla="*/ 0 w 14936"/>
                <a:gd name="connsiteY0" fmla="*/ 10456 h 14936"/>
                <a:gd name="connsiteX1" fmla="*/ 10455 w 14936"/>
                <a:gd name="connsiteY1" fmla="*/ 20911 h 14936"/>
                <a:gd name="connsiteX2" fmla="*/ 20911 w 14936"/>
                <a:gd name="connsiteY2" fmla="*/ 10456 h 14936"/>
                <a:gd name="connsiteX3" fmla="*/ 10455 w 14936"/>
                <a:gd name="connsiteY3" fmla="*/ 0 h 14936"/>
                <a:gd name="connsiteX4" fmla="*/ 0 w 14936"/>
                <a:gd name="connsiteY4" fmla="*/ 1045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0" y="10456"/>
                  </a:moveTo>
                  <a:cubicBezTo>
                    <a:pt x="0" y="16430"/>
                    <a:pt x="4481" y="20911"/>
                    <a:pt x="10455" y="20911"/>
                  </a:cubicBezTo>
                  <a:cubicBezTo>
                    <a:pt x="16430" y="20911"/>
                    <a:pt x="20911" y="16430"/>
                    <a:pt x="20911" y="10456"/>
                  </a:cubicBezTo>
                  <a:cubicBezTo>
                    <a:pt x="20911" y="4481"/>
                    <a:pt x="16430" y="0"/>
                    <a:pt x="10455" y="0"/>
                  </a:cubicBezTo>
                  <a:cubicBezTo>
                    <a:pt x="4481" y="0"/>
                    <a:pt x="0" y="4481"/>
                    <a:pt x="0" y="10456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7" name="任意多边形: 形状 456"/>
            <p:cNvSpPr/>
            <p:nvPr/>
          </p:nvSpPr>
          <p:spPr>
            <a:xfrm>
              <a:off x="3033482" y="5400431"/>
              <a:ext cx="13633" cy="13633"/>
            </a:xfrm>
            <a:custGeom>
              <a:avLst/>
              <a:gdLst>
                <a:gd name="connsiteX0" fmla="*/ 0 w 14936"/>
                <a:gd name="connsiteY0" fmla="*/ 10455 h 14936"/>
                <a:gd name="connsiteX1" fmla="*/ 10455 w 14936"/>
                <a:gd name="connsiteY1" fmla="*/ 20911 h 14936"/>
                <a:gd name="connsiteX2" fmla="*/ 20911 w 14936"/>
                <a:gd name="connsiteY2" fmla="*/ 10455 h 14936"/>
                <a:gd name="connsiteX3" fmla="*/ 10455 w 14936"/>
                <a:gd name="connsiteY3" fmla="*/ 0 h 14936"/>
                <a:gd name="connsiteX4" fmla="*/ 0 w 14936"/>
                <a:gd name="connsiteY4" fmla="*/ 10455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0" y="10455"/>
                  </a:moveTo>
                  <a:cubicBezTo>
                    <a:pt x="0" y="16430"/>
                    <a:pt x="4481" y="20911"/>
                    <a:pt x="10455" y="20911"/>
                  </a:cubicBezTo>
                  <a:cubicBezTo>
                    <a:pt x="16430" y="20911"/>
                    <a:pt x="20911" y="16430"/>
                    <a:pt x="20911" y="10455"/>
                  </a:cubicBezTo>
                  <a:cubicBezTo>
                    <a:pt x="20911" y="4481"/>
                    <a:pt x="16430" y="0"/>
                    <a:pt x="10455" y="0"/>
                  </a:cubicBezTo>
                  <a:cubicBezTo>
                    <a:pt x="4481" y="0"/>
                    <a:pt x="0" y="4481"/>
                    <a:pt x="0" y="10455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8" name="任意多边形: 形状 457"/>
            <p:cNvSpPr/>
            <p:nvPr/>
          </p:nvSpPr>
          <p:spPr>
            <a:xfrm>
              <a:off x="3101649" y="5311813"/>
              <a:ext cx="13633" cy="13633"/>
            </a:xfrm>
            <a:custGeom>
              <a:avLst/>
              <a:gdLst>
                <a:gd name="connsiteX0" fmla="*/ 0 w 14936"/>
                <a:gd name="connsiteY0" fmla="*/ 10455 h 14936"/>
                <a:gd name="connsiteX1" fmla="*/ 10455 w 14936"/>
                <a:gd name="connsiteY1" fmla="*/ 20911 h 14936"/>
                <a:gd name="connsiteX2" fmla="*/ 20911 w 14936"/>
                <a:gd name="connsiteY2" fmla="*/ 10455 h 14936"/>
                <a:gd name="connsiteX3" fmla="*/ 10455 w 14936"/>
                <a:gd name="connsiteY3" fmla="*/ 0 h 14936"/>
                <a:gd name="connsiteX4" fmla="*/ 0 w 14936"/>
                <a:gd name="connsiteY4" fmla="*/ 10455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0" y="10455"/>
                  </a:moveTo>
                  <a:cubicBezTo>
                    <a:pt x="0" y="16430"/>
                    <a:pt x="4481" y="20911"/>
                    <a:pt x="10455" y="20911"/>
                  </a:cubicBezTo>
                  <a:cubicBezTo>
                    <a:pt x="16430" y="20911"/>
                    <a:pt x="20911" y="16430"/>
                    <a:pt x="20911" y="10455"/>
                  </a:cubicBezTo>
                  <a:cubicBezTo>
                    <a:pt x="20911" y="4481"/>
                    <a:pt x="16430" y="0"/>
                    <a:pt x="10455" y="0"/>
                  </a:cubicBezTo>
                  <a:cubicBezTo>
                    <a:pt x="4481" y="0"/>
                    <a:pt x="0" y="4481"/>
                    <a:pt x="0" y="10455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9" name="任意多边形: 形状 458"/>
            <p:cNvSpPr/>
            <p:nvPr/>
          </p:nvSpPr>
          <p:spPr>
            <a:xfrm>
              <a:off x="3029391" y="5300905"/>
              <a:ext cx="272670" cy="163602"/>
            </a:xfrm>
            <a:custGeom>
              <a:avLst/>
              <a:gdLst>
                <a:gd name="connsiteX0" fmla="*/ 77669 w 298726"/>
                <a:gd name="connsiteY0" fmla="*/ 13443 h 179236"/>
                <a:gd name="connsiteX1" fmla="*/ 77669 w 298726"/>
                <a:gd name="connsiteY1" fmla="*/ 0 h 179236"/>
                <a:gd name="connsiteX2" fmla="*/ 97086 w 298726"/>
                <a:gd name="connsiteY2" fmla="*/ 8962 h 179236"/>
                <a:gd name="connsiteX3" fmla="*/ 167287 w 298726"/>
                <a:gd name="connsiteY3" fmla="*/ 73188 h 179236"/>
                <a:gd name="connsiteX4" fmla="*/ 267361 w 298726"/>
                <a:gd name="connsiteY4" fmla="*/ 23898 h 179236"/>
                <a:gd name="connsiteX5" fmla="*/ 282297 w 298726"/>
                <a:gd name="connsiteY5" fmla="*/ 19418 h 179236"/>
                <a:gd name="connsiteX6" fmla="*/ 282297 w 298726"/>
                <a:gd name="connsiteY6" fmla="*/ 32860 h 179236"/>
                <a:gd name="connsiteX7" fmla="*/ 197160 w 298726"/>
                <a:gd name="connsiteY7" fmla="*/ 91112 h 179236"/>
                <a:gd name="connsiteX8" fmla="*/ 309182 w 298726"/>
                <a:gd name="connsiteY8" fmla="*/ 117997 h 179236"/>
                <a:gd name="connsiteX9" fmla="*/ 309182 w 298726"/>
                <a:gd name="connsiteY9" fmla="*/ 131440 h 179236"/>
                <a:gd name="connsiteX10" fmla="*/ 300221 w 298726"/>
                <a:gd name="connsiteY10" fmla="*/ 141895 h 179236"/>
                <a:gd name="connsiteX11" fmla="*/ 177743 w 298726"/>
                <a:gd name="connsiteY11" fmla="*/ 113516 h 179236"/>
                <a:gd name="connsiteX12" fmla="*/ 146376 w 298726"/>
                <a:gd name="connsiteY12" fmla="*/ 188198 h 179236"/>
                <a:gd name="connsiteX13" fmla="*/ 125465 w 298726"/>
                <a:gd name="connsiteY13" fmla="*/ 185211 h 179236"/>
                <a:gd name="connsiteX14" fmla="*/ 125465 w 298726"/>
                <a:gd name="connsiteY14" fmla="*/ 171768 h 179236"/>
                <a:gd name="connsiteX15" fmla="*/ 134427 w 298726"/>
                <a:gd name="connsiteY15" fmla="*/ 109036 h 179236"/>
                <a:gd name="connsiteX16" fmla="*/ 2987 w 298726"/>
                <a:gd name="connsiteY16" fmla="*/ 115010 h 179236"/>
                <a:gd name="connsiteX17" fmla="*/ 0 w 298726"/>
                <a:gd name="connsiteY17" fmla="*/ 103061 h 179236"/>
                <a:gd name="connsiteX18" fmla="*/ 0 w 298726"/>
                <a:gd name="connsiteY18" fmla="*/ 89618 h 179236"/>
                <a:gd name="connsiteX19" fmla="*/ 128453 w 298726"/>
                <a:gd name="connsiteY19" fmla="*/ 85137 h 17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8726" h="179236">
                  <a:moveTo>
                    <a:pt x="77669" y="13443"/>
                  </a:moveTo>
                  <a:lnTo>
                    <a:pt x="77669" y="0"/>
                  </a:lnTo>
                  <a:lnTo>
                    <a:pt x="97086" y="8962"/>
                  </a:lnTo>
                  <a:lnTo>
                    <a:pt x="167287" y="73188"/>
                  </a:lnTo>
                  <a:lnTo>
                    <a:pt x="267361" y="23898"/>
                  </a:lnTo>
                  <a:lnTo>
                    <a:pt x="282297" y="19418"/>
                  </a:lnTo>
                  <a:lnTo>
                    <a:pt x="282297" y="32860"/>
                  </a:lnTo>
                  <a:lnTo>
                    <a:pt x="197160" y="91112"/>
                  </a:lnTo>
                  <a:lnTo>
                    <a:pt x="309182" y="117997"/>
                  </a:lnTo>
                  <a:lnTo>
                    <a:pt x="309182" y="131440"/>
                  </a:lnTo>
                  <a:lnTo>
                    <a:pt x="300221" y="141895"/>
                  </a:lnTo>
                  <a:lnTo>
                    <a:pt x="177743" y="113516"/>
                  </a:lnTo>
                  <a:lnTo>
                    <a:pt x="146376" y="188198"/>
                  </a:lnTo>
                  <a:lnTo>
                    <a:pt x="125465" y="185211"/>
                  </a:lnTo>
                  <a:lnTo>
                    <a:pt x="125465" y="171768"/>
                  </a:lnTo>
                  <a:lnTo>
                    <a:pt x="134427" y="109036"/>
                  </a:lnTo>
                  <a:lnTo>
                    <a:pt x="2987" y="115010"/>
                  </a:lnTo>
                  <a:lnTo>
                    <a:pt x="0" y="103061"/>
                  </a:lnTo>
                  <a:lnTo>
                    <a:pt x="0" y="89618"/>
                  </a:lnTo>
                  <a:lnTo>
                    <a:pt x="128453" y="85137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0" name="任意多边形: 形状 459"/>
            <p:cNvSpPr/>
            <p:nvPr/>
          </p:nvSpPr>
          <p:spPr>
            <a:xfrm>
              <a:off x="3029391" y="5296816"/>
              <a:ext cx="272670" cy="149969"/>
            </a:xfrm>
            <a:custGeom>
              <a:avLst/>
              <a:gdLst>
                <a:gd name="connsiteX0" fmla="*/ 77669 w 298726"/>
                <a:gd name="connsiteY0" fmla="*/ 4481 h 164299"/>
                <a:gd name="connsiteX1" fmla="*/ 97086 w 298726"/>
                <a:gd name="connsiteY1" fmla="*/ 0 h 164299"/>
                <a:gd name="connsiteX2" fmla="*/ 167287 w 298726"/>
                <a:gd name="connsiteY2" fmla="*/ 64226 h 164299"/>
                <a:gd name="connsiteX3" fmla="*/ 267361 w 298726"/>
                <a:gd name="connsiteY3" fmla="*/ 14936 h 164299"/>
                <a:gd name="connsiteX4" fmla="*/ 282297 w 298726"/>
                <a:gd name="connsiteY4" fmla="*/ 23898 h 164299"/>
                <a:gd name="connsiteX5" fmla="*/ 197160 w 298726"/>
                <a:gd name="connsiteY5" fmla="*/ 82150 h 164299"/>
                <a:gd name="connsiteX6" fmla="*/ 309182 w 298726"/>
                <a:gd name="connsiteY6" fmla="*/ 122478 h 164299"/>
                <a:gd name="connsiteX7" fmla="*/ 300221 w 298726"/>
                <a:gd name="connsiteY7" fmla="*/ 132933 h 164299"/>
                <a:gd name="connsiteX8" fmla="*/ 177743 w 298726"/>
                <a:gd name="connsiteY8" fmla="*/ 104554 h 164299"/>
                <a:gd name="connsiteX9" fmla="*/ 146376 w 298726"/>
                <a:gd name="connsiteY9" fmla="*/ 177742 h 164299"/>
                <a:gd name="connsiteX10" fmla="*/ 125465 w 298726"/>
                <a:gd name="connsiteY10" fmla="*/ 176249 h 164299"/>
                <a:gd name="connsiteX11" fmla="*/ 134427 w 298726"/>
                <a:gd name="connsiteY11" fmla="*/ 100073 h 164299"/>
                <a:gd name="connsiteX12" fmla="*/ 2987 w 298726"/>
                <a:gd name="connsiteY12" fmla="*/ 106048 h 164299"/>
                <a:gd name="connsiteX13" fmla="*/ 0 w 298726"/>
                <a:gd name="connsiteY13" fmla="*/ 94099 h 164299"/>
                <a:gd name="connsiteX14" fmla="*/ 128453 w 298726"/>
                <a:gd name="connsiteY14" fmla="*/ 76175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8726" h="164299">
                  <a:moveTo>
                    <a:pt x="77669" y="4481"/>
                  </a:moveTo>
                  <a:lnTo>
                    <a:pt x="97086" y="0"/>
                  </a:lnTo>
                  <a:lnTo>
                    <a:pt x="167287" y="64226"/>
                  </a:lnTo>
                  <a:lnTo>
                    <a:pt x="267361" y="14936"/>
                  </a:lnTo>
                  <a:lnTo>
                    <a:pt x="282297" y="23898"/>
                  </a:lnTo>
                  <a:lnTo>
                    <a:pt x="197160" y="82150"/>
                  </a:lnTo>
                  <a:lnTo>
                    <a:pt x="309182" y="122478"/>
                  </a:lnTo>
                  <a:lnTo>
                    <a:pt x="300221" y="132933"/>
                  </a:lnTo>
                  <a:lnTo>
                    <a:pt x="177743" y="104554"/>
                  </a:lnTo>
                  <a:lnTo>
                    <a:pt x="146376" y="177742"/>
                  </a:lnTo>
                  <a:lnTo>
                    <a:pt x="125465" y="176249"/>
                  </a:lnTo>
                  <a:lnTo>
                    <a:pt x="134427" y="100073"/>
                  </a:lnTo>
                  <a:lnTo>
                    <a:pt x="2987" y="106048"/>
                  </a:lnTo>
                  <a:lnTo>
                    <a:pt x="0" y="94099"/>
                  </a:lnTo>
                  <a:lnTo>
                    <a:pt x="128453" y="76175"/>
                  </a:lnTo>
                  <a:close/>
                </a:path>
              </a:pathLst>
            </a:custGeom>
            <a:solidFill>
              <a:srgbClr val="87878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1" name="任意多边形: 形状 460"/>
            <p:cNvSpPr/>
            <p:nvPr/>
          </p:nvSpPr>
          <p:spPr>
            <a:xfrm>
              <a:off x="3158910" y="5364983"/>
              <a:ext cx="27267" cy="13633"/>
            </a:xfrm>
            <a:custGeom>
              <a:avLst/>
              <a:gdLst>
                <a:gd name="connsiteX0" fmla="*/ 38835 w 29872"/>
                <a:gd name="connsiteY0" fmla="*/ 10455 h 14936"/>
                <a:gd name="connsiteX1" fmla="*/ 19417 w 29872"/>
                <a:gd name="connsiteY1" fmla="*/ 20911 h 14936"/>
                <a:gd name="connsiteX2" fmla="*/ 0 w 29872"/>
                <a:gd name="connsiteY2" fmla="*/ 10455 h 14936"/>
                <a:gd name="connsiteX3" fmla="*/ 19417 w 29872"/>
                <a:gd name="connsiteY3" fmla="*/ 0 h 14936"/>
                <a:gd name="connsiteX4" fmla="*/ 38835 w 29872"/>
                <a:gd name="connsiteY4" fmla="*/ 10455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72" h="14936">
                  <a:moveTo>
                    <a:pt x="38835" y="10455"/>
                  </a:moveTo>
                  <a:cubicBezTo>
                    <a:pt x="38835" y="16230"/>
                    <a:pt x="30141" y="20911"/>
                    <a:pt x="19417" y="20911"/>
                  </a:cubicBezTo>
                  <a:cubicBezTo>
                    <a:pt x="8693" y="20911"/>
                    <a:pt x="0" y="16230"/>
                    <a:pt x="0" y="10455"/>
                  </a:cubicBezTo>
                  <a:cubicBezTo>
                    <a:pt x="0" y="4681"/>
                    <a:pt x="8693" y="0"/>
                    <a:pt x="19417" y="0"/>
                  </a:cubicBezTo>
                  <a:cubicBezTo>
                    <a:pt x="30141" y="0"/>
                    <a:pt x="38835" y="4681"/>
                    <a:pt x="38835" y="10455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2" name="任意多边形: 形状 461"/>
            <p:cNvSpPr/>
            <p:nvPr/>
          </p:nvSpPr>
          <p:spPr>
            <a:xfrm>
              <a:off x="3158910" y="5260005"/>
              <a:ext cx="27267" cy="109068"/>
            </a:xfrm>
            <a:custGeom>
              <a:avLst/>
              <a:gdLst>
                <a:gd name="connsiteX0" fmla="*/ 0 w 29872"/>
                <a:gd name="connsiteY0" fmla="*/ 0 h 119490"/>
                <a:gd name="connsiteX1" fmla="*/ 38835 w 29872"/>
                <a:gd name="connsiteY1" fmla="*/ 0 h 119490"/>
                <a:gd name="connsiteX2" fmla="*/ 38835 w 29872"/>
                <a:gd name="connsiteY2" fmla="*/ 123971 h 119490"/>
                <a:gd name="connsiteX3" fmla="*/ 0 w 29872"/>
                <a:gd name="connsiteY3" fmla="*/ 123971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19490">
                  <a:moveTo>
                    <a:pt x="0" y="0"/>
                  </a:moveTo>
                  <a:lnTo>
                    <a:pt x="38835" y="0"/>
                  </a:lnTo>
                  <a:lnTo>
                    <a:pt x="38835" y="123971"/>
                  </a:lnTo>
                  <a:lnTo>
                    <a:pt x="0" y="123971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3" name="任意多边形: 形状 462"/>
            <p:cNvSpPr/>
            <p:nvPr/>
          </p:nvSpPr>
          <p:spPr>
            <a:xfrm>
              <a:off x="3165727" y="5106794"/>
              <a:ext cx="163602" cy="122701"/>
            </a:xfrm>
            <a:custGeom>
              <a:avLst/>
              <a:gdLst>
                <a:gd name="connsiteX0" fmla="*/ 13443 w 179236"/>
                <a:gd name="connsiteY0" fmla="*/ 51349 h 134427"/>
                <a:gd name="connsiteX1" fmla="*/ 165794 w 179236"/>
                <a:gd name="connsiteY1" fmla="*/ 139473 h 134427"/>
                <a:gd name="connsiteX2" fmla="*/ 179236 w 179236"/>
                <a:gd name="connsiteY2" fmla="*/ 132005 h 134427"/>
                <a:gd name="connsiteX3" fmla="*/ 179236 w 179236"/>
                <a:gd name="connsiteY3" fmla="*/ 132005 h 134427"/>
                <a:gd name="connsiteX4" fmla="*/ 149363 w 179236"/>
                <a:gd name="connsiteY4" fmla="*/ 81221 h 134427"/>
                <a:gd name="connsiteX5" fmla="*/ 13443 w 179236"/>
                <a:gd name="connsiteY5" fmla="*/ 2059 h 134427"/>
                <a:gd name="connsiteX6" fmla="*/ 0 w 179236"/>
                <a:gd name="connsiteY6" fmla="*/ 9527 h 134427"/>
                <a:gd name="connsiteX7" fmla="*/ 0 w 179236"/>
                <a:gd name="connsiteY7" fmla="*/ 28944 h 134427"/>
                <a:gd name="connsiteX8" fmla="*/ 13443 w 179236"/>
                <a:gd name="connsiteY8" fmla="*/ 51349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9236" h="134427">
                  <a:moveTo>
                    <a:pt x="13443" y="51349"/>
                  </a:moveTo>
                  <a:lnTo>
                    <a:pt x="165794" y="139473"/>
                  </a:lnTo>
                  <a:cubicBezTo>
                    <a:pt x="173262" y="143954"/>
                    <a:pt x="179236" y="140967"/>
                    <a:pt x="179236" y="132005"/>
                  </a:cubicBezTo>
                  <a:lnTo>
                    <a:pt x="179236" y="132005"/>
                  </a:lnTo>
                  <a:cubicBezTo>
                    <a:pt x="179236" y="112588"/>
                    <a:pt x="165794" y="90183"/>
                    <a:pt x="149363" y="81221"/>
                  </a:cubicBezTo>
                  <a:lnTo>
                    <a:pt x="13443" y="2059"/>
                  </a:lnTo>
                  <a:cubicBezTo>
                    <a:pt x="5975" y="-2422"/>
                    <a:pt x="0" y="565"/>
                    <a:pt x="0" y="9527"/>
                  </a:cubicBezTo>
                  <a:lnTo>
                    <a:pt x="0" y="28944"/>
                  </a:lnTo>
                  <a:cubicBezTo>
                    <a:pt x="0" y="37906"/>
                    <a:pt x="5975" y="46868"/>
                    <a:pt x="13443" y="51349"/>
                  </a:cubicBezTo>
                  <a:close/>
                </a:path>
              </a:pathLst>
            </a:custGeom>
            <a:solidFill>
              <a:srgbClr val="00597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4" name="任意多边形: 形状 463"/>
            <p:cNvSpPr/>
            <p:nvPr/>
          </p:nvSpPr>
          <p:spPr>
            <a:xfrm>
              <a:off x="3041662" y="5107311"/>
              <a:ext cx="272670" cy="190869"/>
            </a:xfrm>
            <a:custGeom>
              <a:avLst/>
              <a:gdLst>
                <a:gd name="connsiteX0" fmla="*/ 171768 w 298726"/>
                <a:gd name="connsiteY0" fmla="*/ 221058 h 209108"/>
                <a:gd name="connsiteX1" fmla="*/ 312169 w 298726"/>
                <a:gd name="connsiteY1" fmla="*/ 138908 h 209108"/>
                <a:gd name="connsiteX2" fmla="*/ 140402 w 298726"/>
                <a:gd name="connsiteY2" fmla="*/ 0 h 209108"/>
                <a:gd name="connsiteX3" fmla="*/ 0 w 298726"/>
                <a:gd name="connsiteY3" fmla="*/ 82150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6" h="209108">
                  <a:moveTo>
                    <a:pt x="171768" y="221058"/>
                  </a:moveTo>
                  <a:lnTo>
                    <a:pt x="312169" y="138908"/>
                  </a:lnTo>
                  <a:lnTo>
                    <a:pt x="140402" y="0"/>
                  </a:lnTo>
                  <a:lnTo>
                    <a:pt x="0" y="82150"/>
                  </a:lnTo>
                  <a:close/>
                </a:path>
              </a:pathLst>
            </a:custGeom>
            <a:solidFill>
              <a:srgbClr val="00597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5" name="任意多边形: 形状 464"/>
            <p:cNvSpPr/>
            <p:nvPr/>
          </p:nvSpPr>
          <p:spPr>
            <a:xfrm>
              <a:off x="3037572" y="5180416"/>
              <a:ext cx="163602" cy="122701"/>
            </a:xfrm>
            <a:custGeom>
              <a:avLst/>
              <a:gdLst>
                <a:gd name="connsiteX0" fmla="*/ 13443 w 179236"/>
                <a:gd name="connsiteY0" fmla="*/ 51349 h 134427"/>
                <a:gd name="connsiteX1" fmla="*/ 165793 w 179236"/>
                <a:gd name="connsiteY1" fmla="*/ 139473 h 134427"/>
                <a:gd name="connsiteX2" fmla="*/ 179236 w 179236"/>
                <a:gd name="connsiteY2" fmla="*/ 132005 h 134427"/>
                <a:gd name="connsiteX3" fmla="*/ 179236 w 179236"/>
                <a:gd name="connsiteY3" fmla="*/ 132005 h 134427"/>
                <a:gd name="connsiteX4" fmla="*/ 149363 w 179236"/>
                <a:gd name="connsiteY4" fmla="*/ 81221 h 134427"/>
                <a:gd name="connsiteX5" fmla="*/ 13443 w 179236"/>
                <a:gd name="connsiteY5" fmla="*/ 2059 h 134427"/>
                <a:gd name="connsiteX6" fmla="*/ 0 w 179236"/>
                <a:gd name="connsiteY6" fmla="*/ 9527 h 134427"/>
                <a:gd name="connsiteX7" fmla="*/ 0 w 179236"/>
                <a:gd name="connsiteY7" fmla="*/ 28944 h 134427"/>
                <a:gd name="connsiteX8" fmla="*/ 13443 w 179236"/>
                <a:gd name="connsiteY8" fmla="*/ 51349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9236" h="134427">
                  <a:moveTo>
                    <a:pt x="13443" y="51349"/>
                  </a:moveTo>
                  <a:lnTo>
                    <a:pt x="165793" y="139473"/>
                  </a:lnTo>
                  <a:cubicBezTo>
                    <a:pt x="173261" y="143954"/>
                    <a:pt x="179236" y="140967"/>
                    <a:pt x="179236" y="132005"/>
                  </a:cubicBezTo>
                  <a:lnTo>
                    <a:pt x="179236" y="132005"/>
                  </a:lnTo>
                  <a:cubicBezTo>
                    <a:pt x="179236" y="112588"/>
                    <a:pt x="165793" y="90183"/>
                    <a:pt x="149363" y="81221"/>
                  </a:cubicBezTo>
                  <a:lnTo>
                    <a:pt x="13443" y="2059"/>
                  </a:lnTo>
                  <a:cubicBezTo>
                    <a:pt x="5974" y="-2422"/>
                    <a:pt x="0" y="565"/>
                    <a:pt x="0" y="9527"/>
                  </a:cubicBezTo>
                  <a:lnTo>
                    <a:pt x="0" y="28944"/>
                  </a:lnTo>
                  <a:cubicBezTo>
                    <a:pt x="1493" y="37906"/>
                    <a:pt x="7468" y="46868"/>
                    <a:pt x="13443" y="51349"/>
                  </a:cubicBez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6" name="任意多边形: 形状 465"/>
            <p:cNvSpPr/>
            <p:nvPr/>
          </p:nvSpPr>
          <p:spPr>
            <a:xfrm>
              <a:off x="2980312" y="5095126"/>
              <a:ext cx="245403" cy="122701"/>
            </a:xfrm>
            <a:custGeom>
              <a:avLst/>
              <a:gdLst>
                <a:gd name="connsiteX0" fmla="*/ 0 w 268854"/>
                <a:gd name="connsiteY0" fmla="*/ 64132 h 134427"/>
                <a:gd name="connsiteX1" fmla="*/ 46303 w 268854"/>
                <a:gd name="connsiteY1" fmla="*/ 92511 h 134427"/>
                <a:gd name="connsiteX2" fmla="*/ 79162 w 268854"/>
                <a:gd name="connsiteY2" fmla="*/ 89524 h 134427"/>
                <a:gd name="connsiteX3" fmla="*/ 234501 w 268854"/>
                <a:gd name="connsiteY3" fmla="*/ 147776 h 134427"/>
                <a:gd name="connsiteX4" fmla="*/ 274829 w 268854"/>
                <a:gd name="connsiteY4" fmla="*/ 50690 h 134427"/>
                <a:gd name="connsiteX5" fmla="*/ 35847 w 268854"/>
                <a:gd name="connsiteY5" fmla="*/ 4387 h 134427"/>
                <a:gd name="connsiteX6" fmla="*/ 0 w 268854"/>
                <a:gd name="connsiteY6" fmla="*/ 64132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8854" h="134427">
                  <a:moveTo>
                    <a:pt x="0" y="64132"/>
                  </a:moveTo>
                  <a:lnTo>
                    <a:pt x="46303" y="92511"/>
                  </a:lnTo>
                  <a:lnTo>
                    <a:pt x="79162" y="89524"/>
                  </a:lnTo>
                  <a:lnTo>
                    <a:pt x="234501" y="147776"/>
                  </a:lnTo>
                  <a:cubicBezTo>
                    <a:pt x="244956" y="141801"/>
                    <a:pt x="274829" y="50690"/>
                    <a:pt x="274829" y="50690"/>
                  </a:cubicBezTo>
                  <a:cubicBezTo>
                    <a:pt x="231513" y="73094"/>
                    <a:pt x="89618" y="-21005"/>
                    <a:pt x="35847" y="4387"/>
                  </a:cubicBezTo>
                  <a:cubicBezTo>
                    <a:pt x="0" y="19323"/>
                    <a:pt x="0" y="40234"/>
                    <a:pt x="0" y="64132"/>
                  </a:cubicBezTo>
                  <a:close/>
                </a:path>
              </a:pathLst>
            </a:custGeom>
            <a:solidFill>
              <a:srgbClr val="AB987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7" name="任意多边形: 形状 466"/>
            <p:cNvSpPr/>
            <p:nvPr/>
          </p:nvSpPr>
          <p:spPr>
            <a:xfrm>
              <a:off x="2741726" y="5047323"/>
              <a:ext cx="13633" cy="259037"/>
            </a:xfrm>
            <a:custGeom>
              <a:avLst/>
              <a:gdLst>
                <a:gd name="connsiteX0" fmla="*/ 17924 w 14936"/>
                <a:gd name="connsiteY0" fmla="*/ 288272 h 283790"/>
                <a:gd name="connsiteX1" fmla="*/ 0 w 14936"/>
                <a:gd name="connsiteY1" fmla="*/ 277816 h 283790"/>
                <a:gd name="connsiteX2" fmla="*/ 0 w 14936"/>
                <a:gd name="connsiteY2" fmla="*/ 0 h 283790"/>
                <a:gd name="connsiteX3" fmla="*/ 17924 w 14936"/>
                <a:gd name="connsiteY3" fmla="*/ 10456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283790">
                  <a:moveTo>
                    <a:pt x="17924" y="288272"/>
                  </a:moveTo>
                  <a:lnTo>
                    <a:pt x="0" y="277816"/>
                  </a:lnTo>
                  <a:lnTo>
                    <a:pt x="0" y="0"/>
                  </a:lnTo>
                  <a:lnTo>
                    <a:pt x="17924" y="10456"/>
                  </a:lnTo>
                  <a:close/>
                </a:path>
              </a:pathLst>
            </a:custGeom>
            <a:solidFill>
              <a:srgbClr val="897E6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8" name="任意多边形: 形状 467"/>
            <p:cNvSpPr/>
            <p:nvPr/>
          </p:nvSpPr>
          <p:spPr>
            <a:xfrm>
              <a:off x="2758085" y="5047323"/>
              <a:ext cx="13633" cy="259037"/>
            </a:xfrm>
            <a:custGeom>
              <a:avLst/>
              <a:gdLst>
                <a:gd name="connsiteX0" fmla="*/ 17924 w 14936"/>
                <a:gd name="connsiteY0" fmla="*/ 277816 h 283790"/>
                <a:gd name="connsiteX1" fmla="*/ 0 w 14936"/>
                <a:gd name="connsiteY1" fmla="*/ 288272 h 283790"/>
                <a:gd name="connsiteX2" fmla="*/ 0 w 14936"/>
                <a:gd name="connsiteY2" fmla="*/ 10456 h 283790"/>
                <a:gd name="connsiteX3" fmla="*/ 17924 w 14936"/>
                <a:gd name="connsiteY3" fmla="*/ 0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283790">
                  <a:moveTo>
                    <a:pt x="17924" y="277816"/>
                  </a:moveTo>
                  <a:lnTo>
                    <a:pt x="0" y="288272"/>
                  </a:lnTo>
                  <a:lnTo>
                    <a:pt x="0" y="10456"/>
                  </a:lnTo>
                  <a:lnTo>
                    <a:pt x="17924" y="0"/>
                  </a:lnTo>
                  <a:close/>
                </a:path>
              </a:pathLst>
            </a:custGeom>
            <a:solidFill>
              <a:srgbClr val="6E645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9" name="任意多边形: 形状 468"/>
            <p:cNvSpPr/>
            <p:nvPr/>
          </p:nvSpPr>
          <p:spPr>
            <a:xfrm>
              <a:off x="3235257" y="4998243"/>
              <a:ext cx="13633" cy="259037"/>
            </a:xfrm>
            <a:custGeom>
              <a:avLst/>
              <a:gdLst>
                <a:gd name="connsiteX0" fmla="*/ 17924 w 14936"/>
                <a:gd name="connsiteY0" fmla="*/ 286778 h 283790"/>
                <a:gd name="connsiteX1" fmla="*/ 0 w 14936"/>
                <a:gd name="connsiteY1" fmla="*/ 276322 h 283790"/>
                <a:gd name="connsiteX2" fmla="*/ 0 w 14936"/>
                <a:gd name="connsiteY2" fmla="*/ 0 h 283790"/>
                <a:gd name="connsiteX3" fmla="*/ 17924 w 14936"/>
                <a:gd name="connsiteY3" fmla="*/ 10455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283790">
                  <a:moveTo>
                    <a:pt x="17924" y="286778"/>
                  </a:moveTo>
                  <a:lnTo>
                    <a:pt x="0" y="276322"/>
                  </a:lnTo>
                  <a:lnTo>
                    <a:pt x="0" y="0"/>
                  </a:lnTo>
                  <a:lnTo>
                    <a:pt x="17924" y="10455"/>
                  </a:lnTo>
                  <a:close/>
                </a:path>
              </a:pathLst>
            </a:custGeom>
            <a:solidFill>
              <a:srgbClr val="897E6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0" name="任意多边形: 形状 469"/>
            <p:cNvSpPr/>
            <p:nvPr/>
          </p:nvSpPr>
          <p:spPr>
            <a:xfrm>
              <a:off x="3251618" y="4998243"/>
              <a:ext cx="13633" cy="259037"/>
            </a:xfrm>
            <a:custGeom>
              <a:avLst/>
              <a:gdLst>
                <a:gd name="connsiteX0" fmla="*/ 17924 w 14936"/>
                <a:gd name="connsiteY0" fmla="*/ 276322 h 283790"/>
                <a:gd name="connsiteX1" fmla="*/ 0 w 14936"/>
                <a:gd name="connsiteY1" fmla="*/ 286778 h 283790"/>
                <a:gd name="connsiteX2" fmla="*/ 0 w 14936"/>
                <a:gd name="connsiteY2" fmla="*/ 10455 h 283790"/>
                <a:gd name="connsiteX3" fmla="*/ 17924 w 14936"/>
                <a:gd name="connsiteY3" fmla="*/ 0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283790">
                  <a:moveTo>
                    <a:pt x="17924" y="276322"/>
                  </a:moveTo>
                  <a:lnTo>
                    <a:pt x="0" y="286778"/>
                  </a:lnTo>
                  <a:lnTo>
                    <a:pt x="0" y="10455"/>
                  </a:lnTo>
                  <a:lnTo>
                    <a:pt x="17924" y="0"/>
                  </a:lnTo>
                  <a:close/>
                </a:path>
              </a:pathLst>
            </a:custGeom>
            <a:solidFill>
              <a:srgbClr val="6E645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1" name="任意多边形: 形状 470"/>
            <p:cNvSpPr/>
            <p:nvPr/>
          </p:nvSpPr>
          <p:spPr>
            <a:xfrm>
              <a:off x="2733545" y="4837368"/>
              <a:ext cx="545340" cy="313570"/>
            </a:xfrm>
            <a:custGeom>
              <a:avLst/>
              <a:gdLst>
                <a:gd name="connsiteX0" fmla="*/ 597454 w 597453"/>
                <a:gd name="connsiteY0" fmla="*/ 144883 h 343535"/>
                <a:gd name="connsiteX1" fmla="*/ 252424 w 597453"/>
                <a:gd name="connsiteY1" fmla="*/ 345030 h 343535"/>
                <a:gd name="connsiteX2" fmla="*/ 0 w 597453"/>
                <a:gd name="connsiteY2" fmla="*/ 200147 h 343535"/>
                <a:gd name="connsiteX3" fmla="*/ 345030 w 597453"/>
                <a:gd name="connsiteY3" fmla="*/ 0 h 34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3" h="343535">
                  <a:moveTo>
                    <a:pt x="597454" y="144883"/>
                  </a:moveTo>
                  <a:lnTo>
                    <a:pt x="252424" y="345030"/>
                  </a:lnTo>
                  <a:lnTo>
                    <a:pt x="0" y="200147"/>
                  </a:lnTo>
                  <a:lnTo>
                    <a:pt x="345030" y="0"/>
                  </a:lnTo>
                  <a:close/>
                </a:path>
              </a:pathLst>
            </a:custGeom>
            <a:solidFill>
              <a:srgbClr val="6B604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2" name="任意多边形: 形状 471"/>
            <p:cNvSpPr/>
            <p:nvPr/>
          </p:nvSpPr>
          <p:spPr>
            <a:xfrm>
              <a:off x="2733545" y="5020056"/>
              <a:ext cx="218135" cy="149969"/>
            </a:xfrm>
            <a:custGeom>
              <a:avLst/>
              <a:gdLst>
                <a:gd name="connsiteX0" fmla="*/ 252424 w 238981"/>
                <a:gd name="connsiteY0" fmla="*/ 170275 h 164299"/>
                <a:gd name="connsiteX1" fmla="*/ 0 w 238981"/>
                <a:gd name="connsiteY1" fmla="*/ 25392 h 164299"/>
                <a:gd name="connsiteX2" fmla="*/ 0 w 238981"/>
                <a:gd name="connsiteY2" fmla="*/ 0 h 164299"/>
                <a:gd name="connsiteX3" fmla="*/ 252424 w 238981"/>
                <a:gd name="connsiteY3" fmla="*/ 144883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981" h="164299">
                  <a:moveTo>
                    <a:pt x="252424" y="170275"/>
                  </a:moveTo>
                  <a:lnTo>
                    <a:pt x="0" y="25392"/>
                  </a:lnTo>
                  <a:lnTo>
                    <a:pt x="0" y="0"/>
                  </a:lnTo>
                  <a:lnTo>
                    <a:pt x="252424" y="144883"/>
                  </a:lnTo>
                  <a:close/>
                </a:path>
              </a:pathLst>
            </a:custGeom>
            <a:solidFill>
              <a:srgbClr val="9A8E7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3" name="任意多边形: 形状 472"/>
            <p:cNvSpPr/>
            <p:nvPr/>
          </p:nvSpPr>
          <p:spPr>
            <a:xfrm>
              <a:off x="2963951" y="4969612"/>
              <a:ext cx="313570" cy="204502"/>
            </a:xfrm>
            <a:custGeom>
              <a:avLst/>
              <a:gdLst>
                <a:gd name="connsiteX0" fmla="*/ 345030 w 343535"/>
                <a:gd name="connsiteY0" fmla="*/ 25392 h 224045"/>
                <a:gd name="connsiteX1" fmla="*/ 0 w 343535"/>
                <a:gd name="connsiteY1" fmla="*/ 225539 h 224045"/>
                <a:gd name="connsiteX2" fmla="*/ 0 w 343535"/>
                <a:gd name="connsiteY2" fmla="*/ 200147 h 224045"/>
                <a:gd name="connsiteX3" fmla="*/ 345030 w 343535"/>
                <a:gd name="connsiteY3" fmla="*/ 0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535" h="224045">
                  <a:moveTo>
                    <a:pt x="345030" y="25392"/>
                  </a:moveTo>
                  <a:lnTo>
                    <a:pt x="0" y="225539"/>
                  </a:lnTo>
                  <a:lnTo>
                    <a:pt x="0" y="200147"/>
                  </a:lnTo>
                  <a:lnTo>
                    <a:pt x="345030" y="0"/>
                  </a:lnTo>
                  <a:close/>
                </a:path>
              </a:pathLst>
            </a:custGeom>
            <a:solidFill>
              <a:srgbClr val="7F74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4" name="任意多边形: 形状 473"/>
            <p:cNvSpPr/>
            <p:nvPr/>
          </p:nvSpPr>
          <p:spPr>
            <a:xfrm>
              <a:off x="2733545" y="5020056"/>
              <a:ext cx="218135" cy="149969"/>
            </a:xfrm>
            <a:custGeom>
              <a:avLst/>
              <a:gdLst>
                <a:gd name="connsiteX0" fmla="*/ 252424 w 238981"/>
                <a:gd name="connsiteY0" fmla="*/ 170275 h 164299"/>
                <a:gd name="connsiteX1" fmla="*/ 0 w 238981"/>
                <a:gd name="connsiteY1" fmla="*/ 25392 h 164299"/>
                <a:gd name="connsiteX2" fmla="*/ 0 w 238981"/>
                <a:gd name="connsiteY2" fmla="*/ 0 h 164299"/>
                <a:gd name="connsiteX3" fmla="*/ 252424 w 238981"/>
                <a:gd name="connsiteY3" fmla="*/ 144883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981" h="164299">
                  <a:moveTo>
                    <a:pt x="252424" y="170275"/>
                  </a:moveTo>
                  <a:lnTo>
                    <a:pt x="0" y="25392"/>
                  </a:lnTo>
                  <a:lnTo>
                    <a:pt x="0" y="0"/>
                  </a:lnTo>
                  <a:lnTo>
                    <a:pt x="252424" y="144883"/>
                  </a:lnTo>
                  <a:close/>
                </a:path>
              </a:pathLst>
            </a:custGeom>
            <a:solidFill>
              <a:srgbClr val="9A8E7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5" name="任意多边形: 形状 474"/>
            <p:cNvSpPr/>
            <p:nvPr/>
          </p:nvSpPr>
          <p:spPr>
            <a:xfrm>
              <a:off x="2963951" y="5175478"/>
              <a:ext cx="13633" cy="27267"/>
            </a:xfrm>
            <a:custGeom>
              <a:avLst/>
              <a:gdLst>
                <a:gd name="connsiteX0" fmla="*/ 0 w 0"/>
                <a:gd name="connsiteY0" fmla="*/ 0 h 29872"/>
                <a:gd name="connsiteX1" fmla="*/ 0 w 0"/>
                <a:gd name="connsiteY1" fmla="*/ 0 h 29872"/>
                <a:gd name="connsiteX2" fmla="*/ 0 w 0"/>
                <a:gd name="connsiteY2" fmla="*/ 43315 h 29872"/>
                <a:gd name="connsiteX3" fmla="*/ 0 w 0"/>
                <a:gd name="connsiteY3" fmla="*/ 43315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9872">
                  <a:moveTo>
                    <a:pt x="0" y="0"/>
                  </a:moveTo>
                  <a:lnTo>
                    <a:pt x="0" y="0"/>
                  </a:lnTo>
                  <a:lnTo>
                    <a:pt x="0" y="43315"/>
                  </a:lnTo>
                  <a:lnTo>
                    <a:pt x="0" y="43315"/>
                  </a:lnTo>
                  <a:close/>
                </a:path>
              </a:pathLst>
            </a:custGeom>
            <a:solidFill>
              <a:srgbClr val="897E6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6" name="任意多边形: 形状 475"/>
            <p:cNvSpPr/>
            <p:nvPr/>
          </p:nvSpPr>
          <p:spPr>
            <a:xfrm>
              <a:off x="2764902" y="5060957"/>
              <a:ext cx="177235" cy="136334"/>
            </a:xfrm>
            <a:custGeom>
              <a:avLst/>
              <a:gdLst>
                <a:gd name="connsiteX0" fmla="*/ 0 w 194172"/>
                <a:gd name="connsiteY0" fmla="*/ 0 h 149363"/>
                <a:gd name="connsiteX1" fmla="*/ 0 w 194172"/>
                <a:gd name="connsiteY1" fmla="*/ 43316 h 149363"/>
                <a:gd name="connsiteX2" fmla="*/ 200147 w 194172"/>
                <a:gd name="connsiteY2" fmla="*/ 158325 h 149363"/>
                <a:gd name="connsiteX3" fmla="*/ 200147 w 194172"/>
                <a:gd name="connsiteY3" fmla="*/ 115010 h 14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172" h="149363">
                  <a:moveTo>
                    <a:pt x="0" y="0"/>
                  </a:moveTo>
                  <a:lnTo>
                    <a:pt x="0" y="43316"/>
                  </a:lnTo>
                  <a:lnTo>
                    <a:pt x="200147" y="158325"/>
                  </a:lnTo>
                  <a:lnTo>
                    <a:pt x="200147" y="115010"/>
                  </a:lnTo>
                  <a:close/>
                </a:path>
              </a:pathLst>
            </a:custGeom>
            <a:solidFill>
              <a:srgbClr val="7A705E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7" name="任意多边形: 形状 476"/>
            <p:cNvSpPr/>
            <p:nvPr/>
          </p:nvSpPr>
          <p:spPr>
            <a:xfrm>
              <a:off x="2980312" y="5010512"/>
              <a:ext cx="259037" cy="190869"/>
            </a:xfrm>
            <a:custGeom>
              <a:avLst/>
              <a:gdLst>
                <a:gd name="connsiteX0" fmla="*/ 292752 w 283790"/>
                <a:gd name="connsiteY0" fmla="*/ 0 h 209108"/>
                <a:gd name="connsiteX1" fmla="*/ 292752 w 283790"/>
                <a:gd name="connsiteY1" fmla="*/ 43315 h 209108"/>
                <a:gd name="connsiteX2" fmla="*/ 0 w 283790"/>
                <a:gd name="connsiteY2" fmla="*/ 213590 h 209108"/>
                <a:gd name="connsiteX3" fmla="*/ 0 w 283790"/>
                <a:gd name="connsiteY3" fmla="*/ 170274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790" h="209108">
                  <a:moveTo>
                    <a:pt x="292752" y="0"/>
                  </a:moveTo>
                  <a:lnTo>
                    <a:pt x="292752" y="43315"/>
                  </a:lnTo>
                  <a:lnTo>
                    <a:pt x="0" y="213590"/>
                  </a:lnTo>
                  <a:lnTo>
                    <a:pt x="0" y="170274"/>
                  </a:lnTo>
                  <a:close/>
                </a:path>
              </a:pathLst>
            </a:custGeom>
            <a:solidFill>
              <a:srgbClr val="6B604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8" name="任意多边形: 形状 477"/>
            <p:cNvSpPr/>
            <p:nvPr/>
          </p:nvSpPr>
          <p:spPr>
            <a:xfrm>
              <a:off x="2947591" y="5165935"/>
              <a:ext cx="13633" cy="259037"/>
            </a:xfrm>
            <a:custGeom>
              <a:avLst/>
              <a:gdLst>
                <a:gd name="connsiteX0" fmla="*/ 17924 w 14936"/>
                <a:gd name="connsiteY0" fmla="*/ 10456 h 283790"/>
                <a:gd name="connsiteX1" fmla="*/ 0 w 14936"/>
                <a:gd name="connsiteY1" fmla="*/ 0 h 283790"/>
                <a:gd name="connsiteX2" fmla="*/ 0 w 14936"/>
                <a:gd name="connsiteY2" fmla="*/ 0 h 283790"/>
                <a:gd name="connsiteX3" fmla="*/ 0 w 14936"/>
                <a:gd name="connsiteY3" fmla="*/ 43315 h 283790"/>
                <a:gd name="connsiteX4" fmla="*/ 0 w 14936"/>
                <a:gd name="connsiteY4" fmla="*/ 277816 h 283790"/>
                <a:gd name="connsiteX5" fmla="*/ 17924 w 14936"/>
                <a:gd name="connsiteY5" fmla="*/ 288271 h 283790"/>
                <a:gd name="connsiteX6" fmla="*/ 17924 w 14936"/>
                <a:gd name="connsiteY6" fmla="*/ 53771 h 283790"/>
                <a:gd name="connsiteX7" fmla="*/ 17924 w 14936"/>
                <a:gd name="connsiteY7" fmla="*/ 10456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36" h="283790">
                  <a:moveTo>
                    <a:pt x="17924" y="1045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43315"/>
                  </a:lnTo>
                  <a:lnTo>
                    <a:pt x="0" y="277816"/>
                  </a:lnTo>
                  <a:lnTo>
                    <a:pt x="17924" y="288271"/>
                  </a:lnTo>
                  <a:lnTo>
                    <a:pt x="17924" y="53771"/>
                  </a:lnTo>
                  <a:lnTo>
                    <a:pt x="17924" y="10456"/>
                  </a:lnTo>
                  <a:close/>
                </a:path>
              </a:pathLst>
            </a:custGeom>
            <a:solidFill>
              <a:srgbClr val="897E6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9" name="任意多边形: 形状 478"/>
            <p:cNvSpPr/>
            <p:nvPr/>
          </p:nvSpPr>
          <p:spPr>
            <a:xfrm>
              <a:off x="2963951" y="5165935"/>
              <a:ext cx="13633" cy="259037"/>
            </a:xfrm>
            <a:custGeom>
              <a:avLst/>
              <a:gdLst>
                <a:gd name="connsiteX0" fmla="*/ 17924 w 14936"/>
                <a:gd name="connsiteY0" fmla="*/ 0 h 283790"/>
                <a:gd name="connsiteX1" fmla="*/ 0 w 14936"/>
                <a:gd name="connsiteY1" fmla="*/ 10456 h 283790"/>
                <a:gd name="connsiteX2" fmla="*/ 0 w 14936"/>
                <a:gd name="connsiteY2" fmla="*/ 10456 h 283790"/>
                <a:gd name="connsiteX3" fmla="*/ 0 w 14936"/>
                <a:gd name="connsiteY3" fmla="*/ 53771 h 283790"/>
                <a:gd name="connsiteX4" fmla="*/ 0 w 14936"/>
                <a:gd name="connsiteY4" fmla="*/ 288271 h 283790"/>
                <a:gd name="connsiteX5" fmla="*/ 17924 w 14936"/>
                <a:gd name="connsiteY5" fmla="*/ 277816 h 283790"/>
                <a:gd name="connsiteX6" fmla="*/ 17924 w 14936"/>
                <a:gd name="connsiteY6" fmla="*/ 64226 h 283790"/>
                <a:gd name="connsiteX7" fmla="*/ 17924 w 14936"/>
                <a:gd name="connsiteY7" fmla="*/ 20911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36" h="283790">
                  <a:moveTo>
                    <a:pt x="17924" y="0"/>
                  </a:moveTo>
                  <a:lnTo>
                    <a:pt x="0" y="10456"/>
                  </a:lnTo>
                  <a:lnTo>
                    <a:pt x="0" y="10456"/>
                  </a:lnTo>
                  <a:lnTo>
                    <a:pt x="0" y="53771"/>
                  </a:lnTo>
                  <a:lnTo>
                    <a:pt x="0" y="288271"/>
                  </a:lnTo>
                  <a:lnTo>
                    <a:pt x="17924" y="277816"/>
                  </a:lnTo>
                  <a:lnTo>
                    <a:pt x="17924" y="64226"/>
                  </a:lnTo>
                  <a:lnTo>
                    <a:pt x="17924" y="20911"/>
                  </a:lnTo>
                  <a:close/>
                </a:path>
              </a:pathLst>
            </a:custGeom>
            <a:solidFill>
              <a:srgbClr val="6E645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0" name="任意多边形: 形状 479"/>
            <p:cNvSpPr/>
            <p:nvPr/>
          </p:nvSpPr>
          <p:spPr>
            <a:xfrm>
              <a:off x="3103013" y="4870142"/>
              <a:ext cx="163602" cy="286303"/>
            </a:xfrm>
            <a:custGeom>
              <a:avLst/>
              <a:gdLst>
                <a:gd name="connsiteX0" fmla="*/ 28379 w 179236"/>
                <a:gd name="connsiteY0" fmla="*/ 310616 h 313663"/>
                <a:gd name="connsiteX1" fmla="*/ 186704 w 179236"/>
                <a:gd name="connsiteY1" fmla="*/ 273275 h 313663"/>
                <a:gd name="connsiteX2" fmla="*/ 173261 w 179236"/>
                <a:gd name="connsiteY2" fmla="*/ 76115 h 313663"/>
                <a:gd name="connsiteX3" fmla="*/ 171768 w 179236"/>
                <a:gd name="connsiteY3" fmla="*/ 56698 h 313663"/>
                <a:gd name="connsiteX4" fmla="*/ 171768 w 179236"/>
                <a:gd name="connsiteY4" fmla="*/ 56698 h 313663"/>
                <a:gd name="connsiteX5" fmla="*/ 67214 w 179236"/>
                <a:gd name="connsiteY5" fmla="*/ 11889 h 313663"/>
                <a:gd name="connsiteX6" fmla="*/ 0 w 179236"/>
                <a:gd name="connsiteY6" fmla="*/ 80596 h 313663"/>
                <a:gd name="connsiteX7" fmla="*/ 28379 w 179236"/>
                <a:gd name="connsiteY7" fmla="*/ 310616 h 313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313663">
                  <a:moveTo>
                    <a:pt x="28379" y="310616"/>
                  </a:moveTo>
                  <a:cubicBezTo>
                    <a:pt x="56758" y="350944"/>
                    <a:pt x="188198" y="306135"/>
                    <a:pt x="186704" y="273275"/>
                  </a:cubicBezTo>
                  <a:lnTo>
                    <a:pt x="173261" y="76115"/>
                  </a:lnTo>
                  <a:cubicBezTo>
                    <a:pt x="173261" y="68647"/>
                    <a:pt x="171768" y="62672"/>
                    <a:pt x="171768" y="56698"/>
                  </a:cubicBezTo>
                  <a:cubicBezTo>
                    <a:pt x="171768" y="56698"/>
                    <a:pt x="171768" y="56698"/>
                    <a:pt x="171768" y="56698"/>
                  </a:cubicBezTo>
                  <a:cubicBezTo>
                    <a:pt x="161312" y="8901"/>
                    <a:pt x="113516" y="-16490"/>
                    <a:pt x="67214" y="11889"/>
                  </a:cubicBezTo>
                  <a:cubicBezTo>
                    <a:pt x="40328" y="28319"/>
                    <a:pt x="11949" y="50723"/>
                    <a:pt x="0" y="80596"/>
                  </a:cubicBezTo>
                  <a:cubicBezTo>
                    <a:pt x="0" y="79102"/>
                    <a:pt x="26885" y="303148"/>
                    <a:pt x="28379" y="310616"/>
                  </a:cubicBezTo>
                  <a:close/>
                </a:path>
              </a:pathLst>
            </a:custGeom>
            <a:solidFill>
              <a:srgbClr val="254C6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1" name="任意多边形: 形状 480"/>
            <p:cNvSpPr/>
            <p:nvPr/>
          </p:nvSpPr>
          <p:spPr>
            <a:xfrm>
              <a:off x="3097559" y="4760897"/>
              <a:ext cx="68168" cy="122701"/>
            </a:xfrm>
            <a:custGeom>
              <a:avLst/>
              <a:gdLst>
                <a:gd name="connsiteX0" fmla="*/ 86631 w 74681"/>
                <a:gd name="connsiteY0" fmla="*/ 59880 h 134427"/>
                <a:gd name="connsiteX1" fmla="*/ 88125 w 74681"/>
                <a:gd name="connsiteY1" fmla="*/ 89753 h 134427"/>
                <a:gd name="connsiteX2" fmla="*/ 79163 w 74681"/>
                <a:gd name="connsiteY2" fmla="*/ 118132 h 134427"/>
                <a:gd name="connsiteX3" fmla="*/ 52277 w 74681"/>
                <a:gd name="connsiteY3" fmla="*/ 136055 h 134427"/>
                <a:gd name="connsiteX4" fmla="*/ 41822 w 74681"/>
                <a:gd name="connsiteY4" fmla="*/ 137549 h 134427"/>
                <a:gd name="connsiteX5" fmla="*/ 31366 w 74681"/>
                <a:gd name="connsiteY5" fmla="*/ 134562 h 134427"/>
                <a:gd name="connsiteX6" fmla="*/ 20911 w 74681"/>
                <a:gd name="connsiteY6" fmla="*/ 122613 h 134427"/>
                <a:gd name="connsiteX7" fmla="*/ 20911 w 74681"/>
                <a:gd name="connsiteY7" fmla="*/ 122613 h 134427"/>
                <a:gd name="connsiteX8" fmla="*/ 19417 w 74681"/>
                <a:gd name="connsiteY8" fmla="*/ 119625 h 134427"/>
                <a:gd name="connsiteX9" fmla="*/ 0 w 74681"/>
                <a:gd name="connsiteY9" fmla="*/ 38969 h 134427"/>
                <a:gd name="connsiteX10" fmla="*/ 0 w 74681"/>
                <a:gd name="connsiteY10" fmla="*/ 27020 h 134427"/>
                <a:gd name="connsiteX11" fmla="*/ 23898 w 74681"/>
                <a:gd name="connsiteY11" fmla="*/ 1628 h 134427"/>
                <a:gd name="connsiteX12" fmla="*/ 59745 w 74681"/>
                <a:gd name="connsiteY12" fmla="*/ 3122 h 134427"/>
                <a:gd name="connsiteX13" fmla="*/ 68707 w 74681"/>
                <a:gd name="connsiteY13" fmla="*/ 7603 h 134427"/>
                <a:gd name="connsiteX14" fmla="*/ 76175 w 74681"/>
                <a:gd name="connsiteY14" fmla="*/ 13578 h 134427"/>
                <a:gd name="connsiteX15" fmla="*/ 86631 w 74681"/>
                <a:gd name="connsiteY15" fmla="*/ 59880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4681" h="134427">
                  <a:moveTo>
                    <a:pt x="86631" y="59880"/>
                  </a:moveTo>
                  <a:cubicBezTo>
                    <a:pt x="88125" y="70335"/>
                    <a:pt x="88125" y="79297"/>
                    <a:pt x="88125" y="89753"/>
                  </a:cubicBezTo>
                  <a:cubicBezTo>
                    <a:pt x="88125" y="100208"/>
                    <a:pt x="85137" y="109170"/>
                    <a:pt x="79163" y="118132"/>
                  </a:cubicBezTo>
                  <a:cubicBezTo>
                    <a:pt x="73188" y="127093"/>
                    <a:pt x="62733" y="133068"/>
                    <a:pt x="52277" y="136055"/>
                  </a:cubicBezTo>
                  <a:cubicBezTo>
                    <a:pt x="49290" y="137549"/>
                    <a:pt x="44809" y="137549"/>
                    <a:pt x="41822" y="137549"/>
                  </a:cubicBezTo>
                  <a:cubicBezTo>
                    <a:pt x="38835" y="137549"/>
                    <a:pt x="34354" y="137549"/>
                    <a:pt x="31366" y="134562"/>
                  </a:cubicBezTo>
                  <a:cubicBezTo>
                    <a:pt x="26885" y="131575"/>
                    <a:pt x="23898" y="127093"/>
                    <a:pt x="20911" y="122613"/>
                  </a:cubicBezTo>
                  <a:cubicBezTo>
                    <a:pt x="20911" y="122613"/>
                    <a:pt x="20911" y="122613"/>
                    <a:pt x="20911" y="122613"/>
                  </a:cubicBezTo>
                  <a:cubicBezTo>
                    <a:pt x="20911" y="121119"/>
                    <a:pt x="19417" y="121119"/>
                    <a:pt x="19417" y="119625"/>
                  </a:cubicBezTo>
                  <a:cubicBezTo>
                    <a:pt x="7468" y="94234"/>
                    <a:pt x="1494" y="67348"/>
                    <a:pt x="0" y="38969"/>
                  </a:cubicBezTo>
                  <a:cubicBezTo>
                    <a:pt x="0" y="34488"/>
                    <a:pt x="0" y="30007"/>
                    <a:pt x="0" y="27020"/>
                  </a:cubicBezTo>
                  <a:cubicBezTo>
                    <a:pt x="1494" y="15071"/>
                    <a:pt x="11949" y="6109"/>
                    <a:pt x="23898" y="1628"/>
                  </a:cubicBezTo>
                  <a:cubicBezTo>
                    <a:pt x="35847" y="-1359"/>
                    <a:pt x="47796" y="134"/>
                    <a:pt x="59745" y="3122"/>
                  </a:cubicBezTo>
                  <a:cubicBezTo>
                    <a:pt x="62733" y="4616"/>
                    <a:pt x="65720" y="4616"/>
                    <a:pt x="68707" y="7603"/>
                  </a:cubicBezTo>
                  <a:cubicBezTo>
                    <a:pt x="71694" y="9096"/>
                    <a:pt x="73188" y="12084"/>
                    <a:pt x="76175" y="13578"/>
                  </a:cubicBezTo>
                  <a:cubicBezTo>
                    <a:pt x="79163" y="15071"/>
                    <a:pt x="83644" y="44944"/>
                    <a:pt x="86631" y="5988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2" name="任意多边形: 形状 481"/>
            <p:cNvSpPr/>
            <p:nvPr/>
          </p:nvSpPr>
          <p:spPr>
            <a:xfrm>
              <a:off x="3116646" y="4841458"/>
              <a:ext cx="27267" cy="40900"/>
            </a:xfrm>
            <a:custGeom>
              <a:avLst/>
              <a:gdLst>
                <a:gd name="connsiteX0" fmla="*/ 29873 w 29872"/>
                <a:gd name="connsiteY0" fmla="*/ 22405 h 44809"/>
                <a:gd name="connsiteX1" fmla="*/ 32860 w 29872"/>
                <a:gd name="connsiteY1" fmla="*/ 40328 h 44809"/>
                <a:gd name="connsiteX2" fmla="*/ 32860 w 29872"/>
                <a:gd name="connsiteY2" fmla="*/ 44809 h 44809"/>
                <a:gd name="connsiteX3" fmla="*/ 31366 w 29872"/>
                <a:gd name="connsiteY3" fmla="*/ 46302 h 44809"/>
                <a:gd name="connsiteX4" fmla="*/ 20911 w 29872"/>
                <a:gd name="connsiteY4" fmla="*/ 47796 h 44809"/>
                <a:gd name="connsiteX5" fmla="*/ 10455 w 29872"/>
                <a:gd name="connsiteY5" fmla="*/ 44809 h 44809"/>
                <a:gd name="connsiteX6" fmla="*/ 0 w 29872"/>
                <a:gd name="connsiteY6" fmla="*/ 32860 h 44809"/>
                <a:gd name="connsiteX7" fmla="*/ 0 w 29872"/>
                <a:gd name="connsiteY7" fmla="*/ 32860 h 44809"/>
                <a:gd name="connsiteX8" fmla="*/ 16430 w 29872"/>
                <a:gd name="connsiteY8" fmla="*/ 0 h 44809"/>
                <a:gd name="connsiteX9" fmla="*/ 29873 w 29872"/>
                <a:gd name="connsiteY9" fmla="*/ 22405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872" h="44809">
                  <a:moveTo>
                    <a:pt x="29873" y="22405"/>
                  </a:moveTo>
                  <a:cubicBezTo>
                    <a:pt x="31366" y="28379"/>
                    <a:pt x="31366" y="34353"/>
                    <a:pt x="32860" y="40328"/>
                  </a:cubicBezTo>
                  <a:cubicBezTo>
                    <a:pt x="32860" y="41822"/>
                    <a:pt x="32860" y="43315"/>
                    <a:pt x="32860" y="44809"/>
                  </a:cubicBezTo>
                  <a:cubicBezTo>
                    <a:pt x="32860" y="44809"/>
                    <a:pt x="32860" y="46302"/>
                    <a:pt x="31366" y="46302"/>
                  </a:cubicBezTo>
                  <a:cubicBezTo>
                    <a:pt x="28379" y="47796"/>
                    <a:pt x="23898" y="47796"/>
                    <a:pt x="20911" y="47796"/>
                  </a:cubicBezTo>
                  <a:cubicBezTo>
                    <a:pt x="17924" y="47796"/>
                    <a:pt x="13443" y="47796"/>
                    <a:pt x="10455" y="44809"/>
                  </a:cubicBezTo>
                  <a:cubicBezTo>
                    <a:pt x="5974" y="41822"/>
                    <a:pt x="2987" y="37341"/>
                    <a:pt x="0" y="32860"/>
                  </a:cubicBezTo>
                  <a:cubicBezTo>
                    <a:pt x="0" y="32860"/>
                    <a:pt x="0" y="32860"/>
                    <a:pt x="0" y="32860"/>
                  </a:cubicBezTo>
                  <a:cubicBezTo>
                    <a:pt x="13443" y="41822"/>
                    <a:pt x="17924" y="31366"/>
                    <a:pt x="16430" y="0"/>
                  </a:cubicBezTo>
                  <a:cubicBezTo>
                    <a:pt x="20911" y="14936"/>
                    <a:pt x="26885" y="8961"/>
                    <a:pt x="29873" y="22405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3" name="任意多边形: 形状 482"/>
            <p:cNvSpPr/>
            <p:nvPr/>
          </p:nvSpPr>
          <p:spPr>
            <a:xfrm>
              <a:off x="3128553" y="4808430"/>
              <a:ext cx="68168" cy="81801"/>
            </a:xfrm>
            <a:custGeom>
              <a:avLst/>
              <a:gdLst>
                <a:gd name="connsiteX0" fmla="*/ 0 w 74681"/>
                <a:gd name="connsiteY0" fmla="*/ 10801 h 89618"/>
                <a:gd name="connsiteX1" fmla="*/ 67855 w 74681"/>
                <a:gd name="connsiteY1" fmla="*/ 0 h 89618"/>
                <a:gd name="connsiteX2" fmla="*/ 81708 w 74681"/>
                <a:gd name="connsiteY2" fmla="*/ 87032 h 89618"/>
                <a:gd name="connsiteX3" fmla="*/ 13853 w 74681"/>
                <a:gd name="connsiteY3" fmla="*/ 97832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89618">
                  <a:moveTo>
                    <a:pt x="0" y="10801"/>
                  </a:moveTo>
                  <a:lnTo>
                    <a:pt x="67855" y="0"/>
                  </a:lnTo>
                  <a:lnTo>
                    <a:pt x="81708" y="87032"/>
                  </a:lnTo>
                  <a:lnTo>
                    <a:pt x="13853" y="97832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4" name="任意多边形: 形状 483"/>
            <p:cNvSpPr/>
            <p:nvPr/>
          </p:nvSpPr>
          <p:spPr>
            <a:xfrm>
              <a:off x="3140732" y="4872298"/>
              <a:ext cx="54534" cy="27267"/>
            </a:xfrm>
            <a:custGeom>
              <a:avLst/>
              <a:gdLst>
                <a:gd name="connsiteX0" fmla="*/ 55762 w 59745"/>
                <a:gd name="connsiteY0" fmla="*/ 2059 h 29872"/>
                <a:gd name="connsiteX1" fmla="*/ 60243 w 59745"/>
                <a:gd name="connsiteY1" fmla="*/ 30438 h 29872"/>
                <a:gd name="connsiteX2" fmla="*/ 12447 w 59745"/>
                <a:gd name="connsiteY2" fmla="*/ 37906 h 29872"/>
                <a:gd name="connsiteX3" fmla="*/ 7966 w 59745"/>
                <a:gd name="connsiteY3" fmla="*/ 9527 h 29872"/>
                <a:gd name="connsiteX4" fmla="*/ 55762 w 59745"/>
                <a:gd name="connsiteY4" fmla="*/ 2059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45" h="29872">
                  <a:moveTo>
                    <a:pt x="55762" y="2059"/>
                  </a:moveTo>
                  <a:cubicBezTo>
                    <a:pt x="70699" y="8033"/>
                    <a:pt x="72192" y="19982"/>
                    <a:pt x="60243" y="30438"/>
                  </a:cubicBezTo>
                  <a:cubicBezTo>
                    <a:pt x="48294" y="40893"/>
                    <a:pt x="27383" y="43880"/>
                    <a:pt x="12447" y="37906"/>
                  </a:cubicBezTo>
                  <a:cubicBezTo>
                    <a:pt x="-2489" y="31931"/>
                    <a:pt x="-3983" y="19982"/>
                    <a:pt x="7966" y="9527"/>
                  </a:cubicBezTo>
                  <a:cubicBezTo>
                    <a:pt x="19915" y="565"/>
                    <a:pt x="40826" y="-2422"/>
                    <a:pt x="55762" y="205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5" name="任意多边形: 形状 484"/>
            <p:cNvSpPr/>
            <p:nvPr/>
          </p:nvSpPr>
          <p:spPr>
            <a:xfrm>
              <a:off x="3091330" y="4746008"/>
              <a:ext cx="109068" cy="136334"/>
            </a:xfrm>
            <a:custGeom>
              <a:avLst/>
              <a:gdLst>
                <a:gd name="connsiteX0" fmla="*/ 21761 w 119490"/>
                <a:gd name="connsiteY0" fmla="*/ 61255 h 149363"/>
                <a:gd name="connsiteX1" fmla="*/ 41178 w 119490"/>
                <a:gd name="connsiteY1" fmla="*/ 86647 h 149363"/>
                <a:gd name="connsiteX2" fmla="*/ 47152 w 119490"/>
                <a:gd name="connsiteY2" fmla="*/ 121001 h 149363"/>
                <a:gd name="connsiteX3" fmla="*/ 66570 w 119490"/>
                <a:gd name="connsiteY3" fmla="*/ 147887 h 149363"/>
                <a:gd name="connsiteX4" fmla="*/ 90468 w 119490"/>
                <a:gd name="connsiteY4" fmla="*/ 147887 h 149363"/>
                <a:gd name="connsiteX5" fmla="*/ 117353 w 119490"/>
                <a:gd name="connsiteY5" fmla="*/ 132950 h 149363"/>
                <a:gd name="connsiteX6" fmla="*/ 57608 w 119490"/>
                <a:gd name="connsiteY6" fmla="*/ 17 h 149363"/>
                <a:gd name="connsiteX7" fmla="*/ 5331 w 119490"/>
                <a:gd name="connsiteY7" fmla="*/ 53787 h 149363"/>
                <a:gd name="connsiteX8" fmla="*/ 21761 w 119490"/>
                <a:gd name="connsiteY8" fmla="*/ 61255 h 14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9490" h="149363">
                  <a:moveTo>
                    <a:pt x="21761" y="61255"/>
                  </a:moveTo>
                  <a:cubicBezTo>
                    <a:pt x="32216" y="65737"/>
                    <a:pt x="38191" y="76192"/>
                    <a:pt x="41178" y="86647"/>
                  </a:cubicBezTo>
                  <a:cubicBezTo>
                    <a:pt x="44165" y="98596"/>
                    <a:pt x="44165" y="109052"/>
                    <a:pt x="47152" y="121001"/>
                  </a:cubicBezTo>
                  <a:cubicBezTo>
                    <a:pt x="50140" y="132950"/>
                    <a:pt x="56114" y="143405"/>
                    <a:pt x="66570" y="147887"/>
                  </a:cubicBezTo>
                  <a:cubicBezTo>
                    <a:pt x="74038" y="150873"/>
                    <a:pt x="83000" y="149380"/>
                    <a:pt x="90468" y="147887"/>
                  </a:cubicBezTo>
                  <a:cubicBezTo>
                    <a:pt x="100923" y="146393"/>
                    <a:pt x="114366" y="143405"/>
                    <a:pt x="117353" y="132950"/>
                  </a:cubicBezTo>
                  <a:cubicBezTo>
                    <a:pt x="150213" y="-4464"/>
                    <a:pt x="66570" y="17"/>
                    <a:pt x="57608" y="17"/>
                  </a:cubicBezTo>
                  <a:cubicBezTo>
                    <a:pt x="23254" y="3004"/>
                    <a:pt x="-14087" y="29889"/>
                    <a:pt x="5331" y="53787"/>
                  </a:cubicBezTo>
                  <a:cubicBezTo>
                    <a:pt x="9811" y="58268"/>
                    <a:pt x="17280" y="59762"/>
                    <a:pt x="21761" y="61255"/>
                  </a:cubicBezTo>
                  <a:close/>
                </a:path>
              </a:pathLst>
            </a:custGeom>
            <a:solidFill>
              <a:srgbClr val="F3920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6" name="任意多边形: 形状 485"/>
            <p:cNvSpPr/>
            <p:nvPr/>
          </p:nvSpPr>
          <p:spPr>
            <a:xfrm>
              <a:off x="3124826" y="4817746"/>
              <a:ext cx="13633" cy="27267"/>
            </a:xfrm>
            <a:custGeom>
              <a:avLst/>
              <a:gdLst>
                <a:gd name="connsiteX0" fmla="*/ 5975 w 14936"/>
                <a:gd name="connsiteY0" fmla="*/ 586 h 29872"/>
                <a:gd name="connsiteX1" fmla="*/ 0 w 14936"/>
                <a:gd name="connsiteY1" fmla="*/ 8054 h 29872"/>
                <a:gd name="connsiteX2" fmla="*/ 1494 w 14936"/>
                <a:gd name="connsiteY2" fmla="*/ 21497 h 29872"/>
                <a:gd name="connsiteX3" fmla="*/ 7468 w 14936"/>
                <a:gd name="connsiteY3" fmla="*/ 36433 h 29872"/>
                <a:gd name="connsiteX4" fmla="*/ 10455 w 14936"/>
                <a:gd name="connsiteY4" fmla="*/ 39421 h 29872"/>
                <a:gd name="connsiteX5" fmla="*/ 16430 w 14936"/>
                <a:gd name="connsiteY5" fmla="*/ 36433 h 29872"/>
                <a:gd name="connsiteX6" fmla="*/ 17924 w 14936"/>
                <a:gd name="connsiteY6" fmla="*/ 30459 h 29872"/>
                <a:gd name="connsiteX7" fmla="*/ 16430 w 14936"/>
                <a:gd name="connsiteY7" fmla="*/ 11042 h 29872"/>
                <a:gd name="connsiteX8" fmla="*/ 13443 w 14936"/>
                <a:gd name="connsiteY8" fmla="*/ 3573 h 29872"/>
                <a:gd name="connsiteX9" fmla="*/ 5975 w 14936"/>
                <a:gd name="connsiteY9" fmla="*/ 586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5975" y="586"/>
                  </a:moveTo>
                  <a:cubicBezTo>
                    <a:pt x="2987" y="586"/>
                    <a:pt x="0" y="5067"/>
                    <a:pt x="0" y="8054"/>
                  </a:cubicBezTo>
                  <a:cubicBezTo>
                    <a:pt x="0" y="12535"/>
                    <a:pt x="0" y="17016"/>
                    <a:pt x="1494" y="21497"/>
                  </a:cubicBezTo>
                  <a:cubicBezTo>
                    <a:pt x="2987" y="27471"/>
                    <a:pt x="2987" y="31952"/>
                    <a:pt x="7468" y="36433"/>
                  </a:cubicBezTo>
                  <a:cubicBezTo>
                    <a:pt x="8962" y="37927"/>
                    <a:pt x="8962" y="39421"/>
                    <a:pt x="10455" y="39421"/>
                  </a:cubicBezTo>
                  <a:cubicBezTo>
                    <a:pt x="13443" y="39421"/>
                    <a:pt x="14936" y="37927"/>
                    <a:pt x="16430" y="36433"/>
                  </a:cubicBezTo>
                  <a:cubicBezTo>
                    <a:pt x="17924" y="34939"/>
                    <a:pt x="17924" y="31952"/>
                    <a:pt x="17924" y="30459"/>
                  </a:cubicBezTo>
                  <a:cubicBezTo>
                    <a:pt x="17924" y="24484"/>
                    <a:pt x="17924" y="17016"/>
                    <a:pt x="16430" y="11042"/>
                  </a:cubicBezTo>
                  <a:cubicBezTo>
                    <a:pt x="16430" y="8054"/>
                    <a:pt x="14936" y="6560"/>
                    <a:pt x="13443" y="3573"/>
                  </a:cubicBezTo>
                  <a:cubicBezTo>
                    <a:pt x="11949" y="586"/>
                    <a:pt x="8962" y="-908"/>
                    <a:pt x="5975" y="586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7" name="任意多边形: 形状 486"/>
            <p:cNvSpPr/>
            <p:nvPr/>
          </p:nvSpPr>
          <p:spPr>
            <a:xfrm>
              <a:off x="3312614" y="4961171"/>
              <a:ext cx="54534" cy="259037"/>
            </a:xfrm>
            <a:custGeom>
              <a:avLst/>
              <a:gdLst>
                <a:gd name="connsiteX0" fmla="*/ 34742 w 59745"/>
                <a:gd name="connsiteY0" fmla="*/ 284077 h 283790"/>
                <a:gd name="connsiteX1" fmla="*/ 67602 w 59745"/>
                <a:gd name="connsiteY1" fmla="*/ 22691 h 283790"/>
                <a:gd name="connsiteX2" fmla="*/ 60134 w 59745"/>
                <a:gd name="connsiteY2" fmla="*/ 6261 h 283790"/>
                <a:gd name="connsiteX3" fmla="*/ 43704 w 59745"/>
                <a:gd name="connsiteY3" fmla="*/ 286 h 283790"/>
                <a:gd name="connsiteX4" fmla="*/ 33248 w 59745"/>
                <a:gd name="connsiteY4" fmla="*/ 10742 h 283790"/>
                <a:gd name="connsiteX5" fmla="*/ 389 w 59745"/>
                <a:gd name="connsiteY5" fmla="*/ 267647 h 283790"/>
                <a:gd name="connsiteX6" fmla="*/ 6363 w 59745"/>
                <a:gd name="connsiteY6" fmla="*/ 282583 h 283790"/>
                <a:gd name="connsiteX7" fmla="*/ 22793 w 59745"/>
                <a:gd name="connsiteY7" fmla="*/ 293039 h 283790"/>
                <a:gd name="connsiteX8" fmla="*/ 34742 w 59745"/>
                <a:gd name="connsiteY8" fmla="*/ 284077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83790">
                  <a:moveTo>
                    <a:pt x="34742" y="284077"/>
                  </a:moveTo>
                  <a:lnTo>
                    <a:pt x="67602" y="22691"/>
                  </a:lnTo>
                  <a:cubicBezTo>
                    <a:pt x="69096" y="15223"/>
                    <a:pt x="66108" y="9248"/>
                    <a:pt x="60134" y="6261"/>
                  </a:cubicBezTo>
                  <a:lnTo>
                    <a:pt x="43704" y="286"/>
                  </a:lnTo>
                  <a:cubicBezTo>
                    <a:pt x="39223" y="-1208"/>
                    <a:pt x="33248" y="3274"/>
                    <a:pt x="33248" y="10742"/>
                  </a:cubicBezTo>
                  <a:lnTo>
                    <a:pt x="389" y="267647"/>
                  </a:lnTo>
                  <a:cubicBezTo>
                    <a:pt x="-1105" y="273621"/>
                    <a:pt x="1882" y="279596"/>
                    <a:pt x="6363" y="282583"/>
                  </a:cubicBezTo>
                  <a:lnTo>
                    <a:pt x="22793" y="293039"/>
                  </a:lnTo>
                  <a:cubicBezTo>
                    <a:pt x="27274" y="297519"/>
                    <a:pt x="33248" y="293039"/>
                    <a:pt x="34742" y="284077"/>
                  </a:cubicBezTo>
                  <a:close/>
                </a:path>
              </a:pathLst>
            </a:custGeom>
            <a:solidFill>
              <a:srgbClr val="00597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8" name="任意多边形: 形状 487"/>
            <p:cNvSpPr/>
            <p:nvPr/>
          </p:nvSpPr>
          <p:spPr>
            <a:xfrm>
              <a:off x="3199811" y="4962795"/>
              <a:ext cx="136334" cy="340838"/>
            </a:xfrm>
            <a:custGeom>
              <a:avLst/>
              <a:gdLst>
                <a:gd name="connsiteX0" fmla="*/ 10455 w 149363"/>
                <a:gd name="connsiteY0" fmla="*/ 88124 h 373408"/>
                <a:gd name="connsiteX1" fmla="*/ 161313 w 149363"/>
                <a:gd name="connsiteY1" fmla="*/ 0 h 373408"/>
                <a:gd name="connsiteX2" fmla="*/ 152351 w 149363"/>
                <a:gd name="connsiteY2" fmla="*/ 292752 h 373408"/>
                <a:gd name="connsiteX3" fmla="*/ 0 w 149363"/>
                <a:gd name="connsiteY3" fmla="*/ 380877 h 37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3" h="373408">
                  <a:moveTo>
                    <a:pt x="10455" y="88124"/>
                  </a:moveTo>
                  <a:lnTo>
                    <a:pt x="161313" y="0"/>
                  </a:lnTo>
                  <a:lnTo>
                    <a:pt x="152351" y="292752"/>
                  </a:lnTo>
                  <a:lnTo>
                    <a:pt x="0" y="380877"/>
                  </a:lnTo>
                  <a:close/>
                </a:path>
              </a:pathLst>
            </a:custGeom>
            <a:solidFill>
              <a:srgbClr val="00597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9" name="任意多边形: 形状 488"/>
            <p:cNvSpPr/>
            <p:nvPr/>
          </p:nvSpPr>
          <p:spPr>
            <a:xfrm>
              <a:off x="3172189" y="5042971"/>
              <a:ext cx="54534" cy="259037"/>
            </a:xfrm>
            <a:custGeom>
              <a:avLst/>
              <a:gdLst>
                <a:gd name="connsiteX0" fmla="*/ 34742 w 59745"/>
                <a:gd name="connsiteY0" fmla="*/ 284077 h 283790"/>
                <a:gd name="connsiteX1" fmla="*/ 67602 w 59745"/>
                <a:gd name="connsiteY1" fmla="*/ 22691 h 283790"/>
                <a:gd name="connsiteX2" fmla="*/ 60134 w 59745"/>
                <a:gd name="connsiteY2" fmla="*/ 6261 h 283790"/>
                <a:gd name="connsiteX3" fmla="*/ 43704 w 59745"/>
                <a:gd name="connsiteY3" fmla="*/ 286 h 283790"/>
                <a:gd name="connsiteX4" fmla="*/ 33248 w 59745"/>
                <a:gd name="connsiteY4" fmla="*/ 10742 h 283790"/>
                <a:gd name="connsiteX5" fmla="*/ 388 w 59745"/>
                <a:gd name="connsiteY5" fmla="*/ 267647 h 283790"/>
                <a:gd name="connsiteX6" fmla="*/ 6363 w 59745"/>
                <a:gd name="connsiteY6" fmla="*/ 282583 h 283790"/>
                <a:gd name="connsiteX7" fmla="*/ 22793 w 59745"/>
                <a:gd name="connsiteY7" fmla="*/ 293039 h 283790"/>
                <a:gd name="connsiteX8" fmla="*/ 34742 w 59745"/>
                <a:gd name="connsiteY8" fmla="*/ 284077 h 28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83790">
                  <a:moveTo>
                    <a:pt x="34742" y="284077"/>
                  </a:moveTo>
                  <a:lnTo>
                    <a:pt x="67602" y="22691"/>
                  </a:lnTo>
                  <a:cubicBezTo>
                    <a:pt x="69096" y="15223"/>
                    <a:pt x="66109" y="9248"/>
                    <a:pt x="60134" y="6261"/>
                  </a:cubicBezTo>
                  <a:lnTo>
                    <a:pt x="43704" y="286"/>
                  </a:lnTo>
                  <a:cubicBezTo>
                    <a:pt x="39223" y="-1208"/>
                    <a:pt x="33248" y="3274"/>
                    <a:pt x="33248" y="10742"/>
                  </a:cubicBezTo>
                  <a:lnTo>
                    <a:pt x="388" y="267647"/>
                  </a:lnTo>
                  <a:cubicBezTo>
                    <a:pt x="-1105" y="273621"/>
                    <a:pt x="1882" y="279596"/>
                    <a:pt x="6363" y="282583"/>
                  </a:cubicBezTo>
                  <a:lnTo>
                    <a:pt x="22793" y="293039"/>
                  </a:lnTo>
                  <a:cubicBezTo>
                    <a:pt x="28768" y="296026"/>
                    <a:pt x="34742" y="291545"/>
                    <a:pt x="34742" y="284077"/>
                  </a:cubicBezTo>
                  <a:close/>
                </a:path>
              </a:pathLst>
            </a:custGeom>
            <a:solidFill>
              <a:srgbClr val="006A85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0" name="任意多边形: 形状 489"/>
            <p:cNvSpPr/>
            <p:nvPr/>
          </p:nvSpPr>
          <p:spPr>
            <a:xfrm>
              <a:off x="2914870" y="4970976"/>
              <a:ext cx="177235" cy="68168"/>
            </a:xfrm>
            <a:custGeom>
              <a:avLst/>
              <a:gdLst>
                <a:gd name="connsiteX0" fmla="*/ 206122 w 194172"/>
                <a:gd name="connsiteY0" fmla="*/ 2987 h 74681"/>
                <a:gd name="connsiteX1" fmla="*/ 86631 w 194172"/>
                <a:gd name="connsiteY1" fmla="*/ 71694 h 74681"/>
                <a:gd name="connsiteX2" fmla="*/ 77669 w 194172"/>
                <a:gd name="connsiteY2" fmla="*/ 71694 h 74681"/>
                <a:gd name="connsiteX3" fmla="*/ 1493 w 194172"/>
                <a:gd name="connsiteY3" fmla="*/ 28379 h 74681"/>
                <a:gd name="connsiteX4" fmla="*/ 0 w 194172"/>
                <a:gd name="connsiteY4" fmla="*/ 25392 h 74681"/>
                <a:gd name="connsiteX5" fmla="*/ 0 w 194172"/>
                <a:gd name="connsiteY5" fmla="*/ 25392 h 74681"/>
                <a:gd name="connsiteX6" fmla="*/ 0 w 194172"/>
                <a:gd name="connsiteY6" fmla="*/ 32860 h 74681"/>
                <a:gd name="connsiteX7" fmla="*/ 1493 w 194172"/>
                <a:gd name="connsiteY7" fmla="*/ 35847 h 74681"/>
                <a:gd name="connsiteX8" fmla="*/ 16430 w 194172"/>
                <a:gd name="connsiteY8" fmla="*/ 44809 h 74681"/>
                <a:gd name="connsiteX9" fmla="*/ 17924 w 194172"/>
                <a:gd name="connsiteY9" fmla="*/ 46302 h 74681"/>
                <a:gd name="connsiteX10" fmla="*/ 17924 w 194172"/>
                <a:gd name="connsiteY10" fmla="*/ 46302 h 74681"/>
                <a:gd name="connsiteX11" fmla="*/ 76175 w 194172"/>
                <a:gd name="connsiteY11" fmla="*/ 79162 h 74681"/>
                <a:gd name="connsiteX12" fmla="*/ 80656 w 194172"/>
                <a:gd name="connsiteY12" fmla="*/ 80656 h 74681"/>
                <a:gd name="connsiteX13" fmla="*/ 85137 w 194172"/>
                <a:gd name="connsiteY13" fmla="*/ 79162 h 74681"/>
                <a:gd name="connsiteX14" fmla="*/ 204628 w 194172"/>
                <a:gd name="connsiteY14" fmla="*/ 10455 h 74681"/>
                <a:gd name="connsiteX15" fmla="*/ 206122 w 194172"/>
                <a:gd name="connsiteY15" fmla="*/ 7468 h 74681"/>
                <a:gd name="connsiteX16" fmla="*/ 206122 w 194172"/>
                <a:gd name="connsiteY16" fmla="*/ 7468 h 74681"/>
                <a:gd name="connsiteX17" fmla="*/ 206122 w 194172"/>
                <a:gd name="connsiteY17" fmla="*/ 0 h 74681"/>
                <a:gd name="connsiteX18" fmla="*/ 206122 w 194172"/>
                <a:gd name="connsiteY18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4172" h="74681">
                  <a:moveTo>
                    <a:pt x="206122" y="2987"/>
                  </a:moveTo>
                  <a:lnTo>
                    <a:pt x="86631" y="71694"/>
                  </a:lnTo>
                  <a:cubicBezTo>
                    <a:pt x="83643" y="73188"/>
                    <a:pt x="79163" y="73188"/>
                    <a:pt x="77669" y="71694"/>
                  </a:cubicBezTo>
                  <a:lnTo>
                    <a:pt x="1493" y="28379"/>
                  </a:lnTo>
                  <a:cubicBezTo>
                    <a:pt x="0" y="28379"/>
                    <a:pt x="0" y="26885"/>
                    <a:pt x="0" y="25392"/>
                  </a:cubicBezTo>
                  <a:lnTo>
                    <a:pt x="0" y="25392"/>
                  </a:lnTo>
                  <a:lnTo>
                    <a:pt x="0" y="32860"/>
                  </a:lnTo>
                  <a:cubicBezTo>
                    <a:pt x="0" y="34353"/>
                    <a:pt x="0" y="34353"/>
                    <a:pt x="1493" y="35847"/>
                  </a:cubicBezTo>
                  <a:lnTo>
                    <a:pt x="16430" y="44809"/>
                  </a:lnTo>
                  <a:lnTo>
                    <a:pt x="17924" y="46302"/>
                  </a:lnTo>
                  <a:lnTo>
                    <a:pt x="17924" y="46302"/>
                  </a:lnTo>
                  <a:lnTo>
                    <a:pt x="76175" y="79162"/>
                  </a:lnTo>
                  <a:cubicBezTo>
                    <a:pt x="77669" y="80656"/>
                    <a:pt x="79163" y="80656"/>
                    <a:pt x="80656" y="80656"/>
                  </a:cubicBezTo>
                  <a:cubicBezTo>
                    <a:pt x="82150" y="80656"/>
                    <a:pt x="83643" y="80656"/>
                    <a:pt x="85137" y="79162"/>
                  </a:cubicBezTo>
                  <a:lnTo>
                    <a:pt x="204628" y="10455"/>
                  </a:lnTo>
                  <a:cubicBezTo>
                    <a:pt x="206122" y="8961"/>
                    <a:pt x="206122" y="8961"/>
                    <a:pt x="206122" y="7468"/>
                  </a:cubicBezTo>
                  <a:lnTo>
                    <a:pt x="206122" y="7468"/>
                  </a:lnTo>
                  <a:lnTo>
                    <a:pt x="206122" y="0"/>
                  </a:lnTo>
                  <a:cubicBezTo>
                    <a:pt x="209109" y="0"/>
                    <a:pt x="207615" y="1493"/>
                    <a:pt x="206122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1" name="任意多边形: 形状 490"/>
            <p:cNvSpPr/>
            <p:nvPr/>
          </p:nvSpPr>
          <p:spPr>
            <a:xfrm>
              <a:off x="2914870" y="4927349"/>
              <a:ext cx="177235" cy="109068"/>
            </a:xfrm>
            <a:custGeom>
              <a:avLst/>
              <a:gdLst>
                <a:gd name="connsiteX0" fmla="*/ 1493 w 194172"/>
                <a:gd name="connsiteY0" fmla="*/ 76175 h 119490"/>
                <a:gd name="connsiteX1" fmla="*/ 77669 w 194172"/>
                <a:gd name="connsiteY1" fmla="*/ 119491 h 119490"/>
                <a:gd name="connsiteX2" fmla="*/ 86631 w 194172"/>
                <a:gd name="connsiteY2" fmla="*/ 119491 h 119490"/>
                <a:gd name="connsiteX3" fmla="*/ 206122 w 194172"/>
                <a:gd name="connsiteY3" fmla="*/ 50783 h 119490"/>
                <a:gd name="connsiteX4" fmla="*/ 207615 w 194172"/>
                <a:gd name="connsiteY4" fmla="*/ 47796 h 119490"/>
                <a:gd name="connsiteX5" fmla="*/ 206122 w 194172"/>
                <a:gd name="connsiteY5" fmla="*/ 44809 h 119490"/>
                <a:gd name="connsiteX6" fmla="*/ 129946 w 194172"/>
                <a:gd name="connsiteY6" fmla="*/ 1494 h 119490"/>
                <a:gd name="connsiteX7" fmla="*/ 120984 w 194172"/>
                <a:gd name="connsiteY7" fmla="*/ 1494 h 119490"/>
                <a:gd name="connsiteX8" fmla="*/ 120984 w 194172"/>
                <a:gd name="connsiteY8" fmla="*/ 1494 h 119490"/>
                <a:gd name="connsiteX9" fmla="*/ 122478 w 194172"/>
                <a:gd name="connsiteY9" fmla="*/ 0 h 119490"/>
                <a:gd name="connsiteX10" fmla="*/ 120984 w 194172"/>
                <a:gd name="connsiteY10" fmla="*/ 1494 h 119490"/>
                <a:gd name="connsiteX11" fmla="*/ 119491 w 194172"/>
                <a:gd name="connsiteY11" fmla="*/ 1494 h 119490"/>
                <a:gd name="connsiteX12" fmla="*/ 106048 w 194172"/>
                <a:gd name="connsiteY12" fmla="*/ 8962 h 119490"/>
                <a:gd name="connsiteX13" fmla="*/ 107542 w 194172"/>
                <a:gd name="connsiteY13" fmla="*/ 10456 h 119490"/>
                <a:gd name="connsiteX14" fmla="*/ 95593 w 194172"/>
                <a:gd name="connsiteY14" fmla="*/ 17924 h 119490"/>
                <a:gd name="connsiteX15" fmla="*/ 94099 w 194172"/>
                <a:gd name="connsiteY15" fmla="*/ 16430 h 119490"/>
                <a:gd name="connsiteX16" fmla="*/ 32860 w 194172"/>
                <a:gd name="connsiteY16" fmla="*/ 52277 h 119490"/>
                <a:gd name="connsiteX17" fmla="*/ 34354 w 194172"/>
                <a:gd name="connsiteY17" fmla="*/ 53771 h 119490"/>
                <a:gd name="connsiteX18" fmla="*/ 22405 w 194172"/>
                <a:gd name="connsiteY18" fmla="*/ 61239 h 119490"/>
                <a:gd name="connsiteX19" fmla="*/ 20911 w 194172"/>
                <a:gd name="connsiteY19" fmla="*/ 59745 h 119490"/>
                <a:gd name="connsiteX20" fmla="*/ 1493 w 194172"/>
                <a:gd name="connsiteY20" fmla="*/ 71694 h 119490"/>
                <a:gd name="connsiteX21" fmla="*/ 0 w 194172"/>
                <a:gd name="connsiteY21" fmla="*/ 73188 h 119490"/>
                <a:gd name="connsiteX22" fmla="*/ 0 w 194172"/>
                <a:gd name="connsiteY22" fmla="*/ 74682 h 119490"/>
                <a:gd name="connsiteX23" fmla="*/ 1493 w 194172"/>
                <a:gd name="connsiteY23" fmla="*/ 76175 h 119490"/>
                <a:gd name="connsiteX24" fmla="*/ 123972 w 194172"/>
                <a:gd name="connsiteY24" fmla="*/ 91112 h 119490"/>
                <a:gd name="connsiteX25" fmla="*/ 104554 w 194172"/>
                <a:gd name="connsiteY25" fmla="*/ 80656 h 119490"/>
                <a:gd name="connsiteX26" fmla="*/ 137414 w 194172"/>
                <a:gd name="connsiteY26" fmla="*/ 61239 h 119490"/>
                <a:gd name="connsiteX27" fmla="*/ 156832 w 194172"/>
                <a:gd name="connsiteY27" fmla="*/ 71694 h 119490"/>
                <a:gd name="connsiteX28" fmla="*/ 123972 w 194172"/>
                <a:gd name="connsiteY28" fmla="*/ 91112 h 119490"/>
                <a:gd name="connsiteX29" fmla="*/ 170274 w 194172"/>
                <a:gd name="connsiteY29" fmla="*/ 37341 h 119490"/>
                <a:gd name="connsiteX30" fmla="*/ 155338 w 194172"/>
                <a:gd name="connsiteY30" fmla="*/ 46303 h 119490"/>
                <a:gd name="connsiteX31" fmla="*/ 146376 w 194172"/>
                <a:gd name="connsiteY31" fmla="*/ 52277 h 119490"/>
                <a:gd name="connsiteX32" fmla="*/ 146376 w 194172"/>
                <a:gd name="connsiteY32" fmla="*/ 52277 h 119490"/>
                <a:gd name="connsiteX33" fmla="*/ 144882 w 194172"/>
                <a:gd name="connsiteY33" fmla="*/ 53771 h 119490"/>
                <a:gd name="connsiteX34" fmla="*/ 144882 w 194172"/>
                <a:gd name="connsiteY34" fmla="*/ 53771 h 119490"/>
                <a:gd name="connsiteX35" fmla="*/ 141895 w 194172"/>
                <a:gd name="connsiteY35" fmla="*/ 55265 h 119490"/>
                <a:gd name="connsiteX36" fmla="*/ 134427 w 194172"/>
                <a:gd name="connsiteY36" fmla="*/ 59745 h 119490"/>
                <a:gd name="connsiteX37" fmla="*/ 132933 w 194172"/>
                <a:gd name="connsiteY37" fmla="*/ 59745 h 119490"/>
                <a:gd name="connsiteX38" fmla="*/ 132933 w 194172"/>
                <a:gd name="connsiteY38" fmla="*/ 59745 h 119490"/>
                <a:gd name="connsiteX39" fmla="*/ 120984 w 194172"/>
                <a:gd name="connsiteY39" fmla="*/ 67214 h 119490"/>
                <a:gd name="connsiteX40" fmla="*/ 120984 w 194172"/>
                <a:gd name="connsiteY40" fmla="*/ 67214 h 119490"/>
                <a:gd name="connsiteX41" fmla="*/ 119491 w 194172"/>
                <a:gd name="connsiteY41" fmla="*/ 67214 h 119490"/>
                <a:gd name="connsiteX42" fmla="*/ 92605 w 194172"/>
                <a:gd name="connsiteY42" fmla="*/ 83644 h 119490"/>
                <a:gd name="connsiteX43" fmla="*/ 92605 w 194172"/>
                <a:gd name="connsiteY43" fmla="*/ 83644 h 119490"/>
                <a:gd name="connsiteX44" fmla="*/ 80656 w 194172"/>
                <a:gd name="connsiteY44" fmla="*/ 91112 h 119490"/>
                <a:gd name="connsiteX45" fmla="*/ 80656 w 194172"/>
                <a:gd name="connsiteY45" fmla="*/ 91112 h 119490"/>
                <a:gd name="connsiteX46" fmla="*/ 67214 w 194172"/>
                <a:gd name="connsiteY46" fmla="*/ 98580 h 119490"/>
                <a:gd name="connsiteX47" fmla="*/ 22405 w 194172"/>
                <a:gd name="connsiteY47" fmla="*/ 73188 h 119490"/>
                <a:gd name="connsiteX48" fmla="*/ 22405 w 194172"/>
                <a:gd name="connsiteY48" fmla="*/ 70201 h 119490"/>
                <a:gd name="connsiteX49" fmla="*/ 34354 w 194172"/>
                <a:gd name="connsiteY49" fmla="*/ 62733 h 119490"/>
                <a:gd name="connsiteX50" fmla="*/ 34354 w 194172"/>
                <a:gd name="connsiteY50" fmla="*/ 62733 h 119490"/>
                <a:gd name="connsiteX51" fmla="*/ 35847 w 194172"/>
                <a:gd name="connsiteY51" fmla="*/ 61239 h 119490"/>
                <a:gd name="connsiteX52" fmla="*/ 35847 w 194172"/>
                <a:gd name="connsiteY52" fmla="*/ 61239 h 119490"/>
                <a:gd name="connsiteX53" fmla="*/ 47796 w 194172"/>
                <a:gd name="connsiteY53" fmla="*/ 53771 h 119490"/>
                <a:gd name="connsiteX54" fmla="*/ 47796 w 194172"/>
                <a:gd name="connsiteY54" fmla="*/ 53771 h 119490"/>
                <a:gd name="connsiteX55" fmla="*/ 49290 w 194172"/>
                <a:gd name="connsiteY55" fmla="*/ 52277 h 119490"/>
                <a:gd name="connsiteX56" fmla="*/ 49290 w 194172"/>
                <a:gd name="connsiteY56" fmla="*/ 52277 h 119490"/>
                <a:gd name="connsiteX57" fmla="*/ 61239 w 194172"/>
                <a:gd name="connsiteY57" fmla="*/ 44809 h 119490"/>
                <a:gd name="connsiteX58" fmla="*/ 61239 w 194172"/>
                <a:gd name="connsiteY58" fmla="*/ 44809 h 119490"/>
                <a:gd name="connsiteX59" fmla="*/ 62733 w 194172"/>
                <a:gd name="connsiteY59" fmla="*/ 43315 h 119490"/>
                <a:gd name="connsiteX60" fmla="*/ 62733 w 194172"/>
                <a:gd name="connsiteY60" fmla="*/ 43315 h 119490"/>
                <a:gd name="connsiteX61" fmla="*/ 74682 w 194172"/>
                <a:gd name="connsiteY61" fmla="*/ 35847 h 119490"/>
                <a:gd name="connsiteX62" fmla="*/ 74682 w 194172"/>
                <a:gd name="connsiteY62" fmla="*/ 35847 h 119490"/>
                <a:gd name="connsiteX63" fmla="*/ 76175 w 194172"/>
                <a:gd name="connsiteY63" fmla="*/ 34353 h 119490"/>
                <a:gd name="connsiteX64" fmla="*/ 88124 w 194172"/>
                <a:gd name="connsiteY64" fmla="*/ 28379 h 119490"/>
                <a:gd name="connsiteX65" fmla="*/ 88124 w 194172"/>
                <a:gd name="connsiteY65" fmla="*/ 28379 h 119490"/>
                <a:gd name="connsiteX66" fmla="*/ 89618 w 194172"/>
                <a:gd name="connsiteY66" fmla="*/ 26885 h 119490"/>
                <a:gd name="connsiteX67" fmla="*/ 89618 w 194172"/>
                <a:gd name="connsiteY67" fmla="*/ 26885 h 119490"/>
                <a:gd name="connsiteX68" fmla="*/ 101567 w 194172"/>
                <a:gd name="connsiteY68" fmla="*/ 19417 h 119490"/>
                <a:gd name="connsiteX69" fmla="*/ 101567 w 194172"/>
                <a:gd name="connsiteY69" fmla="*/ 19417 h 119490"/>
                <a:gd name="connsiteX70" fmla="*/ 103061 w 194172"/>
                <a:gd name="connsiteY70" fmla="*/ 17924 h 119490"/>
                <a:gd name="connsiteX71" fmla="*/ 103061 w 194172"/>
                <a:gd name="connsiteY71" fmla="*/ 17924 h 119490"/>
                <a:gd name="connsiteX72" fmla="*/ 115010 w 194172"/>
                <a:gd name="connsiteY72" fmla="*/ 10456 h 119490"/>
                <a:gd name="connsiteX73" fmla="*/ 115010 w 194172"/>
                <a:gd name="connsiteY73" fmla="*/ 10456 h 119490"/>
                <a:gd name="connsiteX74" fmla="*/ 116504 w 194172"/>
                <a:gd name="connsiteY74" fmla="*/ 8962 h 119490"/>
                <a:gd name="connsiteX75" fmla="*/ 116504 w 194172"/>
                <a:gd name="connsiteY75" fmla="*/ 8962 h 119490"/>
                <a:gd name="connsiteX76" fmla="*/ 128452 w 194172"/>
                <a:gd name="connsiteY76" fmla="*/ 1494 h 119490"/>
                <a:gd name="connsiteX77" fmla="*/ 140402 w 194172"/>
                <a:gd name="connsiteY77" fmla="*/ 7468 h 119490"/>
                <a:gd name="connsiteX78" fmla="*/ 140402 w 194172"/>
                <a:gd name="connsiteY78" fmla="*/ 7468 h 119490"/>
                <a:gd name="connsiteX79" fmla="*/ 152351 w 194172"/>
                <a:gd name="connsiteY79" fmla="*/ 13443 h 119490"/>
                <a:gd name="connsiteX80" fmla="*/ 155338 w 194172"/>
                <a:gd name="connsiteY80" fmla="*/ 14936 h 119490"/>
                <a:gd name="connsiteX81" fmla="*/ 162806 w 194172"/>
                <a:gd name="connsiteY81" fmla="*/ 19417 h 119490"/>
                <a:gd name="connsiteX82" fmla="*/ 164300 w 194172"/>
                <a:gd name="connsiteY82" fmla="*/ 20911 h 119490"/>
                <a:gd name="connsiteX83" fmla="*/ 164300 w 194172"/>
                <a:gd name="connsiteY83" fmla="*/ 20911 h 119490"/>
                <a:gd name="connsiteX84" fmla="*/ 174755 w 194172"/>
                <a:gd name="connsiteY84" fmla="*/ 26885 h 119490"/>
                <a:gd name="connsiteX85" fmla="*/ 174755 w 194172"/>
                <a:gd name="connsiteY85" fmla="*/ 37341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194172" h="119490">
                  <a:moveTo>
                    <a:pt x="1493" y="76175"/>
                  </a:moveTo>
                  <a:lnTo>
                    <a:pt x="77669" y="119491"/>
                  </a:lnTo>
                  <a:cubicBezTo>
                    <a:pt x="80656" y="120984"/>
                    <a:pt x="85137" y="120984"/>
                    <a:pt x="86631" y="119491"/>
                  </a:cubicBezTo>
                  <a:lnTo>
                    <a:pt x="206122" y="50783"/>
                  </a:lnTo>
                  <a:cubicBezTo>
                    <a:pt x="207615" y="49290"/>
                    <a:pt x="207615" y="49290"/>
                    <a:pt x="207615" y="47796"/>
                  </a:cubicBezTo>
                  <a:cubicBezTo>
                    <a:pt x="207615" y="46303"/>
                    <a:pt x="207615" y="46303"/>
                    <a:pt x="206122" y="44809"/>
                  </a:cubicBezTo>
                  <a:lnTo>
                    <a:pt x="129946" y="1494"/>
                  </a:lnTo>
                  <a:cubicBezTo>
                    <a:pt x="126959" y="0"/>
                    <a:pt x="122478" y="0"/>
                    <a:pt x="120984" y="1494"/>
                  </a:cubicBezTo>
                  <a:lnTo>
                    <a:pt x="120984" y="1494"/>
                  </a:lnTo>
                  <a:cubicBezTo>
                    <a:pt x="120984" y="1494"/>
                    <a:pt x="122478" y="0"/>
                    <a:pt x="122478" y="0"/>
                  </a:cubicBezTo>
                  <a:cubicBezTo>
                    <a:pt x="122478" y="0"/>
                    <a:pt x="120984" y="1494"/>
                    <a:pt x="120984" y="1494"/>
                  </a:cubicBezTo>
                  <a:cubicBezTo>
                    <a:pt x="120984" y="1494"/>
                    <a:pt x="120984" y="1494"/>
                    <a:pt x="119491" y="1494"/>
                  </a:cubicBezTo>
                  <a:lnTo>
                    <a:pt x="106048" y="8962"/>
                  </a:lnTo>
                  <a:lnTo>
                    <a:pt x="107542" y="10456"/>
                  </a:lnTo>
                  <a:lnTo>
                    <a:pt x="95593" y="17924"/>
                  </a:lnTo>
                  <a:lnTo>
                    <a:pt x="94099" y="16430"/>
                  </a:lnTo>
                  <a:lnTo>
                    <a:pt x="32860" y="52277"/>
                  </a:lnTo>
                  <a:lnTo>
                    <a:pt x="34354" y="53771"/>
                  </a:lnTo>
                  <a:lnTo>
                    <a:pt x="22405" y="61239"/>
                  </a:lnTo>
                  <a:lnTo>
                    <a:pt x="20911" y="59745"/>
                  </a:lnTo>
                  <a:lnTo>
                    <a:pt x="1493" y="71694"/>
                  </a:lnTo>
                  <a:cubicBezTo>
                    <a:pt x="1493" y="71694"/>
                    <a:pt x="0" y="73188"/>
                    <a:pt x="0" y="73188"/>
                  </a:cubicBezTo>
                  <a:cubicBezTo>
                    <a:pt x="0" y="73188"/>
                    <a:pt x="0" y="73188"/>
                    <a:pt x="0" y="74682"/>
                  </a:cubicBezTo>
                  <a:cubicBezTo>
                    <a:pt x="0" y="74682"/>
                    <a:pt x="0" y="74682"/>
                    <a:pt x="1493" y="76175"/>
                  </a:cubicBezTo>
                  <a:close/>
                  <a:moveTo>
                    <a:pt x="123972" y="91112"/>
                  </a:moveTo>
                  <a:lnTo>
                    <a:pt x="104554" y="80656"/>
                  </a:lnTo>
                  <a:lnTo>
                    <a:pt x="137414" y="61239"/>
                  </a:lnTo>
                  <a:lnTo>
                    <a:pt x="156832" y="71694"/>
                  </a:lnTo>
                  <a:lnTo>
                    <a:pt x="123972" y="91112"/>
                  </a:lnTo>
                  <a:close/>
                  <a:moveTo>
                    <a:pt x="170274" y="37341"/>
                  </a:moveTo>
                  <a:lnTo>
                    <a:pt x="155338" y="46303"/>
                  </a:lnTo>
                  <a:lnTo>
                    <a:pt x="146376" y="52277"/>
                  </a:lnTo>
                  <a:lnTo>
                    <a:pt x="146376" y="52277"/>
                  </a:lnTo>
                  <a:lnTo>
                    <a:pt x="144882" y="53771"/>
                  </a:lnTo>
                  <a:lnTo>
                    <a:pt x="144882" y="53771"/>
                  </a:lnTo>
                  <a:lnTo>
                    <a:pt x="141895" y="55265"/>
                  </a:lnTo>
                  <a:lnTo>
                    <a:pt x="134427" y="59745"/>
                  </a:lnTo>
                  <a:lnTo>
                    <a:pt x="132933" y="59745"/>
                  </a:lnTo>
                  <a:lnTo>
                    <a:pt x="132933" y="59745"/>
                  </a:lnTo>
                  <a:lnTo>
                    <a:pt x="120984" y="67214"/>
                  </a:lnTo>
                  <a:lnTo>
                    <a:pt x="120984" y="67214"/>
                  </a:lnTo>
                  <a:lnTo>
                    <a:pt x="119491" y="67214"/>
                  </a:lnTo>
                  <a:lnTo>
                    <a:pt x="92605" y="83644"/>
                  </a:lnTo>
                  <a:lnTo>
                    <a:pt x="92605" y="83644"/>
                  </a:lnTo>
                  <a:lnTo>
                    <a:pt x="80656" y="91112"/>
                  </a:lnTo>
                  <a:lnTo>
                    <a:pt x="80656" y="91112"/>
                  </a:lnTo>
                  <a:lnTo>
                    <a:pt x="67214" y="98580"/>
                  </a:lnTo>
                  <a:lnTo>
                    <a:pt x="22405" y="73188"/>
                  </a:lnTo>
                  <a:lnTo>
                    <a:pt x="22405" y="70201"/>
                  </a:lnTo>
                  <a:lnTo>
                    <a:pt x="34354" y="62733"/>
                  </a:lnTo>
                  <a:lnTo>
                    <a:pt x="34354" y="62733"/>
                  </a:lnTo>
                  <a:lnTo>
                    <a:pt x="35847" y="61239"/>
                  </a:lnTo>
                  <a:lnTo>
                    <a:pt x="35847" y="61239"/>
                  </a:lnTo>
                  <a:lnTo>
                    <a:pt x="47796" y="53771"/>
                  </a:lnTo>
                  <a:lnTo>
                    <a:pt x="47796" y="53771"/>
                  </a:lnTo>
                  <a:lnTo>
                    <a:pt x="49290" y="52277"/>
                  </a:lnTo>
                  <a:lnTo>
                    <a:pt x="49290" y="52277"/>
                  </a:lnTo>
                  <a:lnTo>
                    <a:pt x="61239" y="44809"/>
                  </a:lnTo>
                  <a:lnTo>
                    <a:pt x="61239" y="44809"/>
                  </a:lnTo>
                  <a:lnTo>
                    <a:pt x="62733" y="43315"/>
                  </a:lnTo>
                  <a:lnTo>
                    <a:pt x="62733" y="43315"/>
                  </a:lnTo>
                  <a:lnTo>
                    <a:pt x="74682" y="35847"/>
                  </a:lnTo>
                  <a:lnTo>
                    <a:pt x="74682" y="35847"/>
                  </a:lnTo>
                  <a:lnTo>
                    <a:pt x="76175" y="34353"/>
                  </a:lnTo>
                  <a:lnTo>
                    <a:pt x="88124" y="28379"/>
                  </a:lnTo>
                  <a:lnTo>
                    <a:pt x="88124" y="28379"/>
                  </a:lnTo>
                  <a:lnTo>
                    <a:pt x="89618" y="26885"/>
                  </a:lnTo>
                  <a:lnTo>
                    <a:pt x="89618" y="26885"/>
                  </a:lnTo>
                  <a:lnTo>
                    <a:pt x="101567" y="19417"/>
                  </a:lnTo>
                  <a:lnTo>
                    <a:pt x="101567" y="19417"/>
                  </a:lnTo>
                  <a:lnTo>
                    <a:pt x="103061" y="17924"/>
                  </a:lnTo>
                  <a:lnTo>
                    <a:pt x="103061" y="17924"/>
                  </a:lnTo>
                  <a:lnTo>
                    <a:pt x="115010" y="10456"/>
                  </a:lnTo>
                  <a:lnTo>
                    <a:pt x="115010" y="10456"/>
                  </a:lnTo>
                  <a:lnTo>
                    <a:pt x="116504" y="8962"/>
                  </a:lnTo>
                  <a:lnTo>
                    <a:pt x="116504" y="8962"/>
                  </a:lnTo>
                  <a:lnTo>
                    <a:pt x="128452" y="1494"/>
                  </a:lnTo>
                  <a:lnTo>
                    <a:pt x="140402" y="7468"/>
                  </a:lnTo>
                  <a:lnTo>
                    <a:pt x="140402" y="7468"/>
                  </a:lnTo>
                  <a:lnTo>
                    <a:pt x="152351" y="13443"/>
                  </a:lnTo>
                  <a:lnTo>
                    <a:pt x="155338" y="14936"/>
                  </a:lnTo>
                  <a:lnTo>
                    <a:pt x="162806" y="19417"/>
                  </a:lnTo>
                  <a:lnTo>
                    <a:pt x="164300" y="20911"/>
                  </a:lnTo>
                  <a:lnTo>
                    <a:pt x="164300" y="20911"/>
                  </a:lnTo>
                  <a:lnTo>
                    <a:pt x="174755" y="26885"/>
                  </a:lnTo>
                  <a:lnTo>
                    <a:pt x="174755" y="37341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2" name="任意多边形: 形状 491"/>
            <p:cNvSpPr/>
            <p:nvPr/>
          </p:nvSpPr>
          <p:spPr>
            <a:xfrm>
              <a:off x="3011668" y="4983246"/>
              <a:ext cx="40900" cy="27267"/>
            </a:xfrm>
            <a:custGeom>
              <a:avLst/>
              <a:gdLst>
                <a:gd name="connsiteX0" fmla="*/ 0 w 44809"/>
                <a:gd name="connsiteY0" fmla="*/ 17923 h 29872"/>
                <a:gd name="connsiteX1" fmla="*/ 17924 w 44809"/>
                <a:gd name="connsiteY1" fmla="*/ 29873 h 29872"/>
                <a:gd name="connsiteX2" fmla="*/ 50784 w 44809"/>
                <a:gd name="connsiteY2" fmla="*/ 10455 h 29872"/>
                <a:gd name="connsiteX3" fmla="*/ 31366 w 44809"/>
                <a:gd name="connsiteY3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809" h="29872">
                  <a:moveTo>
                    <a:pt x="0" y="17923"/>
                  </a:moveTo>
                  <a:lnTo>
                    <a:pt x="17924" y="29873"/>
                  </a:lnTo>
                  <a:lnTo>
                    <a:pt x="50784" y="10455"/>
                  </a:lnTo>
                  <a:lnTo>
                    <a:pt x="31366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3" name="任意多边形: 形状 492"/>
            <p:cNvSpPr/>
            <p:nvPr/>
          </p:nvSpPr>
          <p:spPr>
            <a:xfrm>
              <a:off x="2931231" y="4932802"/>
              <a:ext cx="122701" cy="81801"/>
            </a:xfrm>
            <a:custGeom>
              <a:avLst/>
              <a:gdLst>
                <a:gd name="connsiteX0" fmla="*/ 140402 w 134427"/>
                <a:gd name="connsiteY0" fmla="*/ 34354 h 89618"/>
                <a:gd name="connsiteX1" fmla="*/ 129946 w 134427"/>
                <a:gd name="connsiteY1" fmla="*/ 28379 h 89618"/>
                <a:gd name="connsiteX2" fmla="*/ 141895 w 134427"/>
                <a:gd name="connsiteY2" fmla="*/ 20911 h 89618"/>
                <a:gd name="connsiteX3" fmla="*/ 140402 w 134427"/>
                <a:gd name="connsiteY3" fmla="*/ 19418 h 89618"/>
                <a:gd name="connsiteX4" fmla="*/ 140402 w 134427"/>
                <a:gd name="connsiteY4" fmla="*/ 19418 h 89618"/>
                <a:gd name="connsiteX5" fmla="*/ 131440 w 134427"/>
                <a:gd name="connsiteY5" fmla="*/ 23898 h 89618"/>
                <a:gd name="connsiteX6" fmla="*/ 128453 w 134427"/>
                <a:gd name="connsiteY6" fmla="*/ 25392 h 89618"/>
                <a:gd name="connsiteX7" fmla="*/ 115010 w 134427"/>
                <a:gd name="connsiteY7" fmla="*/ 32860 h 89618"/>
                <a:gd name="connsiteX8" fmla="*/ 104554 w 134427"/>
                <a:gd name="connsiteY8" fmla="*/ 26886 h 89618"/>
                <a:gd name="connsiteX9" fmla="*/ 117997 w 134427"/>
                <a:gd name="connsiteY9" fmla="*/ 19418 h 89618"/>
                <a:gd name="connsiteX10" fmla="*/ 106048 w 134427"/>
                <a:gd name="connsiteY10" fmla="*/ 13443 h 89618"/>
                <a:gd name="connsiteX11" fmla="*/ 117997 w 134427"/>
                <a:gd name="connsiteY11" fmla="*/ 5974 h 89618"/>
                <a:gd name="connsiteX12" fmla="*/ 106048 w 134427"/>
                <a:gd name="connsiteY12" fmla="*/ 0 h 89618"/>
                <a:gd name="connsiteX13" fmla="*/ 116504 w 134427"/>
                <a:gd name="connsiteY13" fmla="*/ 5974 h 89618"/>
                <a:gd name="connsiteX14" fmla="*/ 104554 w 134427"/>
                <a:gd name="connsiteY14" fmla="*/ 13443 h 89618"/>
                <a:gd name="connsiteX15" fmla="*/ 94099 w 134427"/>
                <a:gd name="connsiteY15" fmla="*/ 7468 h 89618"/>
                <a:gd name="connsiteX16" fmla="*/ 92605 w 134427"/>
                <a:gd name="connsiteY16" fmla="*/ 8962 h 89618"/>
                <a:gd name="connsiteX17" fmla="*/ 103061 w 134427"/>
                <a:gd name="connsiteY17" fmla="*/ 14936 h 89618"/>
                <a:gd name="connsiteX18" fmla="*/ 91112 w 134427"/>
                <a:gd name="connsiteY18" fmla="*/ 22405 h 89618"/>
                <a:gd name="connsiteX19" fmla="*/ 80656 w 134427"/>
                <a:gd name="connsiteY19" fmla="*/ 16430 h 89618"/>
                <a:gd name="connsiteX20" fmla="*/ 79163 w 134427"/>
                <a:gd name="connsiteY20" fmla="*/ 17924 h 89618"/>
                <a:gd name="connsiteX21" fmla="*/ 89618 w 134427"/>
                <a:gd name="connsiteY21" fmla="*/ 23898 h 89618"/>
                <a:gd name="connsiteX22" fmla="*/ 77669 w 134427"/>
                <a:gd name="connsiteY22" fmla="*/ 31366 h 89618"/>
                <a:gd name="connsiteX23" fmla="*/ 67214 w 134427"/>
                <a:gd name="connsiteY23" fmla="*/ 25392 h 89618"/>
                <a:gd name="connsiteX24" fmla="*/ 65720 w 134427"/>
                <a:gd name="connsiteY24" fmla="*/ 26886 h 89618"/>
                <a:gd name="connsiteX25" fmla="*/ 76175 w 134427"/>
                <a:gd name="connsiteY25" fmla="*/ 32860 h 89618"/>
                <a:gd name="connsiteX26" fmla="*/ 64226 w 134427"/>
                <a:gd name="connsiteY26" fmla="*/ 40328 h 89618"/>
                <a:gd name="connsiteX27" fmla="*/ 53771 w 134427"/>
                <a:gd name="connsiteY27" fmla="*/ 34354 h 89618"/>
                <a:gd name="connsiteX28" fmla="*/ 53771 w 134427"/>
                <a:gd name="connsiteY28" fmla="*/ 34354 h 89618"/>
                <a:gd name="connsiteX29" fmla="*/ 52277 w 134427"/>
                <a:gd name="connsiteY29" fmla="*/ 35847 h 89618"/>
                <a:gd name="connsiteX30" fmla="*/ 62733 w 134427"/>
                <a:gd name="connsiteY30" fmla="*/ 41822 h 89618"/>
                <a:gd name="connsiteX31" fmla="*/ 50783 w 134427"/>
                <a:gd name="connsiteY31" fmla="*/ 49290 h 89618"/>
                <a:gd name="connsiteX32" fmla="*/ 40328 w 134427"/>
                <a:gd name="connsiteY32" fmla="*/ 43315 h 89618"/>
                <a:gd name="connsiteX33" fmla="*/ 38835 w 134427"/>
                <a:gd name="connsiteY33" fmla="*/ 44809 h 89618"/>
                <a:gd name="connsiteX34" fmla="*/ 49290 w 134427"/>
                <a:gd name="connsiteY34" fmla="*/ 50783 h 89618"/>
                <a:gd name="connsiteX35" fmla="*/ 37341 w 134427"/>
                <a:gd name="connsiteY35" fmla="*/ 58252 h 89618"/>
                <a:gd name="connsiteX36" fmla="*/ 26885 w 134427"/>
                <a:gd name="connsiteY36" fmla="*/ 52277 h 89618"/>
                <a:gd name="connsiteX37" fmla="*/ 25392 w 134427"/>
                <a:gd name="connsiteY37" fmla="*/ 53771 h 89618"/>
                <a:gd name="connsiteX38" fmla="*/ 35847 w 134427"/>
                <a:gd name="connsiteY38" fmla="*/ 59745 h 89618"/>
                <a:gd name="connsiteX39" fmla="*/ 23898 w 134427"/>
                <a:gd name="connsiteY39" fmla="*/ 67214 h 89618"/>
                <a:gd name="connsiteX40" fmla="*/ 13443 w 134427"/>
                <a:gd name="connsiteY40" fmla="*/ 61239 h 89618"/>
                <a:gd name="connsiteX41" fmla="*/ 11949 w 134427"/>
                <a:gd name="connsiteY41" fmla="*/ 62733 h 89618"/>
                <a:gd name="connsiteX42" fmla="*/ 22405 w 134427"/>
                <a:gd name="connsiteY42" fmla="*/ 68707 h 89618"/>
                <a:gd name="connsiteX43" fmla="*/ 10455 w 134427"/>
                <a:gd name="connsiteY43" fmla="*/ 76175 h 89618"/>
                <a:gd name="connsiteX44" fmla="*/ 0 w 134427"/>
                <a:gd name="connsiteY44" fmla="*/ 70201 h 89618"/>
                <a:gd name="connsiteX45" fmla="*/ 0 w 134427"/>
                <a:gd name="connsiteY45" fmla="*/ 73188 h 89618"/>
                <a:gd name="connsiteX46" fmla="*/ 44809 w 134427"/>
                <a:gd name="connsiteY46" fmla="*/ 98580 h 89618"/>
                <a:gd name="connsiteX47" fmla="*/ 58252 w 134427"/>
                <a:gd name="connsiteY47" fmla="*/ 91112 h 89618"/>
                <a:gd name="connsiteX48" fmla="*/ 58252 w 134427"/>
                <a:gd name="connsiteY48" fmla="*/ 91112 h 89618"/>
                <a:gd name="connsiteX49" fmla="*/ 70201 w 134427"/>
                <a:gd name="connsiteY49" fmla="*/ 83644 h 89618"/>
                <a:gd name="connsiteX50" fmla="*/ 70201 w 134427"/>
                <a:gd name="connsiteY50" fmla="*/ 83644 h 89618"/>
                <a:gd name="connsiteX51" fmla="*/ 97086 w 134427"/>
                <a:gd name="connsiteY51" fmla="*/ 67214 h 89618"/>
                <a:gd name="connsiteX52" fmla="*/ 98580 w 134427"/>
                <a:gd name="connsiteY52" fmla="*/ 67214 h 89618"/>
                <a:gd name="connsiteX53" fmla="*/ 98580 w 134427"/>
                <a:gd name="connsiteY53" fmla="*/ 67214 h 89618"/>
                <a:gd name="connsiteX54" fmla="*/ 110529 w 134427"/>
                <a:gd name="connsiteY54" fmla="*/ 59745 h 89618"/>
                <a:gd name="connsiteX55" fmla="*/ 110529 w 134427"/>
                <a:gd name="connsiteY55" fmla="*/ 59745 h 89618"/>
                <a:gd name="connsiteX56" fmla="*/ 112023 w 134427"/>
                <a:gd name="connsiteY56" fmla="*/ 59745 h 89618"/>
                <a:gd name="connsiteX57" fmla="*/ 119491 w 134427"/>
                <a:gd name="connsiteY57" fmla="*/ 55265 h 89618"/>
                <a:gd name="connsiteX58" fmla="*/ 122478 w 134427"/>
                <a:gd name="connsiteY58" fmla="*/ 53771 h 89618"/>
                <a:gd name="connsiteX59" fmla="*/ 122478 w 134427"/>
                <a:gd name="connsiteY59" fmla="*/ 53771 h 89618"/>
                <a:gd name="connsiteX60" fmla="*/ 123972 w 134427"/>
                <a:gd name="connsiteY60" fmla="*/ 52277 h 89618"/>
                <a:gd name="connsiteX61" fmla="*/ 123972 w 134427"/>
                <a:gd name="connsiteY61" fmla="*/ 52277 h 89618"/>
                <a:gd name="connsiteX62" fmla="*/ 132933 w 134427"/>
                <a:gd name="connsiteY62" fmla="*/ 46303 h 89618"/>
                <a:gd name="connsiteX63" fmla="*/ 147870 w 134427"/>
                <a:gd name="connsiteY63" fmla="*/ 37341 h 89618"/>
                <a:gd name="connsiteX64" fmla="*/ 147870 w 134427"/>
                <a:gd name="connsiteY64" fmla="*/ 34354 h 89618"/>
                <a:gd name="connsiteX65" fmla="*/ 140402 w 134427"/>
                <a:gd name="connsiteY65" fmla="*/ 34354 h 89618"/>
                <a:gd name="connsiteX66" fmla="*/ 128453 w 134427"/>
                <a:gd name="connsiteY66" fmla="*/ 29873 h 89618"/>
                <a:gd name="connsiteX67" fmla="*/ 138908 w 134427"/>
                <a:gd name="connsiteY67" fmla="*/ 35847 h 89618"/>
                <a:gd name="connsiteX68" fmla="*/ 126959 w 134427"/>
                <a:gd name="connsiteY68" fmla="*/ 43315 h 89618"/>
                <a:gd name="connsiteX69" fmla="*/ 116504 w 134427"/>
                <a:gd name="connsiteY69" fmla="*/ 37341 h 89618"/>
                <a:gd name="connsiteX70" fmla="*/ 128453 w 134427"/>
                <a:gd name="connsiteY70" fmla="*/ 29873 h 89618"/>
                <a:gd name="connsiteX71" fmla="*/ 113516 w 134427"/>
                <a:gd name="connsiteY71" fmla="*/ 35847 h 89618"/>
                <a:gd name="connsiteX72" fmla="*/ 101567 w 134427"/>
                <a:gd name="connsiteY72" fmla="*/ 43315 h 89618"/>
                <a:gd name="connsiteX73" fmla="*/ 91112 w 134427"/>
                <a:gd name="connsiteY73" fmla="*/ 37341 h 89618"/>
                <a:gd name="connsiteX74" fmla="*/ 103061 w 134427"/>
                <a:gd name="connsiteY74" fmla="*/ 29873 h 89618"/>
                <a:gd name="connsiteX75" fmla="*/ 113516 w 134427"/>
                <a:gd name="connsiteY75" fmla="*/ 35847 h 89618"/>
                <a:gd name="connsiteX76" fmla="*/ 88124 w 134427"/>
                <a:gd name="connsiteY76" fmla="*/ 50783 h 89618"/>
                <a:gd name="connsiteX77" fmla="*/ 77669 w 134427"/>
                <a:gd name="connsiteY77" fmla="*/ 44809 h 89618"/>
                <a:gd name="connsiteX78" fmla="*/ 89618 w 134427"/>
                <a:gd name="connsiteY78" fmla="*/ 37341 h 89618"/>
                <a:gd name="connsiteX79" fmla="*/ 100073 w 134427"/>
                <a:gd name="connsiteY79" fmla="*/ 43315 h 89618"/>
                <a:gd name="connsiteX80" fmla="*/ 88124 w 134427"/>
                <a:gd name="connsiteY80" fmla="*/ 50783 h 89618"/>
                <a:gd name="connsiteX81" fmla="*/ 74682 w 134427"/>
                <a:gd name="connsiteY81" fmla="*/ 58252 h 89618"/>
                <a:gd name="connsiteX82" fmla="*/ 64226 w 134427"/>
                <a:gd name="connsiteY82" fmla="*/ 52277 h 89618"/>
                <a:gd name="connsiteX83" fmla="*/ 76175 w 134427"/>
                <a:gd name="connsiteY83" fmla="*/ 44809 h 89618"/>
                <a:gd name="connsiteX84" fmla="*/ 86631 w 134427"/>
                <a:gd name="connsiteY84" fmla="*/ 50783 h 89618"/>
                <a:gd name="connsiteX85" fmla="*/ 74682 w 134427"/>
                <a:gd name="connsiteY85" fmla="*/ 58252 h 89618"/>
                <a:gd name="connsiteX86" fmla="*/ 61239 w 134427"/>
                <a:gd name="connsiteY86" fmla="*/ 65720 h 89618"/>
                <a:gd name="connsiteX87" fmla="*/ 50783 w 134427"/>
                <a:gd name="connsiteY87" fmla="*/ 59745 h 89618"/>
                <a:gd name="connsiteX88" fmla="*/ 62733 w 134427"/>
                <a:gd name="connsiteY88" fmla="*/ 52277 h 89618"/>
                <a:gd name="connsiteX89" fmla="*/ 73188 w 134427"/>
                <a:gd name="connsiteY89" fmla="*/ 58252 h 89618"/>
                <a:gd name="connsiteX90" fmla="*/ 61239 w 134427"/>
                <a:gd name="connsiteY90" fmla="*/ 65720 h 89618"/>
                <a:gd name="connsiteX91" fmla="*/ 49290 w 134427"/>
                <a:gd name="connsiteY91" fmla="*/ 74682 h 89618"/>
                <a:gd name="connsiteX92" fmla="*/ 38835 w 134427"/>
                <a:gd name="connsiteY92" fmla="*/ 68707 h 89618"/>
                <a:gd name="connsiteX93" fmla="*/ 50783 w 134427"/>
                <a:gd name="connsiteY93" fmla="*/ 61239 h 89618"/>
                <a:gd name="connsiteX94" fmla="*/ 61239 w 134427"/>
                <a:gd name="connsiteY94" fmla="*/ 67214 h 89618"/>
                <a:gd name="connsiteX95" fmla="*/ 49290 w 134427"/>
                <a:gd name="connsiteY95" fmla="*/ 74682 h 89618"/>
                <a:gd name="connsiteX96" fmla="*/ 35847 w 134427"/>
                <a:gd name="connsiteY96" fmla="*/ 82150 h 89618"/>
                <a:gd name="connsiteX97" fmla="*/ 25392 w 134427"/>
                <a:gd name="connsiteY97" fmla="*/ 76175 h 89618"/>
                <a:gd name="connsiteX98" fmla="*/ 37341 w 134427"/>
                <a:gd name="connsiteY98" fmla="*/ 68707 h 89618"/>
                <a:gd name="connsiteX99" fmla="*/ 47796 w 134427"/>
                <a:gd name="connsiteY99" fmla="*/ 74682 h 89618"/>
                <a:gd name="connsiteX100" fmla="*/ 35847 w 134427"/>
                <a:gd name="connsiteY100" fmla="*/ 82150 h 89618"/>
                <a:gd name="connsiteX101" fmla="*/ 106048 w 134427"/>
                <a:gd name="connsiteY101" fmla="*/ 16430 h 89618"/>
                <a:gd name="connsiteX102" fmla="*/ 116504 w 134427"/>
                <a:gd name="connsiteY102" fmla="*/ 22405 h 89618"/>
                <a:gd name="connsiteX103" fmla="*/ 104554 w 134427"/>
                <a:gd name="connsiteY103" fmla="*/ 29873 h 89618"/>
                <a:gd name="connsiteX104" fmla="*/ 94099 w 134427"/>
                <a:gd name="connsiteY104" fmla="*/ 23898 h 89618"/>
                <a:gd name="connsiteX105" fmla="*/ 106048 w 134427"/>
                <a:gd name="connsiteY105" fmla="*/ 16430 h 89618"/>
                <a:gd name="connsiteX106" fmla="*/ 92605 w 134427"/>
                <a:gd name="connsiteY106" fmla="*/ 23898 h 89618"/>
                <a:gd name="connsiteX107" fmla="*/ 103061 w 134427"/>
                <a:gd name="connsiteY107" fmla="*/ 29873 h 89618"/>
                <a:gd name="connsiteX108" fmla="*/ 91112 w 134427"/>
                <a:gd name="connsiteY108" fmla="*/ 37341 h 89618"/>
                <a:gd name="connsiteX109" fmla="*/ 80656 w 134427"/>
                <a:gd name="connsiteY109" fmla="*/ 31366 h 89618"/>
                <a:gd name="connsiteX110" fmla="*/ 92605 w 134427"/>
                <a:gd name="connsiteY110" fmla="*/ 23898 h 89618"/>
                <a:gd name="connsiteX111" fmla="*/ 79163 w 134427"/>
                <a:gd name="connsiteY111" fmla="*/ 31366 h 89618"/>
                <a:gd name="connsiteX112" fmla="*/ 89618 w 134427"/>
                <a:gd name="connsiteY112" fmla="*/ 37341 h 89618"/>
                <a:gd name="connsiteX113" fmla="*/ 77669 w 134427"/>
                <a:gd name="connsiteY113" fmla="*/ 44809 h 89618"/>
                <a:gd name="connsiteX114" fmla="*/ 67214 w 134427"/>
                <a:gd name="connsiteY114" fmla="*/ 38835 h 89618"/>
                <a:gd name="connsiteX115" fmla="*/ 79163 w 134427"/>
                <a:gd name="connsiteY115" fmla="*/ 31366 h 89618"/>
                <a:gd name="connsiteX116" fmla="*/ 65720 w 134427"/>
                <a:gd name="connsiteY116" fmla="*/ 38835 h 89618"/>
                <a:gd name="connsiteX117" fmla="*/ 76175 w 134427"/>
                <a:gd name="connsiteY117" fmla="*/ 44809 h 89618"/>
                <a:gd name="connsiteX118" fmla="*/ 64226 w 134427"/>
                <a:gd name="connsiteY118" fmla="*/ 52277 h 89618"/>
                <a:gd name="connsiteX119" fmla="*/ 53771 w 134427"/>
                <a:gd name="connsiteY119" fmla="*/ 46303 h 89618"/>
                <a:gd name="connsiteX120" fmla="*/ 65720 w 134427"/>
                <a:gd name="connsiteY120" fmla="*/ 38835 h 89618"/>
                <a:gd name="connsiteX121" fmla="*/ 52277 w 134427"/>
                <a:gd name="connsiteY121" fmla="*/ 47796 h 89618"/>
                <a:gd name="connsiteX122" fmla="*/ 62733 w 134427"/>
                <a:gd name="connsiteY122" fmla="*/ 53771 h 89618"/>
                <a:gd name="connsiteX123" fmla="*/ 50783 w 134427"/>
                <a:gd name="connsiteY123" fmla="*/ 61239 h 89618"/>
                <a:gd name="connsiteX124" fmla="*/ 40328 w 134427"/>
                <a:gd name="connsiteY124" fmla="*/ 55265 h 89618"/>
                <a:gd name="connsiteX125" fmla="*/ 52277 w 134427"/>
                <a:gd name="connsiteY125" fmla="*/ 47796 h 89618"/>
                <a:gd name="connsiteX126" fmla="*/ 38835 w 134427"/>
                <a:gd name="connsiteY126" fmla="*/ 55265 h 89618"/>
                <a:gd name="connsiteX127" fmla="*/ 49290 w 134427"/>
                <a:gd name="connsiteY127" fmla="*/ 61239 h 89618"/>
                <a:gd name="connsiteX128" fmla="*/ 37341 w 134427"/>
                <a:gd name="connsiteY128" fmla="*/ 68707 h 89618"/>
                <a:gd name="connsiteX129" fmla="*/ 26885 w 134427"/>
                <a:gd name="connsiteY129" fmla="*/ 62733 h 89618"/>
                <a:gd name="connsiteX130" fmla="*/ 38835 w 134427"/>
                <a:gd name="connsiteY130" fmla="*/ 55265 h 89618"/>
                <a:gd name="connsiteX131" fmla="*/ 25392 w 134427"/>
                <a:gd name="connsiteY131" fmla="*/ 62733 h 89618"/>
                <a:gd name="connsiteX132" fmla="*/ 35847 w 134427"/>
                <a:gd name="connsiteY132" fmla="*/ 68707 h 89618"/>
                <a:gd name="connsiteX133" fmla="*/ 23898 w 134427"/>
                <a:gd name="connsiteY133" fmla="*/ 76175 h 89618"/>
                <a:gd name="connsiteX134" fmla="*/ 13443 w 134427"/>
                <a:gd name="connsiteY134" fmla="*/ 70201 h 89618"/>
                <a:gd name="connsiteX135" fmla="*/ 25392 w 134427"/>
                <a:gd name="connsiteY135" fmla="*/ 62733 h 89618"/>
                <a:gd name="connsiteX136" fmla="*/ 46303 w 134427"/>
                <a:gd name="connsiteY136" fmla="*/ 88124 h 89618"/>
                <a:gd name="connsiteX137" fmla="*/ 35847 w 134427"/>
                <a:gd name="connsiteY137" fmla="*/ 82150 h 89618"/>
                <a:gd name="connsiteX138" fmla="*/ 47796 w 134427"/>
                <a:gd name="connsiteY138" fmla="*/ 74682 h 89618"/>
                <a:gd name="connsiteX139" fmla="*/ 58252 w 134427"/>
                <a:gd name="connsiteY139" fmla="*/ 80656 h 89618"/>
                <a:gd name="connsiteX140" fmla="*/ 46303 w 134427"/>
                <a:gd name="connsiteY140" fmla="*/ 88124 h 89618"/>
                <a:gd name="connsiteX141" fmla="*/ 59745 w 134427"/>
                <a:gd name="connsiteY141" fmla="*/ 80656 h 89618"/>
                <a:gd name="connsiteX142" fmla="*/ 49290 w 134427"/>
                <a:gd name="connsiteY142" fmla="*/ 74682 h 89618"/>
                <a:gd name="connsiteX143" fmla="*/ 61239 w 134427"/>
                <a:gd name="connsiteY143" fmla="*/ 67214 h 89618"/>
                <a:gd name="connsiteX144" fmla="*/ 71694 w 134427"/>
                <a:gd name="connsiteY144" fmla="*/ 73188 h 89618"/>
                <a:gd name="connsiteX145" fmla="*/ 59745 w 134427"/>
                <a:gd name="connsiteY145" fmla="*/ 80656 h 89618"/>
                <a:gd name="connsiteX146" fmla="*/ 116504 w 134427"/>
                <a:gd name="connsiteY146" fmla="*/ 47796 h 89618"/>
                <a:gd name="connsiteX147" fmla="*/ 113516 w 134427"/>
                <a:gd name="connsiteY147" fmla="*/ 49290 h 89618"/>
                <a:gd name="connsiteX148" fmla="*/ 112023 w 134427"/>
                <a:gd name="connsiteY148" fmla="*/ 50783 h 89618"/>
                <a:gd name="connsiteX149" fmla="*/ 100073 w 134427"/>
                <a:gd name="connsiteY149" fmla="*/ 58252 h 89618"/>
                <a:gd name="connsiteX150" fmla="*/ 98580 w 134427"/>
                <a:gd name="connsiteY150" fmla="*/ 59745 h 89618"/>
                <a:gd name="connsiteX151" fmla="*/ 86631 w 134427"/>
                <a:gd name="connsiteY151" fmla="*/ 67214 h 89618"/>
                <a:gd name="connsiteX152" fmla="*/ 73188 w 134427"/>
                <a:gd name="connsiteY152" fmla="*/ 74682 h 89618"/>
                <a:gd name="connsiteX153" fmla="*/ 62733 w 134427"/>
                <a:gd name="connsiteY153" fmla="*/ 68707 h 89618"/>
                <a:gd name="connsiteX154" fmla="*/ 76175 w 134427"/>
                <a:gd name="connsiteY154" fmla="*/ 61239 h 89618"/>
                <a:gd name="connsiteX155" fmla="*/ 88124 w 134427"/>
                <a:gd name="connsiteY155" fmla="*/ 53771 h 89618"/>
                <a:gd name="connsiteX156" fmla="*/ 89618 w 134427"/>
                <a:gd name="connsiteY156" fmla="*/ 52277 h 89618"/>
                <a:gd name="connsiteX157" fmla="*/ 101567 w 134427"/>
                <a:gd name="connsiteY157" fmla="*/ 44809 h 89618"/>
                <a:gd name="connsiteX158" fmla="*/ 103061 w 134427"/>
                <a:gd name="connsiteY158" fmla="*/ 43315 h 89618"/>
                <a:gd name="connsiteX159" fmla="*/ 106048 w 134427"/>
                <a:gd name="connsiteY159" fmla="*/ 41822 h 89618"/>
                <a:gd name="connsiteX160" fmla="*/ 115010 w 134427"/>
                <a:gd name="connsiteY160" fmla="*/ 37341 h 89618"/>
                <a:gd name="connsiteX161" fmla="*/ 125465 w 134427"/>
                <a:gd name="connsiteY161" fmla="*/ 43315 h 89618"/>
                <a:gd name="connsiteX162" fmla="*/ 116504 w 134427"/>
                <a:gd name="connsiteY162" fmla="*/ 47796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134427" h="89618">
                  <a:moveTo>
                    <a:pt x="140402" y="34354"/>
                  </a:moveTo>
                  <a:lnTo>
                    <a:pt x="129946" y="28379"/>
                  </a:lnTo>
                  <a:lnTo>
                    <a:pt x="141895" y="20911"/>
                  </a:lnTo>
                  <a:lnTo>
                    <a:pt x="140402" y="19418"/>
                  </a:lnTo>
                  <a:lnTo>
                    <a:pt x="140402" y="19418"/>
                  </a:lnTo>
                  <a:lnTo>
                    <a:pt x="131440" y="23898"/>
                  </a:lnTo>
                  <a:lnTo>
                    <a:pt x="128453" y="25392"/>
                  </a:lnTo>
                  <a:lnTo>
                    <a:pt x="115010" y="32860"/>
                  </a:lnTo>
                  <a:lnTo>
                    <a:pt x="104554" y="26886"/>
                  </a:lnTo>
                  <a:lnTo>
                    <a:pt x="117997" y="19418"/>
                  </a:lnTo>
                  <a:lnTo>
                    <a:pt x="106048" y="13443"/>
                  </a:lnTo>
                  <a:lnTo>
                    <a:pt x="117997" y="5974"/>
                  </a:lnTo>
                  <a:lnTo>
                    <a:pt x="106048" y="0"/>
                  </a:lnTo>
                  <a:lnTo>
                    <a:pt x="116504" y="5974"/>
                  </a:lnTo>
                  <a:lnTo>
                    <a:pt x="104554" y="13443"/>
                  </a:lnTo>
                  <a:lnTo>
                    <a:pt x="94099" y="7468"/>
                  </a:lnTo>
                  <a:lnTo>
                    <a:pt x="92605" y="8962"/>
                  </a:lnTo>
                  <a:lnTo>
                    <a:pt x="103061" y="14936"/>
                  </a:lnTo>
                  <a:lnTo>
                    <a:pt x="91112" y="22405"/>
                  </a:lnTo>
                  <a:lnTo>
                    <a:pt x="80656" y="16430"/>
                  </a:lnTo>
                  <a:lnTo>
                    <a:pt x="79163" y="17924"/>
                  </a:lnTo>
                  <a:lnTo>
                    <a:pt x="89618" y="23898"/>
                  </a:lnTo>
                  <a:lnTo>
                    <a:pt x="77669" y="31366"/>
                  </a:lnTo>
                  <a:lnTo>
                    <a:pt x="67214" y="25392"/>
                  </a:lnTo>
                  <a:lnTo>
                    <a:pt x="65720" y="26886"/>
                  </a:lnTo>
                  <a:lnTo>
                    <a:pt x="76175" y="32860"/>
                  </a:lnTo>
                  <a:lnTo>
                    <a:pt x="64226" y="40328"/>
                  </a:lnTo>
                  <a:lnTo>
                    <a:pt x="53771" y="34354"/>
                  </a:lnTo>
                  <a:lnTo>
                    <a:pt x="53771" y="34354"/>
                  </a:lnTo>
                  <a:lnTo>
                    <a:pt x="52277" y="35847"/>
                  </a:lnTo>
                  <a:lnTo>
                    <a:pt x="62733" y="41822"/>
                  </a:lnTo>
                  <a:lnTo>
                    <a:pt x="50783" y="49290"/>
                  </a:lnTo>
                  <a:lnTo>
                    <a:pt x="40328" y="43315"/>
                  </a:lnTo>
                  <a:lnTo>
                    <a:pt x="38835" y="44809"/>
                  </a:lnTo>
                  <a:lnTo>
                    <a:pt x="49290" y="50783"/>
                  </a:lnTo>
                  <a:lnTo>
                    <a:pt x="37341" y="58252"/>
                  </a:lnTo>
                  <a:lnTo>
                    <a:pt x="26885" y="52277"/>
                  </a:lnTo>
                  <a:lnTo>
                    <a:pt x="25392" y="53771"/>
                  </a:lnTo>
                  <a:lnTo>
                    <a:pt x="35847" y="59745"/>
                  </a:lnTo>
                  <a:lnTo>
                    <a:pt x="23898" y="67214"/>
                  </a:lnTo>
                  <a:lnTo>
                    <a:pt x="13443" y="61239"/>
                  </a:lnTo>
                  <a:lnTo>
                    <a:pt x="11949" y="62733"/>
                  </a:lnTo>
                  <a:lnTo>
                    <a:pt x="22405" y="68707"/>
                  </a:lnTo>
                  <a:lnTo>
                    <a:pt x="10455" y="76175"/>
                  </a:lnTo>
                  <a:lnTo>
                    <a:pt x="0" y="70201"/>
                  </a:lnTo>
                  <a:lnTo>
                    <a:pt x="0" y="73188"/>
                  </a:lnTo>
                  <a:lnTo>
                    <a:pt x="44809" y="98580"/>
                  </a:lnTo>
                  <a:lnTo>
                    <a:pt x="58252" y="91112"/>
                  </a:lnTo>
                  <a:lnTo>
                    <a:pt x="58252" y="91112"/>
                  </a:lnTo>
                  <a:lnTo>
                    <a:pt x="70201" y="83644"/>
                  </a:lnTo>
                  <a:lnTo>
                    <a:pt x="70201" y="83644"/>
                  </a:lnTo>
                  <a:lnTo>
                    <a:pt x="97086" y="67214"/>
                  </a:lnTo>
                  <a:lnTo>
                    <a:pt x="98580" y="67214"/>
                  </a:lnTo>
                  <a:lnTo>
                    <a:pt x="98580" y="67214"/>
                  </a:lnTo>
                  <a:lnTo>
                    <a:pt x="110529" y="59745"/>
                  </a:lnTo>
                  <a:lnTo>
                    <a:pt x="110529" y="59745"/>
                  </a:lnTo>
                  <a:lnTo>
                    <a:pt x="112023" y="59745"/>
                  </a:lnTo>
                  <a:lnTo>
                    <a:pt x="119491" y="55265"/>
                  </a:lnTo>
                  <a:lnTo>
                    <a:pt x="122478" y="53771"/>
                  </a:lnTo>
                  <a:lnTo>
                    <a:pt x="122478" y="53771"/>
                  </a:lnTo>
                  <a:lnTo>
                    <a:pt x="123972" y="52277"/>
                  </a:lnTo>
                  <a:lnTo>
                    <a:pt x="123972" y="52277"/>
                  </a:lnTo>
                  <a:lnTo>
                    <a:pt x="132933" y="46303"/>
                  </a:lnTo>
                  <a:lnTo>
                    <a:pt x="147870" y="37341"/>
                  </a:lnTo>
                  <a:lnTo>
                    <a:pt x="147870" y="34354"/>
                  </a:lnTo>
                  <a:lnTo>
                    <a:pt x="140402" y="34354"/>
                  </a:lnTo>
                  <a:close/>
                  <a:moveTo>
                    <a:pt x="128453" y="29873"/>
                  </a:moveTo>
                  <a:lnTo>
                    <a:pt x="138908" y="35847"/>
                  </a:lnTo>
                  <a:lnTo>
                    <a:pt x="126959" y="43315"/>
                  </a:lnTo>
                  <a:lnTo>
                    <a:pt x="116504" y="37341"/>
                  </a:lnTo>
                  <a:lnTo>
                    <a:pt x="128453" y="29873"/>
                  </a:lnTo>
                  <a:close/>
                  <a:moveTo>
                    <a:pt x="113516" y="35847"/>
                  </a:moveTo>
                  <a:lnTo>
                    <a:pt x="101567" y="43315"/>
                  </a:lnTo>
                  <a:lnTo>
                    <a:pt x="91112" y="37341"/>
                  </a:lnTo>
                  <a:lnTo>
                    <a:pt x="103061" y="29873"/>
                  </a:lnTo>
                  <a:lnTo>
                    <a:pt x="113516" y="35847"/>
                  </a:lnTo>
                  <a:close/>
                  <a:moveTo>
                    <a:pt x="88124" y="50783"/>
                  </a:moveTo>
                  <a:lnTo>
                    <a:pt x="77669" y="44809"/>
                  </a:lnTo>
                  <a:lnTo>
                    <a:pt x="89618" y="37341"/>
                  </a:lnTo>
                  <a:lnTo>
                    <a:pt x="100073" y="43315"/>
                  </a:lnTo>
                  <a:lnTo>
                    <a:pt x="88124" y="50783"/>
                  </a:lnTo>
                  <a:close/>
                  <a:moveTo>
                    <a:pt x="74682" y="58252"/>
                  </a:moveTo>
                  <a:lnTo>
                    <a:pt x="64226" y="52277"/>
                  </a:lnTo>
                  <a:lnTo>
                    <a:pt x="76175" y="44809"/>
                  </a:lnTo>
                  <a:lnTo>
                    <a:pt x="86631" y="50783"/>
                  </a:lnTo>
                  <a:lnTo>
                    <a:pt x="74682" y="58252"/>
                  </a:lnTo>
                  <a:close/>
                  <a:moveTo>
                    <a:pt x="61239" y="65720"/>
                  </a:moveTo>
                  <a:lnTo>
                    <a:pt x="50783" y="59745"/>
                  </a:lnTo>
                  <a:lnTo>
                    <a:pt x="62733" y="52277"/>
                  </a:lnTo>
                  <a:lnTo>
                    <a:pt x="73188" y="58252"/>
                  </a:lnTo>
                  <a:lnTo>
                    <a:pt x="61239" y="65720"/>
                  </a:lnTo>
                  <a:close/>
                  <a:moveTo>
                    <a:pt x="49290" y="74682"/>
                  </a:moveTo>
                  <a:lnTo>
                    <a:pt x="38835" y="68707"/>
                  </a:lnTo>
                  <a:lnTo>
                    <a:pt x="50783" y="61239"/>
                  </a:lnTo>
                  <a:lnTo>
                    <a:pt x="61239" y="67214"/>
                  </a:lnTo>
                  <a:lnTo>
                    <a:pt x="49290" y="74682"/>
                  </a:lnTo>
                  <a:close/>
                  <a:moveTo>
                    <a:pt x="35847" y="82150"/>
                  </a:moveTo>
                  <a:lnTo>
                    <a:pt x="25392" y="76175"/>
                  </a:lnTo>
                  <a:lnTo>
                    <a:pt x="37341" y="68707"/>
                  </a:lnTo>
                  <a:lnTo>
                    <a:pt x="47796" y="74682"/>
                  </a:lnTo>
                  <a:lnTo>
                    <a:pt x="35847" y="82150"/>
                  </a:lnTo>
                  <a:close/>
                  <a:moveTo>
                    <a:pt x="106048" y="16430"/>
                  </a:moveTo>
                  <a:lnTo>
                    <a:pt x="116504" y="22405"/>
                  </a:lnTo>
                  <a:lnTo>
                    <a:pt x="104554" y="29873"/>
                  </a:lnTo>
                  <a:lnTo>
                    <a:pt x="94099" y="23898"/>
                  </a:lnTo>
                  <a:lnTo>
                    <a:pt x="106048" y="16430"/>
                  </a:lnTo>
                  <a:close/>
                  <a:moveTo>
                    <a:pt x="92605" y="23898"/>
                  </a:moveTo>
                  <a:lnTo>
                    <a:pt x="103061" y="29873"/>
                  </a:lnTo>
                  <a:lnTo>
                    <a:pt x="91112" y="37341"/>
                  </a:lnTo>
                  <a:lnTo>
                    <a:pt x="80656" y="31366"/>
                  </a:lnTo>
                  <a:lnTo>
                    <a:pt x="92605" y="23898"/>
                  </a:lnTo>
                  <a:close/>
                  <a:moveTo>
                    <a:pt x="79163" y="31366"/>
                  </a:moveTo>
                  <a:lnTo>
                    <a:pt x="89618" y="37341"/>
                  </a:lnTo>
                  <a:lnTo>
                    <a:pt x="77669" y="44809"/>
                  </a:lnTo>
                  <a:lnTo>
                    <a:pt x="67214" y="38835"/>
                  </a:lnTo>
                  <a:lnTo>
                    <a:pt x="79163" y="31366"/>
                  </a:lnTo>
                  <a:close/>
                  <a:moveTo>
                    <a:pt x="65720" y="38835"/>
                  </a:moveTo>
                  <a:lnTo>
                    <a:pt x="76175" y="44809"/>
                  </a:lnTo>
                  <a:lnTo>
                    <a:pt x="64226" y="52277"/>
                  </a:lnTo>
                  <a:lnTo>
                    <a:pt x="53771" y="46303"/>
                  </a:lnTo>
                  <a:lnTo>
                    <a:pt x="65720" y="38835"/>
                  </a:lnTo>
                  <a:close/>
                  <a:moveTo>
                    <a:pt x="52277" y="47796"/>
                  </a:moveTo>
                  <a:lnTo>
                    <a:pt x="62733" y="53771"/>
                  </a:lnTo>
                  <a:lnTo>
                    <a:pt x="50783" y="61239"/>
                  </a:lnTo>
                  <a:lnTo>
                    <a:pt x="40328" y="55265"/>
                  </a:lnTo>
                  <a:lnTo>
                    <a:pt x="52277" y="47796"/>
                  </a:lnTo>
                  <a:close/>
                  <a:moveTo>
                    <a:pt x="38835" y="55265"/>
                  </a:moveTo>
                  <a:lnTo>
                    <a:pt x="49290" y="61239"/>
                  </a:lnTo>
                  <a:lnTo>
                    <a:pt x="37341" y="68707"/>
                  </a:lnTo>
                  <a:lnTo>
                    <a:pt x="26885" y="62733"/>
                  </a:lnTo>
                  <a:lnTo>
                    <a:pt x="38835" y="55265"/>
                  </a:lnTo>
                  <a:close/>
                  <a:moveTo>
                    <a:pt x="25392" y="62733"/>
                  </a:moveTo>
                  <a:lnTo>
                    <a:pt x="35847" y="68707"/>
                  </a:lnTo>
                  <a:lnTo>
                    <a:pt x="23898" y="76175"/>
                  </a:lnTo>
                  <a:lnTo>
                    <a:pt x="13443" y="70201"/>
                  </a:lnTo>
                  <a:lnTo>
                    <a:pt x="25392" y="62733"/>
                  </a:lnTo>
                  <a:close/>
                  <a:moveTo>
                    <a:pt x="46303" y="88124"/>
                  </a:moveTo>
                  <a:lnTo>
                    <a:pt x="35847" y="82150"/>
                  </a:lnTo>
                  <a:lnTo>
                    <a:pt x="47796" y="74682"/>
                  </a:lnTo>
                  <a:lnTo>
                    <a:pt x="58252" y="80656"/>
                  </a:lnTo>
                  <a:lnTo>
                    <a:pt x="46303" y="88124"/>
                  </a:lnTo>
                  <a:close/>
                  <a:moveTo>
                    <a:pt x="59745" y="80656"/>
                  </a:moveTo>
                  <a:lnTo>
                    <a:pt x="49290" y="74682"/>
                  </a:lnTo>
                  <a:lnTo>
                    <a:pt x="61239" y="67214"/>
                  </a:lnTo>
                  <a:lnTo>
                    <a:pt x="71694" y="73188"/>
                  </a:lnTo>
                  <a:lnTo>
                    <a:pt x="59745" y="80656"/>
                  </a:lnTo>
                  <a:close/>
                  <a:moveTo>
                    <a:pt x="116504" y="47796"/>
                  </a:moveTo>
                  <a:lnTo>
                    <a:pt x="113516" y="49290"/>
                  </a:lnTo>
                  <a:lnTo>
                    <a:pt x="112023" y="50783"/>
                  </a:lnTo>
                  <a:lnTo>
                    <a:pt x="100073" y="58252"/>
                  </a:lnTo>
                  <a:lnTo>
                    <a:pt x="98580" y="59745"/>
                  </a:lnTo>
                  <a:lnTo>
                    <a:pt x="86631" y="67214"/>
                  </a:lnTo>
                  <a:lnTo>
                    <a:pt x="73188" y="74682"/>
                  </a:lnTo>
                  <a:lnTo>
                    <a:pt x="62733" y="68707"/>
                  </a:lnTo>
                  <a:lnTo>
                    <a:pt x="76175" y="61239"/>
                  </a:lnTo>
                  <a:lnTo>
                    <a:pt x="88124" y="53771"/>
                  </a:lnTo>
                  <a:lnTo>
                    <a:pt x="89618" y="52277"/>
                  </a:lnTo>
                  <a:lnTo>
                    <a:pt x="101567" y="44809"/>
                  </a:lnTo>
                  <a:lnTo>
                    <a:pt x="103061" y="43315"/>
                  </a:lnTo>
                  <a:lnTo>
                    <a:pt x="106048" y="41822"/>
                  </a:lnTo>
                  <a:lnTo>
                    <a:pt x="115010" y="37341"/>
                  </a:lnTo>
                  <a:lnTo>
                    <a:pt x="125465" y="43315"/>
                  </a:lnTo>
                  <a:lnTo>
                    <a:pt x="116504" y="47796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4" name="任意多边形: 形状 493"/>
            <p:cNvSpPr/>
            <p:nvPr/>
          </p:nvSpPr>
          <p:spPr>
            <a:xfrm>
              <a:off x="2933957" y="4983246"/>
              <a:ext cx="13633" cy="13633"/>
            </a:xfrm>
            <a:custGeom>
              <a:avLst/>
              <a:gdLst>
                <a:gd name="connsiteX0" fmla="*/ 8962 w 14936"/>
                <a:gd name="connsiteY0" fmla="*/ 13443 h 0"/>
                <a:gd name="connsiteX1" fmla="*/ 20911 w 14936"/>
                <a:gd name="connsiteY1" fmla="*/ 5974 h 0"/>
                <a:gd name="connsiteX2" fmla="*/ 11949 w 14936"/>
                <a:gd name="connsiteY2" fmla="*/ 0 h 0"/>
                <a:gd name="connsiteX3" fmla="*/ 11949 w 14936"/>
                <a:gd name="connsiteY3" fmla="*/ 0 h 0"/>
                <a:gd name="connsiteX4" fmla="*/ 0 w 14936"/>
                <a:gd name="connsiteY4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>
                  <a:moveTo>
                    <a:pt x="8962" y="13443"/>
                  </a:moveTo>
                  <a:lnTo>
                    <a:pt x="20911" y="5974"/>
                  </a:lnTo>
                  <a:lnTo>
                    <a:pt x="11949" y="0"/>
                  </a:lnTo>
                  <a:lnTo>
                    <a:pt x="11949" y="0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5" name="任意多边形: 形状 494"/>
            <p:cNvSpPr/>
            <p:nvPr/>
          </p:nvSpPr>
          <p:spPr>
            <a:xfrm>
              <a:off x="2946228" y="4976429"/>
              <a:ext cx="13633" cy="13633"/>
            </a:xfrm>
            <a:custGeom>
              <a:avLst/>
              <a:gdLst>
                <a:gd name="connsiteX0" fmla="*/ 8962 w 14936"/>
                <a:gd name="connsiteY0" fmla="*/ 13443 h 0"/>
                <a:gd name="connsiteX1" fmla="*/ 20911 w 14936"/>
                <a:gd name="connsiteY1" fmla="*/ 5974 h 0"/>
                <a:gd name="connsiteX2" fmla="*/ 10455 w 14936"/>
                <a:gd name="connsiteY2" fmla="*/ 0 h 0"/>
                <a:gd name="connsiteX3" fmla="*/ 10455 w 14936"/>
                <a:gd name="connsiteY3" fmla="*/ 0 h 0"/>
                <a:gd name="connsiteX4" fmla="*/ 0 w 14936"/>
                <a:gd name="connsiteY4" fmla="*/ 7468 h 0"/>
                <a:gd name="connsiteX5" fmla="*/ 0 w 14936"/>
                <a:gd name="connsiteY5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>
                  <a:moveTo>
                    <a:pt x="8962" y="13443"/>
                  </a:moveTo>
                  <a:lnTo>
                    <a:pt x="20911" y="5974"/>
                  </a:lnTo>
                  <a:lnTo>
                    <a:pt x="10455" y="0"/>
                  </a:lnTo>
                  <a:lnTo>
                    <a:pt x="10455" y="0"/>
                  </a:lnTo>
                  <a:lnTo>
                    <a:pt x="0" y="7468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6" name="任意多边形: 形状 495"/>
            <p:cNvSpPr/>
            <p:nvPr/>
          </p:nvSpPr>
          <p:spPr>
            <a:xfrm>
              <a:off x="2958498" y="4969612"/>
              <a:ext cx="13633" cy="13633"/>
            </a:xfrm>
            <a:custGeom>
              <a:avLst/>
              <a:gdLst>
                <a:gd name="connsiteX0" fmla="*/ 8962 w 14936"/>
                <a:gd name="connsiteY0" fmla="*/ 11949 h 0"/>
                <a:gd name="connsiteX1" fmla="*/ 20911 w 14936"/>
                <a:gd name="connsiteY1" fmla="*/ 5974 h 0"/>
                <a:gd name="connsiteX2" fmla="*/ 10455 w 14936"/>
                <a:gd name="connsiteY2" fmla="*/ 0 h 0"/>
                <a:gd name="connsiteX3" fmla="*/ 10455 w 14936"/>
                <a:gd name="connsiteY3" fmla="*/ 0 h 0"/>
                <a:gd name="connsiteX4" fmla="*/ 0 w 14936"/>
                <a:gd name="connsiteY4" fmla="*/ 7468 h 0"/>
                <a:gd name="connsiteX5" fmla="*/ 0 w 14936"/>
                <a:gd name="connsiteY5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>
                  <a:moveTo>
                    <a:pt x="8962" y="11949"/>
                  </a:moveTo>
                  <a:lnTo>
                    <a:pt x="20911" y="5974"/>
                  </a:lnTo>
                  <a:lnTo>
                    <a:pt x="10455" y="0"/>
                  </a:lnTo>
                  <a:lnTo>
                    <a:pt x="10455" y="0"/>
                  </a:lnTo>
                  <a:lnTo>
                    <a:pt x="0" y="7468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7" name="任意多边形: 形状 496"/>
            <p:cNvSpPr/>
            <p:nvPr/>
          </p:nvSpPr>
          <p:spPr>
            <a:xfrm>
              <a:off x="2970768" y="4962795"/>
              <a:ext cx="13633" cy="13633"/>
            </a:xfrm>
            <a:custGeom>
              <a:avLst/>
              <a:gdLst>
                <a:gd name="connsiteX0" fmla="*/ 8962 w 14936"/>
                <a:gd name="connsiteY0" fmla="*/ 11949 h 0"/>
                <a:gd name="connsiteX1" fmla="*/ 20911 w 14936"/>
                <a:gd name="connsiteY1" fmla="*/ 5974 h 0"/>
                <a:gd name="connsiteX2" fmla="*/ 10456 w 14936"/>
                <a:gd name="connsiteY2" fmla="*/ 0 h 0"/>
                <a:gd name="connsiteX3" fmla="*/ 10456 w 14936"/>
                <a:gd name="connsiteY3" fmla="*/ 0 h 0"/>
                <a:gd name="connsiteX4" fmla="*/ 0 w 14936"/>
                <a:gd name="connsiteY4" fmla="*/ 7468 h 0"/>
                <a:gd name="connsiteX5" fmla="*/ 0 w 14936"/>
                <a:gd name="connsiteY5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>
                  <a:moveTo>
                    <a:pt x="8962" y="11949"/>
                  </a:moveTo>
                  <a:lnTo>
                    <a:pt x="20911" y="5974"/>
                  </a:lnTo>
                  <a:lnTo>
                    <a:pt x="10456" y="0"/>
                  </a:lnTo>
                  <a:lnTo>
                    <a:pt x="10456" y="0"/>
                  </a:lnTo>
                  <a:lnTo>
                    <a:pt x="0" y="7468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8" name="任意多边形: 形状 497"/>
            <p:cNvSpPr/>
            <p:nvPr/>
          </p:nvSpPr>
          <p:spPr>
            <a:xfrm>
              <a:off x="2981674" y="4955979"/>
              <a:ext cx="13633" cy="13633"/>
            </a:xfrm>
            <a:custGeom>
              <a:avLst/>
              <a:gdLst>
                <a:gd name="connsiteX0" fmla="*/ 10455 w 14936"/>
                <a:gd name="connsiteY0" fmla="*/ 11949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11949 w 14936"/>
                <a:gd name="connsiteY3" fmla="*/ 0 h 0"/>
                <a:gd name="connsiteX4" fmla="*/ 1494 w 14936"/>
                <a:gd name="connsiteY4" fmla="*/ 5974 h 0"/>
                <a:gd name="connsiteX5" fmla="*/ 0 w 14936"/>
                <a:gd name="connsiteY5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>
                  <a:moveTo>
                    <a:pt x="10455" y="11949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11949" y="0"/>
                  </a:lnTo>
                  <a:lnTo>
                    <a:pt x="1494" y="5974"/>
                  </a:lnTo>
                  <a:lnTo>
                    <a:pt x="0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9" name="任意多边形: 形状 498"/>
            <p:cNvSpPr/>
            <p:nvPr/>
          </p:nvSpPr>
          <p:spPr>
            <a:xfrm>
              <a:off x="2993945" y="4949162"/>
              <a:ext cx="13633" cy="13633"/>
            </a:xfrm>
            <a:custGeom>
              <a:avLst/>
              <a:gdLst>
                <a:gd name="connsiteX0" fmla="*/ 10455 w 14936"/>
                <a:gd name="connsiteY0" fmla="*/ 11949 h 0"/>
                <a:gd name="connsiteX1" fmla="*/ 22405 w 14936"/>
                <a:gd name="connsiteY1" fmla="*/ 4481 h 0"/>
                <a:gd name="connsiteX2" fmla="*/ 11949 w 14936"/>
                <a:gd name="connsiteY2" fmla="*/ 0 h 0"/>
                <a:gd name="connsiteX3" fmla="*/ 11949 w 14936"/>
                <a:gd name="connsiteY3" fmla="*/ 0 h 0"/>
                <a:gd name="connsiteX4" fmla="*/ 0 w 14936"/>
                <a:gd name="connsiteY4" fmla="*/ 5974 h 0"/>
                <a:gd name="connsiteX5" fmla="*/ 0 w 14936"/>
                <a:gd name="connsiteY5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>
                  <a:moveTo>
                    <a:pt x="10455" y="11949"/>
                  </a:moveTo>
                  <a:lnTo>
                    <a:pt x="22405" y="4481"/>
                  </a:lnTo>
                  <a:lnTo>
                    <a:pt x="11949" y="0"/>
                  </a:lnTo>
                  <a:lnTo>
                    <a:pt x="11949" y="0"/>
                  </a:lnTo>
                  <a:lnTo>
                    <a:pt x="0" y="5974"/>
                  </a:lnTo>
                  <a:lnTo>
                    <a:pt x="0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0" name="任意多边形: 形状 499"/>
            <p:cNvSpPr/>
            <p:nvPr/>
          </p:nvSpPr>
          <p:spPr>
            <a:xfrm>
              <a:off x="3006215" y="4940982"/>
              <a:ext cx="13633" cy="13633"/>
            </a:xfrm>
            <a:custGeom>
              <a:avLst/>
              <a:gdLst>
                <a:gd name="connsiteX0" fmla="*/ 10455 w 14936"/>
                <a:gd name="connsiteY0" fmla="*/ 13443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11949 w 14936"/>
                <a:gd name="connsiteY3" fmla="*/ 0 h 0"/>
                <a:gd name="connsiteX4" fmla="*/ 0 w 14936"/>
                <a:gd name="connsiteY4" fmla="*/ 7468 h 0"/>
                <a:gd name="connsiteX5" fmla="*/ 0 w 14936"/>
                <a:gd name="connsiteY5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>
                  <a:moveTo>
                    <a:pt x="10455" y="13443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11949" y="0"/>
                  </a:lnTo>
                  <a:lnTo>
                    <a:pt x="0" y="7468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1" name="任意多边形: 形状 500"/>
            <p:cNvSpPr/>
            <p:nvPr/>
          </p:nvSpPr>
          <p:spPr>
            <a:xfrm>
              <a:off x="3018485" y="4934165"/>
              <a:ext cx="13633" cy="13633"/>
            </a:xfrm>
            <a:custGeom>
              <a:avLst/>
              <a:gdLst>
                <a:gd name="connsiteX0" fmla="*/ 10456 w 14936"/>
                <a:gd name="connsiteY0" fmla="*/ 13443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0 w 14936"/>
                <a:gd name="connsiteY3" fmla="*/ 7468 h 0"/>
                <a:gd name="connsiteX4" fmla="*/ 0 w 14936"/>
                <a:gd name="connsiteY4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>
                  <a:moveTo>
                    <a:pt x="10456" y="13443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0" y="7468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2" name="任意多边形: 形状 501"/>
            <p:cNvSpPr/>
            <p:nvPr/>
          </p:nvSpPr>
          <p:spPr>
            <a:xfrm>
              <a:off x="2943500" y="4990063"/>
              <a:ext cx="13633" cy="13633"/>
            </a:xfrm>
            <a:custGeom>
              <a:avLst/>
              <a:gdLst>
                <a:gd name="connsiteX0" fmla="*/ 10456 w 14936"/>
                <a:gd name="connsiteY0" fmla="*/ 11949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0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0456" y="11949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0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3" name="任意多边形: 形状 502"/>
            <p:cNvSpPr/>
            <p:nvPr/>
          </p:nvSpPr>
          <p:spPr>
            <a:xfrm>
              <a:off x="2955771" y="4983246"/>
              <a:ext cx="13633" cy="13633"/>
            </a:xfrm>
            <a:custGeom>
              <a:avLst/>
              <a:gdLst>
                <a:gd name="connsiteX0" fmla="*/ 10455 w 14936"/>
                <a:gd name="connsiteY0" fmla="*/ 11949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0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0455" y="11949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0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4" name="任意多边形: 形状 503"/>
            <p:cNvSpPr/>
            <p:nvPr/>
          </p:nvSpPr>
          <p:spPr>
            <a:xfrm>
              <a:off x="2968041" y="4976429"/>
              <a:ext cx="13633" cy="13633"/>
            </a:xfrm>
            <a:custGeom>
              <a:avLst/>
              <a:gdLst>
                <a:gd name="connsiteX0" fmla="*/ 10455 w 14936"/>
                <a:gd name="connsiteY0" fmla="*/ 11949 h 0"/>
                <a:gd name="connsiteX1" fmla="*/ 22405 w 14936"/>
                <a:gd name="connsiteY1" fmla="*/ 4481 h 0"/>
                <a:gd name="connsiteX2" fmla="*/ 11949 w 14936"/>
                <a:gd name="connsiteY2" fmla="*/ 0 h 0"/>
                <a:gd name="connsiteX3" fmla="*/ 0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0455" y="11949"/>
                  </a:moveTo>
                  <a:lnTo>
                    <a:pt x="22405" y="4481"/>
                  </a:lnTo>
                  <a:lnTo>
                    <a:pt x="11949" y="0"/>
                  </a:lnTo>
                  <a:lnTo>
                    <a:pt x="0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5" name="任意多边形: 形状 504"/>
            <p:cNvSpPr/>
            <p:nvPr/>
          </p:nvSpPr>
          <p:spPr>
            <a:xfrm>
              <a:off x="2980312" y="4968249"/>
              <a:ext cx="13633" cy="13633"/>
            </a:xfrm>
            <a:custGeom>
              <a:avLst/>
              <a:gdLst>
                <a:gd name="connsiteX0" fmla="*/ 10455 w 14936"/>
                <a:gd name="connsiteY0" fmla="*/ 13443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0 w 14936"/>
                <a:gd name="connsiteY3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0455" y="13443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6" name="任意多边形: 形状 505"/>
            <p:cNvSpPr/>
            <p:nvPr/>
          </p:nvSpPr>
          <p:spPr>
            <a:xfrm>
              <a:off x="2992581" y="4961432"/>
              <a:ext cx="13633" cy="13633"/>
            </a:xfrm>
            <a:custGeom>
              <a:avLst/>
              <a:gdLst>
                <a:gd name="connsiteX0" fmla="*/ 10455 w 14936"/>
                <a:gd name="connsiteY0" fmla="*/ 13443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0 w 14936"/>
                <a:gd name="connsiteY3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0455" y="13443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7" name="任意多边形: 形状 506"/>
            <p:cNvSpPr/>
            <p:nvPr/>
          </p:nvSpPr>
          <p:spPr>
            <a:xfrm>
              <a:off x="3004851" y="4954615"/>
              <a:ext cx="13633" cy="13633"/>
            </a:xfrm>
            <a:custGeom>
              <a:avLst/>
              <a:gdLst>
                <a:gd name="connsiteX0" fmla="*/ 10456 w 14936"/>
                <a:gd name="connsiteY0" fmla="*/ 11949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0 w 14936"/>
                <a:gd name="connsiteY3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0456" y="11949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8" name="任意多边形: 形状 507"/>
            <p:cNvSpPr/>
            <p:nvPr/>
          </p:nvSpPr>
          <p:spPr>
            <a:xfrm>
              <a:off x="3017122" y="4947798"/>
              <a:ext cx="13633" cy="13633"/>
            </a:xfrm>
            <a:custGeom>
              <a:avLst/>
              <a:gdLst>
                <a:gd name="connsiteX0" fmla="*/ 10455 w 14936"/>
                <a:gd name="connsiteY0" fmla="*/ 11949 h 0"/>
                <a:gd name="connsiteX1" fmla="*/ 20911 w 14936"/>
                <a:gd name="connsiteY1" fmla="*/ 5974 h 0"/>
                <a:gd name="connsiteX2" fmla="*/ 11949 w 14936"/>
                <a:gd name="connsiteY2" fmla="*/ 0 h 0"/>
                <a:gd name="connsiteX3" fmla="*/ 0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0455" y="11949"/>
                  </a:moveTo>
                  <a:lnTo>
                    <a:pt x="20911" y="5974"/>
                  </a:lnTo>
                  <a:lnTo>
                    <a:pt x="11949" y="0"/>
                  </a:lnTo>
                  <a:lnTo>
                    <a:pt x="0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9" name="任意多边形: 形状 508"/>
            <p:cNvSpPr/>
            <p:nvPr/>
          </p:nvSpPr>
          <p:spPr>
            <a:xfrm>
              <a:off x="2954408" y="4995515"/>
              <a:ext cx="13633" cy="13633"/>
            </a:xfrm>
            <a:custGeom>
              <a:avLst/>
              <a:gdLst>
                <a:gd name="connsiteX0" fmla="*/ 11949 w 14936"/>
                <a:gd name="connsiteY0" fmla="*/ 0 h 0"/>
                <a:gd name="connsiteX1" fmla="*/ 0 w 14936"/>
                <a:gd name="connsiteY1" fmla="*/ 7468 h 0"/>
                <a:gd name="connsiteX2" fmla="*/ 10455 w 14936"/>
                <a:gd name="connsiteY2" fmla="*/ 13443 h 0"/>
                <a:gd name="connsiteX3" fmla="*/ 20911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0" y="7468"/>
                  </a:lnTo>
                  <a:lnTo>
                    <a:pt x="10455" y="13443"/>
                  </a:lnTo>
                  <a:lnTo>
                    <a:pt x="20911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0" name="任意多边形: 形状 509"/>
            <p:cNvSpPr/>
            <p:nvPr/>
          </p:nvSpPr>
          <p:spPr>
            <a:xfrm>
              <a:off x="2966677" y="4988699"/>
              <a:ext cx="13633" cy="13633"/>
            </a:xfrm>
            <a:custGeom>
              <a:avLst/>
              <a:gdLst>
                <a:gd name="connsiteX0" fmla="*/ 11949 w 14936"/>
                <a:gd name="connsiteY0" fmla="*/ 0 h 0"/>
                <a:gd name="connsiteX1" fmla="*/ 0 w 14936"/>
                <a:gd name="connsiteY1" fmla="*/ 7468 h 0"/>
                <a:gd name="connsiteX2" fmla="*/ 10455 w 14936"/>
                <a:gd name="connsiteY2" fmla="*/ 13443 h 0"/>
                <a:gd name="connsiteX3" fmla="*/ 20911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0" y="7468"/>
                  </a:lnTo>
                  <a:lnTo>
                    <a:pt x="10455" y="13443"/>
                  </a:lnTo>
                  <a:lnTo>
                    <a:pt x="20911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1" name="任意多边形: 形状 510"/>
            <p:cNvSpPr/>
            <p:nvPr/>
          </p:nvSpPr>
          <p:spPr>
            <a:xfrm>
              <a:off x="2978948" y="4981882"/>
              <a:ext cx="13633" cy="13633"/>
            </a:xfrm>
            <a:custGeom>
              <a:avLst/>
              <a:gdLst>
                <a:gd name="connsiteX0" fmla="*/ 11949 w 14936"/>
                <a:gd name="connsiteY0" fmla="*/ 0 h 0"/>
                <a:gd name="connsiteX1" fmla="*/ 0 w 14936"/>
                <a:gd name="connsiteY1" fmla="*/ 7468 h 0"/>
                <a:gd name="connsiteX2" fmla="*/ 8962 w 14936"/>
                <a:gd name="connsiteY2" fmla="*/ 11949 h 0"/>
                <a:gd name="connsiteX3" fmla="*/ 20911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0" y="7468"/>
                  </a:lnTo>
                  <a:lnTo>
                    <a:pt x="8962" y="11949"/>
                  </a:lnTo>
                  <a:lnTo>
                    <a:pt x="20911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2" name="任意多边形: 形状 511"/>
            <p:cNvSpPr/>
            <p:nvPr/>
          </p:nvSpPr>
          <p:spPr>
            <a:xfrm>
              <a:off x="2991218" y="4975066"/>
              <a:ext cx="13633" cy="13633"/>
            </a:xfrm>
            <a:custGeom>
              <a:avLst/>
              <a:gdLst>
                <a:gd name="connsiteX0" fmla="*/ 11949 w 14936"/>
                <a:gd name="connsiteY0" fmla="*/ 0 h 0"/>
                <a:gd name="connsiteX1" fmla="*/ 0 w 14936"/>
                <a:gd name="connsiteY1" fmla="*/ 5974 h 0"/>
                <a:gd name="connsiteX2" fmla="*/ 8962 w 14936"/>
                <a:gd name="connsiteY2" fmla="*/ 11949 h 0"/>
                <a:gd name="connsiteX3" fmla="*/ 20911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0" y="5974"/>
                  </a:lnTo>
                  <a:lnTo>
                    <a:pt x="8962" y="11949"/>
                  </a:lnTo>
                  <a:lnTo>
                    <a:pt x="20911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3" name="任意多边形: 形状 512"/>
            <p:cNvSpPr/>
            <p:nvPr/>
          </p:nvSpPr>
          <p:spPr>
            <a:xfrm>
              <a:off x="3003488" y="4968249"/>
              <a:ext cx="13633" cy="13633"/>
            </a:xfrm>
            <a:custGeom>
              <a:avLst/>
              <a:gdLst>
                <a:gd name="connsiteX0" fmla="*/ 11949 w 14936"/>
                <a:gd name="connsiteY0" fmla="*/ 0 h 0"/>
                <a:gd name="connsiteX1" fmla="*/ 0 w 14936"/>
                <a:gd name="connsiteY1" fmla="*/ 5974 h 0"/>
                <a:gd name="connsiteX2" fmla="*/ 8962 w 14936"/>
                <a:gd name="connsiteY2" fmla="*/ 11949 h 0"/>
                <a:gd name="connsiteX3" fmla="*/ 20911 w 14936"/>
                <a:gd name="connsiteY3" fmla="*/ 448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0" y="5974"/>
                  </a:lnTo>
                  <a:lnTo>
                    <a:pt x="8962" y="11949"/>
                  </a:lnTo>
                  <a:lnTo>
                    <a:pt x="20911" y="4481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4" name="任意多边形: 形状 513"/>
            <p:cNvSpPr/>
            <p:nvPr/>
          </p:nvSpPr>
          <p:spPr>
            <a:xfrm>
              <a:off x="3015758" y="4961432"/>
              <a:ext cx="13633" cy="13633"/>
            </a:xfrm>
            <a:custGeom>
              <a:avLst/>
              <a:gdLst>
                <a:gd name="connsiteX0" fmla="*/ 0 w 14936"/>
                <a:gd name="connsiteY0" fmla="*/ 5974 h 0"/>
                <a:gd name="connsiteX1" fmla="*/ 8962 w 14936"/>
                <a:gd name="connsiteY1" fmla="*/ 11949 h 0"/>
                <a:gd name="connsiteX2" fmla="*/ 20911 w 14936"/>
                <a:gd name="connsiteY2" fmla="*/ 4481 h 0"/>
                <a:gd name="connsiteX3" fmla="*/ 11949 w 14936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0" y="5974"/>
                  </a:moveTo>
                  <a:lnTo>
                    <a:pt x="8962" y="11949"/>
                  </a:lnTo>
                  <a:lnTo>
                    <a:pt x="20911" y="4481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5" name="任意多边形: 形状 514"/>
            <p:cNvSpPr/>
            <p:nvPr/>
          </p:nvSpPr>
          <p:spPr>
            <a:xfrm>
              <a:off x="3028029" y="4940982"/>
              <a:ext cx="27267" cy="13633"/>
            </a:xfrm>
            <a:custGeom>
              <a:avLst/>
              <a:gdLst>
                <a:gd name="connsiteX0" fmla="*/ 1493 w 29872"/>
                <a:gd name="connsiteY0" fmla="*/ 5974 h 14936"/>
                <a:gd name="connsiteX1" fmla="*/ 13443 w 29872"/>
                <a:gd name="connsiteY1" fmla="*/ 13443 h 14936"/>
                <a:gd name="connsiteX2" fmla="*/ 0 w 29872"/>
                <a:gd name="connsiteY2" fmla="*/ 20911 h 14936"/>
                <a:gd name="connsiteX3" fmla="*/ 8962 w 29872"/>
                <a:gd name="connsiteY3" fmla="*/ 26885 h 14936"/>
                <a:gd name="connsiteX4" fmla="*/ 22405 w 29872"/>
                <a:gd name="connsiteY4" fmla="*/ 19417 h 14936"/>
                <a:gd name="connsiteX5" fmla="*/ 25392 w 29872"/>
                <a:gd name="connsiteY5" fmla="*/ 16430 h 14936"/>
                <a:gd name="connsiteX6" fmla="*/ 34353 w 29872"/>
                <a:gd name="connsiteY6" fmla="*/ 11949 h 14936"/>
                <a:gd name="connsiteX7" fmla="*/ 34353 w 29872"/>
                <a:gd name="connsiteY7" fmla="*/ 11949 h 14936"/>
                <a:gd name="connsiteX8" fmla="*/ 26885 w 29872"/>
                <a:gd name="connsiteY8" fmla="*/ 7468 h 14936"/>
                <a:gd name="connsiteX9" fmla="*/ 25392 w 29872"/>
                <a:gd name="connsiteY9" fmla="*/ 5974 h 14936"/>
                <a:gd name="connsiteX10" fmla="*/ 13443 w 29872"/>
                <a:gd name="connsiteY10" fmla="*/ 0 h 14936"/>
                <a:gd name="connsiteX11" fmla="*/ 13443 w 29872"/>
                <a:gd name="connsiteY11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872" h="14936">
                  <a:moveTo>
                    <a:pt x="1493" y="5974"/>
                  </a:moveTo>
                  <a:lnTo>
                    <a:pt x="13443" y="13443"/>
                  </a:lnTo>
                  <a:lnTo>
                    <a:pt x="0" y="20911"/>
                  </a:lnTo>
                  <a:lnTo>
                    <a:pt x="8962" y="26885"/>
                  </a:lnTo>
                  <a:lnTo>
                    <a:pt x="22405" y="19417"/>
                  </a:lnTo>
                  <a:lnTo>
                    <a:pt x="25392" y="16430"/>
                  </a:lnTo>
                  <a:lnTo>
                    <a:pt x="34353" y="11949"/>
                  </a:lnTo>
                  <a:lnTo>
                    <a:pt x="34353" y="11949"/>
                  </a:lnTo>
                  <a:lnTo>
                    <a:pt x="26885" y="7468"/>
                  </a:lnTo>
                  <a:lnTo>
                    <a:pt x="25392" y="5974"/>
                  </a:lnTo>
                  <a:lnTo>
                    <a:pt x="13443" y="0"/>
                  </a:lnTo>
                  <a:lnTo>
                    <a:pt x="13443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6" name="任意多边形: 形状 515"/>
            <p:cNvSpPr/>
            <p:nvPr/>
          </p:nvSpPr>
          <p:spPr>
            <a:xfrm>
              <a:off x="2965315" y="5002333"/>
              <a:ext cx="13633" cy="13633"/>
            </a:xfrm>
            <a:custGeom>
              <a:avLst/>
              <a:gdLst>
                <a:gd name="connsiteX0" fmla="*/ 11949 w 14936"/>
                <a:gd name="connsiteY0" fmla="*/ 0 h 0"/>
                <a:gd name="connsiteX1" fmla="*/ 0 w 14936"/>
                <a:gd name="connsiteY1" fmla="*/ 5974 h 0"/>
                <a:gd name="connsiteX2" fmla="*/ 8962 w 14936"/>
                <a:gd name="connsiteY2" fmla="*/ 11949 h 0"/>
                <a:gd name="connsiteX3" fmla="*/ 20911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0" y="5974"/>
                  </a:lnTo>
                  <a:lnTo>
                    <a:pt x="8962" y="11949"/>
                  </a:lnTo>
                  <a:lnTo>
                    <a:pt x="20911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7" name="任意多边形: 形状 516"/>
            <p:cNvSpPr/>
            <p:nvPr/>
          </p:nvSpPr>
          <p:spPr>
            <a:xfrm>
              <a:off x="2977584" y="4995515"/>
              <a:ext cx="13633" cy="13633"/>
            </a:xfrm>
            <a:custGeom>
              <a:avLst/>
              <a:gdLst>
                <a:gd name="connsiteX0" fmla="*/ 20911 w 14936"/>
                <a:gd name="connsiteY0" fmla="*/ 4481 h 0"/>
                <a:gd name="connsiteX1" fmla="*/ 10456 w 14936"/>
                <a:gd name="connsiteY1" fmla="*/ 0 h 0"/>
                <a:gd name="connsiteX2" fmla="*/ 0 w 14936"/>
                <a:gd name="connsiteY2" fmla="*/ 5974 h 0"/>
                <a:gd name="connsiteX3" fmla="*/ 8962 w 14936"/>
                <a:gd name="connsiteY3" fmla="*/ 1194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20911" y="4481"/>
                  </a:moveTo>
                  <a:lnTo>
                    <a:pt x="10456" y="0"/>
                  </a:lnTo>
                  <a:lnTo>
                    <a:pt x="0" y="5974"/>
                  </a:lnTo>
                  <a:lnTo>
                    <a:pt x="8962" y="11949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8" name="任意多边形: 形状 517"/>
            <p:cNvSpPr/>
            <p:nvPr/>
          </p:nvSpPr>
          <p:spPr>
            <a:xfrm>
              <a:off x="2989855" y="4966885"/>
              <a:ext cx="54534" cy="27267"/>
            </a:xfrm>
            <a:custGeom>
              <a:avLst/>
              <a:gdLst>
                <a:gd name="connsiteX0" fmla="*/ 50783 w 59745"/>
                <a:gd name="connsiteY0" fmla="*/ 0 h 29872"/>
                <a:gd name="connsiteX1" fmla="*/ 43315 w 59745"/>
                <a:gd name="connsiteY1" fmla="*/ 4481 h 29872"/>
                <a:gd name="connsiteX2" fmla="*/ 38834 w 59745"/>
                <a:gd name="connsiteY2" fmla="*/ 5974 h 29872"/>
                <a:gd name="connsiteX3" fmla="*/ 37341 w 59745"/>
                <a:gd name="connsiteY3" fmla="*/ 7468 h 29872"/>
                <a:gd name="connsiteX4" fmla="*/ 25392 w 59745"/>
                <a:gd name="connsiteY4" fmla="*/ 14936 h 29872"/>
                <a:gd name="connsiteX5" fmla="*/ 23898 w 59745"/>
                <a:gd name="connsiteY5" fmla="*/ 14936 h 29872"/>
                <a:gd name="connsiteX6" fmla="*/ 13443 w 59745"/>
                <a:gd name="connsiteY6" fmla="*/ 22405 h 29872"/>
                <a:gd name="connsiteX7" fmla="*/ 0 w 59745"/>
                <a:gd name="connsiteY7" fmla="*/ 29873 h 29872"/>
                <a:gd name="connsiteX8" fmla="*/ 8962 w 59745"/>
                <a:gd name="connsiteY8" fmla="*/ 35847 h 29872"/>
                <a:gd name="connsiteX9" fmla="*/ 22405 w 59745"/>
                <a:gd name="connsiteY9" fmla="*/ 28379 h 29872"/>
                <a:gd name="connsiteX10" fmla="*/ 34354 w 59745"/>
                <a:gd name="connsiteY10" fmla="*/ 20911 h 29872"/>
                <a:gd name="connsiteX11" fmla="*/ 35847 w 59745"/>
                <a:gd name="connsiteY11" fmla="*/ 19418 h 29872"/>
                <a:gd name="connsiteX12" fmla="*/ 47796 w 59745"/>
                <a:gd name="connsiteY12" fmla="*/ 13443 h 29872"/>
                <a:gd name="connsiteX13" fmla="*/ 49290 w 59745"/>
                <a:gd name="connsiteY13" fmla="*/ 11949 h 29872"/>
                <a:gd name="connsiteX14" fmla="*/ 52277 w 59745"/>
                <a:gd name="connsiteY14" fmla="*/ 10456 h 29872"/>
                <a:gd name="connsiteX15" fmla="*/ 61239 w 59745"/>
                <a:gd name="connsiteY15" fmla="*/ 5974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745" h="29872">
                  <a:moveTo>
                    <a:pt x="50783" y="0"/>
                  </a:moveTo>
                  <a:lnTo>
                    <a:pt x="43315" y="4481"/>
                  </a:lnTo>
                  <a:lnTo>
                    <a:pt x="38834" y="5974"/>
                  </a:lnTo>
                  <a:lnTo>
                    <a:pt x="37341" y="7468"/>
                  </a:lnTo>
                  <a:lnTo>
                    <a:pt x="25392" y="14936"/>
                  </a:lnTo>
                  <a:lnTo>
                    <a:pt x="23898" y="14936"/>
                  </a:lnTo>
                  <a:lnTo>
                    <a:pt x="13443" y="22405"/>
                  </a:lnTo>
                  <a:lnTo>
                    <a:pt x="0" y="29873"/>
                  </a:lnTo>
                  <a:lnTo>
                    <a:pt x="8962" y="35847"/>
                  </a:lnTo>
                  <a:lnTo>
                    <a:pt x="22405" y="28379"/>
                  </a:lnTo>
                  <a:lnTo>
                    <a:pt x="34354" y="20911"/>
                  </a:lnTo>
                  <a:lnTo>
                    <a:pt x="35847" y="19418"/>
                  </a:lnTo>
                  <a:lnTo>
                    <a:pt x="47796" y="13443"/>
                  </a:lnTo>
                  <a:lnTo>
                    <a:pt x="49290" y="11949"/>
                  </a:lnTo>
                  <a:lnTo>
                    <a:pt x="52277" y="10456"/>
                  </a:lnTo>
                  <a:lnTo>
                    <a:pt x="61239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9" name="任意多边形: 形状 518"/>
            <p:cNvSpPr/>
            <p:nvPr/>
          </p:nvSpPr>
          <p:spPr>
            <a:xfrm>
              <a:off x="3037572" y="4960069"/>
              <a:ext cx="13633" cy="13633"/>
            </a:xfrm>
            <a:custGeom>
              <a:avLst/>
              <a:gdLst>
                <a:gd name="connsiteX0" fmla="*/ 10455 w 14936"/>
                <a:gd name="connsiteY0" fmla="*/ 11949 h 0"/>
                <a:gd name="connsiteX1" fmla="*/ 22405 w 14936"/>
                <a:gd name="connsiteY1" fmla="*/ 5974 h 0"/>
                <a:gd name="connsiteX2" fmla="*/ 11949 w 14936"/>
                <a:gd name="connsiteY2" fmla="*/ 0 h 0"/>
                <a:gd name="connsiteX3" fmla="*/ 0 w 14936"/>
                <a:gd name="connsiteY3" fmla="*/ 59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0455" y="11949"/>
                  </a:moveTo>
                  <a:lnTo>
                    <a:pt x="22405" y="5974"/>
                  </a:lnTo>
                  <a:lnTo>
                    <a:pt x="11949" y="0"/>
                  </a:lnTo>
                  <a:lnTo>
                    <a:pt x="0" y="5974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0" name="任意多边形: 形状 519"/>
            <p:cNvSpPr/>
            <p:nvPr/>
          </p:nvSpPr>
          <p:spPr>
            <a:xfrm>
              <a:off x="3049842" y="4953252"/>
              <a:ext cx="13633" cy="13633"/>
            </a:xfrm>
            <a:custGeom>
              <a:avLst/>
              <a:gdLst>
                <a:gd name="connsiteX0" fmla="*/ 11949 w 14936"/>
                <a:gd name="connsiteY0" fmla="*/ 0 h 0"/>
                <a:gd name="connsiteX1" fmla="*/ 0 w 14936"/>
                <a:gd name="connsiteY1" fmla="*/ 5974 h 0"/>
                <a:gd name="connsiteX2" fmla="*/ 10455 w 14936"/>
                <a:gd name="connsiteY2" fmla="*/ 11949 h 0"/>
                <a:gd name="connsiteX3" fmla="*/ 22405 w 14936"/>
                <a:gd name="connsiteY3" fmla="*/ 4481 h 0"/>
                <a:gd name="connsiteX4" fmla="*/ 11949 w 14936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0" y="5974"/>
                  </a:lnTo>
                  <a:lnTo>
                    <a:pt x="10455" y="11949"/>
                  </a:lnTo>
                  <a:lnTo>
                    <a:pt x="22405" y="4481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1" name="任意多边形: 形状 520"/>
            <p:cNvSpPr/>
            <p:nvPr/>
          </p:nvSpPr>
          <p:spPr>
            <a:xfrm>
              <a:off x="2905327" y="4837368"/>
              <a:ext cx="109068" cy="149969"/>
            </a:xfrm>
            <a:custGeom>
              <a:avLst/>
              <a:gdLst>
                <a:gd name="connsiteX0" fmla="*/ 5974 w 119490"/>
                <a:gd name="connsiteY0" fmla="*/ 167287 h 164299"/>
                <a:gd name="connsiteX1" fmla="*/ 5974 w 119490"/>
                <a:gd name="connsiteY1" fmla="*/ 80656 h 164299"/>
                <a:gd name="connsiteX2" fmla="*/ 5974 w 119490"/>
                <a:gd name="connsiteY2" fmla="*/ 77669 h 164299"/>
                <a:gd name="connsiteX3" fmla="*/ 8962 w 119490"/>
                <a:gd name="connsiteY3" fmla="*/ 73188 h 164299"/>
                <a:gd name="connsiteX4" fmla="*/ 10455 w 119490"/>
                <a:gd name="connsiteY4" fmla="*/ 71695 h 164299"/>
                <a:gd name="connsiteX5" fmla="*/ 129946 w 119490"/>
                <a:gd name="connsiteY5" fmla="*/ 2987 h 164299"/>
                <a:gd name="connsiteX6" fmla="*/ 132933 w 119490"/>
                <a:gd name="connsiteY6" fmla="*/ 2987 h 164299"/>
                <a:gd name="connsiteX7" fmla="*/ 132933 w 119490"/>
                <a:gd name="connsiteY7" fmla="*/ 2987 h 164299"/>
                <a:gd name="connsiteX8" fmla="*/ 126959 w 119490"/>
                <a:gd name="connsiteY8" fmla="*/ 0 h 164299"/>
                <a:gd name="connsiteX9" fmla="*/ 126959 w 119490"/>
                <a:gd name="connsiteY9" fmla="*/ 0 h 164299"/>
                <a:gd name="connsiteX10" fmla="*/ 123971 w 119490"/>
                <a:gd name="connsiteY10" fmla="*/ 0 h 164299"/>
                <a:gd name="connsiteX11" fmla="*/ 4481 w 119490"/>
                <a:gd name="connsiteY11" fmla="*/ 68707 h 164299"/>
                <a:gd name="connsiteX12" fmla="*/ 0 w 119490"/>
                <a:gd name="connsiteY12" fmla="*/ 76175 h 164299"/>
                <a:gd name="connsiteX13" fmla="*/ 0 w 119490"/>
                <a:gd name="connsiteY13" fmla="*/ 77669 h 164299"/>
                <a:gd name="connsiteX14" fmla="*/ 0 w 119490"/>
                <a:gd name="connsiteY14" fmla="*/ 152351 h 164299"/>
                <a:gd name="connsiteX15" fmla="*/ 0 w 119490"/>
                <a:gd name="connsiteY15" fmla="*/ 152351 h 164299"/>
                <a:gd name="connsiteX16" fmla="*/ 0 w 119490"/>
                <a:gd name="connsiteY16" fmla="*/ 152351 h 164299"/>
                <a:gd name="connsiteX17" fmla="*/ 0 w 119490"/>
                <a:gd name="connsiteY17" fmla="*/ 164300 h 164299"/>
                <a:gd name="connsiteX18" fmla="*/ 1493 w 119490"/>
                <a:gd name="connsiteY18" fmla="*/ 167287 h 164299"/>
                <a:gd name="connsiteX19" fmla="*/ 1493 w 119490"/>
                <a:gd name="connsiteY19" fmla="*/ 167287 h 164299"/>
                <a:gd name="connsiteX20" fmla="*/ 7468 w 119490"/>
                <a:gd name="connsiteY20" fmla="*/ 170274 h 164299"/>
                <a:gd name="connsiteX21" fmla="*/ 7468 w 119490"/>
                <a:gd name="connsiteY21" fmla="*/ 170274 h 164299"/>
                <a:gd name="connsiteX22" fmla="*/ 5974 w 119490"/>
                <a:gd name="connsiteY22" fmla="*/ 167287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9490" h="164299">
                  <a:moveTo>
                    <a:pt x="5974" y="167287"/>
                  </a:moveTo>
                  <a:lnTo>
                    <a:pt x="5974" y="80656"/>
                  </a:lnTo>
                  <a:cubicBezTo>
                    <a:pt x="5974" y="79163"/>
                    <a:pt x="5974" y="79163"/>
                    <a:pt x="5974" y="77669"/>
                  </a:cubicBezTo>
                  <a:cubicBezTo>
                    <a:pt x="5974" y="76175"/>
                    <a:pt x="7468" y="74682"/>
                    <a:pt x="8962" y="73188"/>
                  </a:cubicBezTo>
                  <a:cubicBezTo>
                    <a:pt x="8962" y="73188"/>
                    <a:pt x="10455" y="71695"/>
                    <a:pt x="10455" y="71695"/>
                  </a:cubicBezTo>
                  <a:lnTo>
                    <a:pt x="129946" y="2987"/>
                  </a:lnTo>
                  <a:cubicBezTo>
                    <a:pt x="131440" y="2987"/>
                    <a:pt x="131440" y="1494"/>
                    <a:pt x="132933" y="2987"/>
                  </a:cubicBezTo>
                  <a:cubicBezTo>
                    <a:pt x="132933" y="2987"/>
                    <a:pt x="132933" y="2987"/>
                    <a:pt x="132933" y="2987"/>
                  </a:cubicBezTo>
                  <a:lnTo>
                    <a:pt x="126959" y="0"/>
                  </a:lnTo>
                  <a:lnTo>
                    <a:pt x="126959" y="0"/>
                  </a:lnTo>
                  <a:cubicBezTo>
                    <a:pt x="125465" y="0"/>
                    <a:pt x="125465" y="0"/>
                    <a:pt x="123971" y="0"/>
                  </a:cubicBezTo>
                  <a:lnTo>
                    <a:pt x="4481" y="68707"/>
                  </a:lnTo>
                  <a:cubicBezTo>
                    <a:pt x="1493" y="70201"/>
                    <a:pt x="0" y="73188"/>
                    <a:pt x="0" y="76175"/>
                  </a:cubicBezTo>
                  <a:cubicBezTo>
                    <a:pt x="0" y="76175"/>
                    <a:pt x="0" y="77669"/>
                    <a:pt x="0" y="77669"/>
                  </a:cubicBezTo>
                  <a:lnTo>
                    <a:pt x="0" y="152351"/>
                  </a:lnTo>
                  <a:lnTo>
                    <a:pt x="0" y="152351"/>
                  </a:lnTo>
                  <a:lnTo>
                    <a:pt x="0" y="152351"/>
                  </a:lnTo>
                  <a:lnTo>
                    <a:pt x="0" y="164300"/>
                  </a:lnTo>
                  <a:cubicBezTo>
                    <a:pt x="0" y="165793"/>
                    <a:pt x="0" y="165793"/>
                    <a:pt x="1493" y="167287"/>
                  </a:cubicBezTo>
                  <a:cubicBezTo>
                    <a:pt x="1493" y="167287"/>
                    <a:pt x="1493" y="167287"/>
                    <a:pt x="1493" y="167287"/>
                  </a:cubicBezTo>
                  <a:lnTo>
                    <a:pt x="7468" y="170274"/>
                  </a:lnTo>
                  <a:lnTo>
                    <a:pt x="7468" y="170274"/>
                  </a:lnTo>
                  <a:cubicBezTo>
                    <a:pt x="5974" y="168781"/>
                    <a:pt x="5974" y="168781"/>
                    <a:pt x="5974" y="1672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2" name="任意多边形: 形状 521"/>
            <p:cNvSpPr/>
            <p:nvPr/>
          </p:nvSpPr>
          <p:spPr>
            <a:xfrm>
              <a:off x="3026665" y="4838730"/>
              <a:ext cx="13633" cy="13633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3" name="任意多边形: 形状 522"/>
            <p:cNvSpPr/>
            <p:nvPr/>
          </p:nvSpPr>
          <p:spPr>
            <a:xfrm>
              <a:off x="3028029" y="4923259"/>
              <a:ext cx="13633" cy="13633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2987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1493"/>
                    <a:pt x="0" y="1493"/>
                    <a:pt x="0" y="2987"/>
                  </a:cubicBezTo>
                  <a:cubicBezTo>
                    <a:pt x="0" y="149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4" name="任意多边形: 形状 523"/>
            <p:cNvSpPr/>
            <p:nvPr/>
          </p:nvSpPr>
          <p:spPr>
            <a:xfrm>
              <a:off x="2910780" y="4904172"/>
              <a:ext cx="13633" cy="13633"/>
            </a:xfrm>
            <a:custGeom>
              <a:avLst/>
              <a:gdLst>
                <a:gd name="connsiteX0" fmla="*/ 2987 w 0"/>
                <a:gd name="connsiteY0" fmla="*/ 0 h 0"/>
                <a:gd name="connsiteX1" fmla="*/ 0 w 0"/>
                <a:gd name="connsiteY1" fmla="*/ 4481 h 0"/>
                <a:gd name="connsiteX2" fmla="*/ 298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987" y="0"/>
                  </a:moveTo>
                  <a:cubicBezTo>
                    <a:pt x="1494" y="1494"/>
                    <a:pt x="1494" y="2987"/>
                    <a:pt x="0" y="4481"/>
                  </a:cubicBezTo>
                  <a:cubicBezTo>
                    <a:pt x="0" y="2987"/>
                    <a:pt x="1494" y="1494"/>
                    <a:pt x="2987" y="0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5" name="任意多边形: 形状 524"/>
            <p:cNvSpPr/>
            <p:nvPr/>
          </p:nvSpPr>
          <p:spPr>
            <a:xfrm>
              <a:off x="2910780" y="4840094"/>
              <a:ext cx="109068" cy="149969"/>
            </a:xfrm>
            <a:custGeom>
              <a:avLst/>
              <a:gdLst>
                <a:gd name="connsiteX0" fmla="*/ 25392 w 119490"/>
                <a:gd name="connsiteY0" fmla="*/ 155338 h 164299"/>
                <a:gd name="connsiteX1" fmla="*/ 25392 w 119490"/>
                <a:gd name="connsiteY1" fmla="*/ 155338 h 164299"/>
                <a:gd name="connsiteX2" fmla="*/ 37341 w 119490"/>
                <a:gd name="connsiteY2" fmla="*/ 147870 h 164299"/>
                <a:gd name="connsiteX3" fmla="*/ 37341 w 119490"/>
                <a:gd name="connsiteY3" fmla="*/ 149363 h 164299"/>
                <a:gd name="connsiteX4" fmla="*/ 98580 w 119490"/>
                <a:gd name="connsiteY4" fmla="*/ 113516 h 164299"/>
                <a:gd name="connsiteX5" fmla="*/ 97086 w 119490"/>
                <a:gd name="connsiteY5" fmla="*/ 112023 h 164299"/>
                <a:gd name="connsiteX6" fmla="*/ 109035 w 119490"/>
                <a:gd name="connsiteY6" fmla="*/ 104554 h 164299"/>
                <a:gd name="connsiteX7" fmla="*/ 110529 w 119490"/>
                <a:gd name="connsiteY7" fmla="*/ 106048 h 164299"/>
                <a:gd name="connsiteX8" fmla="*/ 123972 w 119490"/>
                <a:gd name="connsiteY8" fmla="*/ 98580 h 164299"/>
                <a:gd name="connsiteX9" fmla="*/ 125465 w 119490"/>
                <a:gd name="connsiteY9" fmla="*/ 98580 h 164299"/>
                <a:gd name="connsiteX10" fmla="*/ 126959 w 119490"/>
                <a:gd name="connsiteY10" fmla="*/ 97086 h 164299"/>
                <a:gd name="connsiteX11" fmla="*/ 128453 w 119490"/>
                <a:gd name="connsiteY11" fmla="*/ 94099 h 164299"/>
                <a:gd name="connsiteX12" fmla="*/ 128453 w 119490"/>
                <a:gd name="connsiteY12" fmla="*/ 91112 h 164299"/>
                <a:gd name="connsiteX13" fmla="*/ 128453 w 119490"/>
                <a:gd name="connsiteY13" fmla="*/ 89618 h 164299"/>
                <a:gd name="connsiteX14" fmla="*/ 128453 w 119490"/>
                <a:gd name="connsiteY14" fmla="*/ 2987 h 164299"/>
                <a:gd name="connsiteX15" fmla="*/ 128453 w 119490"/>
                <a:gd name="connsiteY15" fmla="*/ 1494 h 164299"/>
                <a:gd name="connsiteX16" fmla="*/ 126959 w 119490"/>
                <a:gd name="connsiteY16" fmla="*/ 0 h 164299"/>
                <a:gd name="connsiteX17" fmla="*/ 126959 w 119490"/>
                <a:gd name="connsiteY17" fmla="*/ 0 h 164299"/>
                <a:gd name="connsiteX18" fmla="*/ 126959 w 119490"/>
                <a:gd name="connsiteY18" fmla="*/ 0 h 164299"/>
                <a:gd name="connsiteX19" fmla="*/ 126959 w 119490"/>
                <a:gd name="connsiteY19" fmla="*/ 0 h 164299"/>
                <a:gd name="connsiteX20" fmla="*/ 123972 w 119490"/>
                <a:gd name="connsiteY20" fmla="*/ 0 h 164299"/>
                <a:gd name="connsiteX21" fmla="*/ 4481 w 119490"/>
                <a:gd name="connsiteY21" fmla="*/ 68707 h 164299"/>
                <a:gd name="connsiteX22" fmla="*/ 2987 w 119490"/>
                <a:gd name="connsiteY22" fmla="*/ 70201 h 164299"/>
                <a:gd name="connsiteX23" fmla="*/ 0 w 119490"/>
                <a:gd name="connsiteY23" fmla="*/ 74682 h 164299"/>
                <a:gd name="connsiteX24" fmla="*/ 0 w 119490"/>
                <a:gd name="connsiteY24" fmla="*/ 77669 h 164299"/>
                <a:gd name="connsiteX25" fmla="*/ 0 w 119490"/>
                <a:gd name="connsiteY25" fmla="*/ 164300 h 164299"/>
                <a:gd name="connsiteX26" fmla="*/ 1494 w 119490"/>
                <a:gd name="connsiteY26" fmla="*/ 167287 h 164299"/>
                <a:gd name="connsiteX27" fmla="*/ 4481 w 119490"/>
                <a:gd name="connsiteY27" fmla="*/ 167287 h 164299"/>
                <a:gd name="connsiteX28" fmla="*/ 5974 w 119490"/>
                <a:gd name="connsiteY28" fmla="*/ 167287 h 164299"/>
                <a:gd name="connsiteX29" fmla="*/ 25392 w 119490"/>
                <a:gd name="connsiteY29" fmla="*/ 155338 h 164299"/>
                <a:gd name="connsiteX30" fmla="*/ 64226 w 119490"/>
                <a:gd name="connsiteY30" fmla="*/ 35847 h 164299"/>
                <a:gd name="connsiteX31" fmla="*/ 65720 w 119490"/>
                <a:gd name="connsiteY31" fmla="*/ 37341 h 164299"/>
                <a:gd name="connsiteX32" fmla="*/ 64226 w 119490"/>
                <a:gd name="connsiteY32" fmla="*/ 40328 h 164299"/>
                <a:gd name="connsiteX33" fmla="*/ 62733 w 119490"/>
                <a:gd name="connsiteY33" fmla="*/ 38835 h 164299"/>
                <a:gd name="connsiteX34" fmla="*/ 64226 w 119490"/>
                <a:gd name="connsiteY34" fmla="*/ 35847 h 164299"/>
                <a:gd name="connsiteX35" fmla="*/ 8962 w 119490"/>
                <a:gd name="connsiteY35" fmla="*/ 74682 h 164299"/>
                <a:gd name="connsiteX36" fmla="*/ 119491 w 119490"/>
                <a:gd name="connsiteY36" fmla="*/ 10455 h 164299"/>
                <a:gd name="connsiteX37" fmla="*/ 122478 w 119490"/>
                <a:gd name="connsiteY37" fmla="*/ 11949 h 164299"/>
                <a:gd name="connsiteX38" fmla="*/ 122478 w 119490"/>
                <a:gd name="connsiteY38" fmla="*/ 86631 h 164299"/>
                <a:gd name="connsiteX39" fmla="*/ 119491 w 119490"/>
                <a:gd name="connsiteY39" fmla="*/ 91112 h 164299"/>
                <a:gd name="connsiteX40" fmla="*/ 8962 w 119490"/>
                <a:gd name="connsiteY40" fmla="*/ 155338 h 164299"/>
                <a:gd name="connsiteX41" fmla="*/ 5974 w 119490"/>
                <a:gd name="connsiteY41" fmla="*/ 153844 h 164299"/>
                <a:gd name="connsiteX42" fmla="*/ 5974 w 119490"/>
                <a:gd name="connsiteY42" fmla="*/ 79162 h 164299"/>
                <a:gd name="connsiteX43" fmla="*/ 8962 w 119490"/>
                <a:gd name="connsiteY43" fmla="*/ 74682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19490" h="164299">
                  <a:moveTo>
                    <a:pt x="25392" y="155338"/>
                  </a:moveTo>
                  <a:lnTo>
                    <a:pt x="25392" y="155338"/>
                  </a:lnTo>
                  <a:lnTo>
                    <a:pt x="37341" y="147870"/>
                  </a:lnTo>
                  <a:lnTo>
                    <a:pt x="37341" y="149363"/>
                  </a:lnTo>
                  <a:lnTo>
                    <a:pt x="98580" y="113516"/>
                  </a:lnTo>
                  <a:lnTo>
                    <a:pt x="97086" y="112023"/>
                  </a:lnTo>
                  <a:lnTo>
                    <a:pt x="109035" y="104554"/>
                  </a:lnTo>
                  <a:lnTo>
                    <a:pt x="110529" y="106048"/>
                  </a:lnTo>
                  <a:lnTo>
                    <a:pt x="123972" y="98580"/>
                  </a:lnTo>
                  <a:cubicBezTo>
                    <a:pt x="123972" y="98580"/>
                    <a:pt x="123972" y="98580"/>
                    <a:pt x="125465" y="98580"/>
                  </a:cubicBezTo>
                  <a:cubicBezTo>
                    <a:pt x="125465" y="98580"/>
                    <a:pt x="126959" y="97086"/>
                    <a:pt x="126959" y="97086"/>
                  </a:cubicBezTo>
                  <a:cubicBezTo>
                    <a:pt x="126959" y="97086"/>
                    <a:pt x="128453" y="95593"/>
                    <a:pt x="128453" y="94099"/>
                  </a:cubicBezTo>
                  <a:cubicBezTo>
                    <a:pt x="128453" y="92605"/>
                    <a:pt x="128453" y="92605"/>
                    <a:pt x="128453" y="91112"/>
                  </a:cubicBezTo>
                  <a:cubicBezTo>
                    <a:pt x="128453" y="91112"/>
                    <a:pt x="128453" y="89618"/>
                    <a:pt x="128453" y="89618"/>
                  </a:cubicBezTo>
                  <a:lnTo>
                    <a:pt x="128453" y="2987"/>
                  </a:lnTo>
                  <a:cubicBezTo>
                    <a:pt x="128453" y="2987"/>
                    <a:pt x="128453" y="2987"/>
                    <a:pt x="128453" y="1494"/>
                  </a:cubicBezTo>
                  <a:cubicBezTo>
                    <a:pt x="128453" y="0"/>
                    <a:pt x="128453" y="0"/>
                    <a:pt x="126959" y="0"/>
                  </a:cubicBezTo>
                  <a:cubicBezTo>
                    <a:pt x="126959" y="0"/>
                    <a:pt x="126959" y="0"/>
                    <a:pt x="126959" y="0"/>
                  </a:cubicBezTo>
                  <a:cubicBezTo>
                    <a:pt x="126959" y="0"/>
                    <a:pt x="126959" y="0"/>
                    <a:pt x="126959" y="0"/>
                  </a:cubicBezTo>
                  <a:cubicBezTo>
                    <a:pt x="126959" y="0"/>
                    <a:pt x="126959" y="0"/>
                    <a:pt x="126959" y="0"/>
                  </a:cubicBezTo>
                  <a:cubicBezTo>
                    <a:pt x="125465" y="0"/>
                    <a:pt x="125465" y="0"/>
                    <a:pt x="123972" y="0"/>
                  </a:cubicBezTo>
                  <a:lnTo>
                    <a:pt x="4481" y="68707"/>
                  </a:lnTo>
                  <a:cubicBezTo>
                    <a:pt x="4481" y="68707"/>
                    <a:pt x="2987" y="70201"/>
                    <a:pt x="2987" y="70201"/>
                  </a:cubicBezTo>
                  <a:cubicBezTo>
                    <a:pt x="1494" y="71694"/>
                    <a:pt x="1494" y="73188"/>
                    <a:pt x="0" y="74682"/>
                  </a:cubicBezTo>
                  <a:cubicBezTo>
                    <a:pt x="0" y="76175"/>
                    <a:pt x="0" y="76175"/>
                    <a:pt x="0" y="77669"/>
                  </a:cubicBezTo>
                  <a:lnTo>
                    <a:pt x="0" y="164300"/>
                  </a:lnTo>
                  <a:cubicBezTo>
                    <a:pt x="0" y="165793"/>
                    <a:pt x="0" y="167287"/>
                    <a:pt x="1494" y="167287"/>
                  </a:cubicBezTo>
                  <a:cubicBezTo>
                    <a:pt x="2987" y="167287"/>
                    <a:pt x="2987" y="167287"/>
                    <a:pt x="4481" y="167287"/>
                  </a:cubicBezTo>
                  <a:lnTo>
                    <a:pt x="5974" y="167287"/>
                  </a:lnTo>
                  <a:lnTo>
                    <a:pt x="25392" y="155338"/>
                  </a:lnTo>
                  <a:close/>
                  <a:moveTo>
                    <a:pt x="64226" y="35847"/>
                  </a:moveTo>
                  <a:cubicBezTo>
                    <a:pt x="65720" y="35847"/>
                    <a:pt x="65720" y="35847"/>
                    <a:pt x="65720" y="37341"/>
                  </a:cubicBezTo>
                  <a:cubicBezTo>
                    <a:pt x="65720" y="38835"/>
                    <a:pt x="64226" y="40328"/>
                    <a:pt x="64226" y="40328"/>
                  </a:cubicBezTo>
                  <a:cubicBezTo>
                    <a:pt x="62733" y="40328"/>
                    <a:pt x="62733" y="40328"/>
                    <a:pt x="62733" y="38835"/>
                  </a:cubicBezTo>
                  <a:cubicBezTo>
                    <a:pt x="62733" y="37341"/>
                    <a:pt x="62733" y="37341"/>
                    <a:pt x="64226" y="35847"/>
                  </a:cubicBezTo>
                  <a:close/>
                  <a:moveTo>
                    <a:pt x="8962" y="74682"/>
                  </a:moveTo>
                  <a:lnTo>
                    <a:pt x="119491" y="10455"/>
                  </a:lnTo>
                  <a:cubicBezTo>
                    <a:pt x="120984" y="8962"/>
                    <a:pt x="122478" y="10455"/>
                    <a:pt x="122478" y="11949"/>
                  </a:cubicBezTo>
                  <a:lnTo>
                    <a:pt x="122478" y="86631"/>
                  </a:lnTo>
                  <a:cubicBezTo>
                    <a:pt x="122478" y="88124"/>
                    <a:pt x="120984" y="91112"/>
                    <a:pt x="119491" y="91112"/>
                  </a:cubicBezTo>
                  <a:lnTo>
                    <a:pt x="8962" y="155338"/>
                  </a:lnTo>
                  <a:cubicBezTo>
                    <a:pt x="7468" y="156832"/>
                    <a:pt x="5974" y="155338"/>
                    <a:pt x="5974" y="153844"/>
                  </a:cubicBezTo>
                  <a:lnTo>
                    <a:pt x="5974" y="79162"/>
                  </a:lnTo>
                  <a:cubicBezTo>
                    <a:pt x="5974" y="77669"/>
                    <a:pt x="7468" y="74682"/>
                    <a:pt x="8962" y="74682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6" name="任意多边形: 形状 525"/>
            <p:cNvSpPr/>
            <p:nvPr/>
          </p:nvSpPr>
          <p:spPr>
            <a:xfrm>
              <a:off x="2916234" y="4849073"/>
              <a:ext cx="95434" cy="122701"/>
            </a:xfrm>
            <a:custGeom>
              <a:avLst/>
              <a:gdLst>
                <a:gd name="connsiteX0" fmla="*/ 2987 w 104554"/>
                <a:gd name="connsiteY0" fmla="*/ 145501 h 134427"/>
                <a:gd name="connsiteX1" fmla="*/ 113516 w 104554"/>
                <a:gd name="connsiteY1" fmla="*/ 81275 h 134427"/>
                <a:gd name="connsiteX2" fmla="*/ 116504 w 104554"/>
                <a:gd name="connsiteY2" fmla="*/ 76794 h 134427"/>
                <a:gd name="connsiteX3" fmla="*/ 116504 w 104554"/>
                <a:gd name="connsiteY3" fmla="*/ 2112 h 134427"/>
                <a:gd name="connsiteX4" fmla="*/ 113516 w 104554"/>
                <a:gd name="connsiteY4" fmla="*/ 619 h 134427"/>
                <a:gd name="connsiteX5" fmla="*/ 2987 w 104554"/>
                <a:gd name="connsiteY5" fmla="*/ 64845 h 134427"/>
                <a:gd name="connsiteX6" fmla="*/ 0 w 104554"/>
                <a:gd name="connsiteY6" fmla="*/ 69326 h 134427"/>
                <a:gd name="connsiteX7" fmla="*/ 0 w 104554"/>
                <a:gd name="connsiteY7" fmla="*/ 144008 h 134427"/>
                <a:gd name="connsiteX8" fmla="*/ 2987 w 104554"/>
                <a:gd name="connsiteY8" fmla="*/ 145501 h 134427"/>
                <a:gd name="connsiteX9" fmla="*/ 17924 w 104554"/>
                <a:gd name="connsiteY9" fmla="*/ 69326 h 134427"/>
                <a:gd name="connsiteX10" fmla="*/ 92606 w 104554"/>
                <a:gd name="connsiteY10" fmla="*/ 26010 h 134427"/>
                <a:gd name="connsiteX11" fmla="*/ 92606 w 104554"/>
                <a:gd name="connsiteY11" fmla="*/ 26010 h 134427"/>
                <a:gd name="connsiteX12" fmla="*/ 98580 w 104554"/>
                <a:gd name="connsiteY12" fmla="*/ 21530 h 134427"/>
                <a:gd name="connsiteX13" fmla="*/ 98580 w 104554"/>
                <a:gd name="connsiteY13" fmla="*/ 75300 h 134427"/>
                <a:gd name="connsiteX14" fmla="*/ 16430 w 104554"/>
                <a:gd name="connsiteY14" fmla="*/ 123097 h 134427"/>
                <a:gd name="connsiteX15" fmla="*/ 16430 w 104554"/>
                <a:gd name="connsiteY15" fmla="*/ 99198 h 134427"/>
                <a:gd name="connsiteX16" fmla="*/ 16430 w 104554"/>
                <a:gd name="connsiteY16" fmla="*/ 99198 h 134427"/>
                <a:gd name="connsiteX17" fmla="*/ 16430 w 104554"/>
                <a:gd name="connsiteY17" fmla="*/ 97705 h 134427"/>
                <a:gd name="connsiteX18" fmla="*/ 16430 w 104554"/>
                <a:gd name="connsiteY18" fmla="*/ 97705 h 134427"/>
                <a:gd name="connsiteX19" fmla="*/ 16430 w 104554"/>
                <a:gd name="connsiteY19" fmla="*/ 78288 h 134427"/>
                <a:gd name="connsiteX20" fmla="*/ 16430 w 104554"/>
                <a:gd name="connsiteY20" fmla="*/ 78288 h 134427"/>
                <a:gd name="connsiteX21" fmla="*/ 16430 w 104554"/>
                <a:gd name="connsiteY21" fmla="*/ 69326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4554" h="134427">
                  <a:moveTo>
                    <a:pt x="2987" y="145501"/>
                  </a:moveTo>
                  <a:lnTo>
                    <a:pt x="113516" y="81275"/>
                  </a:lnTo>
                  <a:cubicBezTo>
                    <a:pt x="115010" y="79781"/>
                    <a:pt x="116504" y="78288"/>
                    <a:pt x="116504" y="76794"/>
                  </a:cubicBezTo>
                  <a:lnTo>
                    <a:pt x="116504" y="2112"/>
                  </a:lnTo>
                  <a:cubicBezTo>
                    <a:pt x="116504" y="619"/>
                    <a:pt x="115010" y="-875"/>
                    <a:pt x="113516" y="619"/>
                  </a:cubicBezTo>
                  <a:lnTo>
                    <a:pt x="2987" y="64845"/>
                  </a:lnTo>
                  <a:cubicBezTo>
                    <a:pt x="1494" y="66339"/>
                    <a:pt x="0" y="67832"/>
                    <a:pt x="0" y="69326"/>
                  </a:cubicBezTo>
                  <a:lnTo>
                    <a:pt x="0" y="144008"/>
                  </a:lnTo>
                  <a:cubicBezTo>
                    <a:pt x="0" y="146995"/>
                    <a:pt x="1494" y="146995"/>
                    <a:pt x="2987" y="145501"/>
                  </a:cubicBezTo>
                  <a:close/>
                  <a:moveTo>
                    <a:pt x="17924" y="69326"/>
                  </a:moveTo>
                  <a:lnTo>
                    <a:pt x="92606" y="26010"/>
                  </a:lnTo>
                  <a:lnTo>
                    <a:pt x="92606" y="26010"/>
                  </a:lnTo>
                  <a:lnTo>
                    <a:pt x="98580" y="21530"/>
                  </a:lnTo>
                  <a:lnTo>
                    <a:pt x="98580" y="75300"/>
                  </a:lnTo>
                  <a:lnTo>
                    <a:pt x="16430" y="123097"/>
                  </a:lnTo>
                  <a:lnTo>
                    <a:pt x="16430" y="99198"/>
                  </a:lnTo>
                  <a:lnTo>
                    <a:pt x="16430" y="99198"/>
                  </a:lnTo>
                  <a:lnTo>
                    <a:pt x="16430" y="97705"/>
                  </a:lnTo>
                  <a:lnTo>
                    <a:pt x="16430" y="97705"/>
                  </a:lnTo>
                  <a:lnTo>
                    <a:pt x="16430" y="78288"/>
                  </a:lnTo>
                  <a:lnTo>
                    <a:pt x="16430" y="78288"/>
                  </a:lnTo>
                  <a:lnTo>
                    <a:pt x="16430" y="69326"/>
                  </a:lnTo>
                  <a:close/>
                </a:path>
              </a:pathLst>
            </a:custGeom>
            <a:solidFill>
              <a:srgbClr val="296AAE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7" name="任意多边形: 形状 526"/>
            <p:cNvSpPr/>
            <p:nvPr/>
          </p:nvSpPr>
          <p:spPr>
            <a:xfrm>
              <a:off x="2968041" y="4872814"/>
              <a:ext cx="13633" cy="13633"/>
            </a:xfrm>
            <a:custGeom>
              <a:avLst/>
              <a:gdLst>
                <a:gd name="connsiteX0" fmla="*/ 1494 w 0"/>
                <a:gd name="connsiteY0" fmla="*/ 4481 h 0"/>
                <a:gd name="connsiteX1" fmla="*/ 2987 w 0"/>
                <a:gd name="connsiteY1" fmla="*/ 1494 h 0"/>
                <a:gd name="connsiteX2" fmla="*/ 1494 w 0"/>
                <a:gd name="connsiteY2" fmla="*/ 0 h 0"/>
                <a:gd name="connsiteX3" fmla="*/ 0 w 0"/>
                <a:gd name="connsiteY3" fmla="*/ 2987 h 0"/>
                <a:gd name="connsiteX4" fmla="*/ 1494 w 0"/>
                <a:gd name="connsiteY4" fmla="*/ 448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494" y="4481"/>
                  </a:moveTo>
                  <a:cubicBezTo>
                    <a:pt x="2987" y="4481"/>
                    <a:pt x="2987" y="2987"/>
                    <a:pt x="2987" y="1494"/>
                  </a:cubicBezTo>
                  <a:cubicBezTo>
                    <a:pt x="2987" y="0"/>
                    <a:pt x="1494" y="0"/>
                    <a:pt x="1494" y="0"/>
                  </a:cubicBezTo>
                  <a:cubicBezTo>
                    <a:pt x="0" y="0"/>
                    <a:pt x="0" y="1494"/>
                    <a:pt x="0" y="2987"/>
                  </a:cubicBezTo>
                  <a:cubicBezTo>
                    <a:pt x="0" y="4481"/>
                    <a:pt x="0" y="4481"/>
                    <a:pt x="1494" y="4481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8" name="任意多边形: 形状 527"/>
            <p:cNvSpPr/>
            <p:nvPr/>
          </p:nvSpPr>
          <p:spPr>
            <a:xfrm>
              <a:off x="2932595" y="4867361"/>
              <a:ext cx="68168" cy="81801"/>
            </a:xfrm>
            <a:custGeom>
              <a:avLst/>
              <a:gdLst>
                <a:gd name="connsiteX0" fmla="*/ 74682 w 74681"/>
                <a:gd name="connsiteY0" fmla="*/ 13443 h 89618"/>
                <a:gd name="connsiteX1" fmla="*/ 74682 w 74681"/>
                <a:gd name="connsiteY1" fmla="*/ 13443 h 89618"/>
                <a:gd name="connsiteX2" fmla="*/ 0 w 74681"/>
                <a:gd name="connsiteY2" fmla="*/ 56758 h 89618"/>
                <a:gd name="connsiteX3" fmla="*/ 0 w 74681"/>
                <a:gd name="connsiteY3" fmla="*/ 76175 h 89618"/>
                <a:gd name="connsiteX4" fmla="*/ 82150 w 74681"/>
                <a:gd name="connsiteY4" fmla="*/ 28379 h 89618"/>
                <a:gd name="connsiteX5" fmla="*/ 82150 w 74681"/>
                <a:gd name="connsiteY5" fmla="*/ 29873 h 89618"/>
                <a:gd name="connsiteX6" fmla="*/ 0 w 74681"/>
                <a:gd name="connsiteY6" fmla="*/ 77669 h 89618"/>
                <a:gd name="connsiteX7" fmla="*/ 0 w 74681"/>
                <a:gd name="connsiteY7" fmla="*/ 101567 h 89618"/>
                <a:gd name="connsiteX8" fmla="*/ 82150 w 74681"/>
                <a:gd name="connsiteY8" fmla="*/ 53771 h 89618"/>
                <a:gd name="connsiteX9" fmla="*/ 82150 w 74681"/>
                <a:gd name="connsiteY9" fmla="*/ 0 h 89618"/>
                <a:gd name="connsiteX10" fmla="*/ 82150 w 74681"/>
                <a:gd name="connsiteY10" fmla="*/ 7468 h 89618"/>
                <a:gd name="connsiteX11" fmla="*/ 74682 w 74681"/>
                <a:gd name="connsiteY11" fmla="*/ 13443 h 89618"/>
                <a:gd name="connsiteX12" fmla="*/ 35847 w 74681"/>
                <a:gd name="connsiteY12" fmla="*/ 52277 h 89618"/>
                <a:gd name="connsiteX13" fmla="*/ 4481 w 74681"/>
                <a:gd name="connsiteY13" fmla="*/ 70201 h 89618"/>
                <a:gd name="connsiteX14" fmla="*/ 4481 w 74681"/>
                <a:gd name="connsiteY14" fmla="*/ 68707 h 89618"/>
                <a:gd name="connsiteX15" fmla="*/ 35847 w 74681"/>
                <a:gd name="connsiteY15" fmla="*/ 50783 h 89618"/>
                <a:gd name="connsiteX16" fmla="*/ 35847 w 74681"/>
                <a:gd name="connsiteY16" fmla="*/ 52277 h 89618"/>
                <a:gd name="connsiteX17" fmla="*/ 35847 w 74681"/>
                <a:gd name="connsiteY17" fmla="*/ 46303 h 89618"/>
                <a:gd name="connsiteX18" fmla="*/ 4481 w 74681"/>
                <a:gd name="connsiteY18" fmla="*/ 64226 h 89618"/>
                <a:gd name="connsiteX19" fmla="*/ 4481 w 74681"/>
                <a:gd name="connsiteY19" fmla="*/ 62732 h 89618"/>
                <a:gd name="connsiteX20" fmla="*/ 35847 w 74681"/>
                <a:gd name="connsiteY20" fmla="*/ 44809 h 89618"/>
                <a:gd name="connsiteX21" fmla="*/ 35847 w 74681"/>
                <a:gd name="connsiteY21" fmla="*/ 46303 h 89618"/>
                <a:gd name="connsiteX22" fmla="*/ 35847 w 74681"/>
                <a:gd name="connsiteY22" fmla="*/ 41822 h 89618"/>
                <a:gd name="connsiteX23" fmla="*/ 4481 w 74681"/>
                <a:gd name="connsiteY23" fmla="*/ 59745 h 89618"/>
                <a:gd name="connsiteX24" fmla="*/ 4481 w 74681"/>
                <a:gd name="connsiteY24" fmla="*/ 58252 h 89618"/>
                <a:gd name="connsiteX25" fmla="*/ 35847 w 74681"/>
                <a:gd name="connsiteY25" fmla="*/ 40328 h 89618"/>
                <a:gd name="connsiteX26" fmla="*/ 35847 w 74681"/>
                <a:gd name="connsiteY26" fmla="*/ 41822 h 89618"/>
                <a:gd name="connsiteX27" fmla="*/ 76175 w 74681"/>
                <a:gd name="connsiteY27" fmla="*/ 52277 h 89618"/>
                <a:gd name="connsiteX28" fmla="*/ 44809 w 74681"/>
                <a:gd name="connsiteY28" fmla="*/ 70201 h 89618"/>
                <a:gd name="connsiteX29" fmla="*/ 44809 w 74681"/>
                <a:gd name="connsiteY29" fmla="*/ 68707 h 89618"/>
                <a:gd name="connsiteX30" fmla="*/ 76175 w 74681"/>
                <a:gd name="connsiteY30" fmla="*/ 50783 h 89618"/>
                <a:gd name="connsiteX31" fmla="*/ 76175 w 74681"/>
                <a:gd name="connsiteY31" fmla="*/ 52277 h 89618"/>
                <a:gd name="connsiteX32" fmla="*/ 76175 w 74681"/>
                <a:gd name="connsiteY32" fmla="*/ 47796 h 89618"/>
                <a:gd name="connsiteX33" fmla="*/ 41822 w 74681"/>
                <a:gd name="connsiteY33" fmla="*/ 67214 h 89618"/>
                <a:gd name="connsiteX34" fmla="*/ 41822 w 74681"/>
                <a:gd name="connsiteY34" fmla="*/ 65720 h 89618"/>
                <a:gd name="connsiteX35" fmla="*/ 76175 w 74681"/>
                <a:gd name="connsiteY35" fmla="*/ 46303 h 89618"/>
                <a:gd name="connsiteX36" fmla="*/ 76175 w 74681"/>
                <a:gd name="connsiteY36" fmla="*/ 47796 h 89618"/>
                <a:gd name="connsiteX37" fmla="*/ 32860 w 74681"/>
                <a:gd name="connsiteY37" fmla="*/ 67214 h 89618"/>
                <a:gd name="connsiteX38" fmla="*/ 32860 w 74681"/>
                <a:gd name="connsiteY38" fmla="*/ 65720 h 89618"/>
                <a:gd name="connsiteX39" fmla="*/ 76175 w 74681"/>
                <a:gd name="connsiteY39" fmla="*/ 40328 h 89618"/>
                <a:gd name="connsiteX40" fmla="*/ 76175 w 74681"/>
                <a:gd name="connsiteY40" fmla="*/ 41822 h 89618"/>
                <a:gd name="connsiteX41" fmla="*/ 32860 w 74681"/>
                <a:gd name="connsiteY41" fmla="*/ 67214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4681" h="89618">
                  <a:moveTo>
                    <a:pt x="74682" y="13443"/>
                  </a:moveTo>
                  <a:lnTo>
                    <a:pt x="74682" y="13443"/>
                  </a:lnTo>
                  <a:lnTo>
                    <a:pt x="0" y="56758"/>
                  </a:lnTo>
                  <a:lnTo>
                    <a:pt x="0" y="76175"/>
                  </a:lnTo>
                  <a:lnTo>
                    <a:pt x="82150" y="28379"/>
                  </a:lnTo>
                  <a:lnTo>
                    <a:pt x="82150" y="29873"/>
                  </a:lnTo>
                  <a:lnTo>
                    <a:pt x="0" y="77669"/>
                  </a:lnTo>
                  <a:lnTo>
                    <a:pt x="0" y="101567"/>
                  </a:lnTo>
                  <a:lnTo>
                    <a:pt x="82150" y="53771"/>
                  </a:lnTo>
                  <a:lnTo>
                    <a:pt x="82150" y="0"/>
                  </a:lnTo>
                  <a:lnTo>
                    <a:pt x="82150" y="7468"/>
                  </a:lnTo>
                  <a:lnTo>
                    <a:pt x="74682" y="13443"/>
                  </a:lnTo>
                  <a:close/>
                  <a:moveTo>
                    <a:pt x="35847" y="52277"/>
                  </a:moveTo>
                  <a:lnTo>
                    <a:pt x="4481" y="70201"/>
                  </a:lnTo>
                  <a:lnTo>
                    <a:pt x="4481" y="68707"/>
                  </a:lnTo>
                  <a:lnTo>
                    <a:pt x="35847" y="50783"/>
                  </a:lnTo>
                  <a:lnTo>
                    <a:pt x="35847" y="52277"/>
                  </a:lnTo>
                  <a:close/>
                  <a:moveTo>
                    <a:pt x="35847" y="46303"/>
                  </a:moveTo>
                  <a:lnTo>
                    <a:pt x="4481" y="64226"/>
                  </a:lnTo>
                  <a:lnTo>
                    <a:pt x="4481" y="62732"/>
                  </a:lnTo>
                  <a:lnTo>
                    <a:pt x="35847" y="44809"/>
                  </a:lnTo>
                  <a:lnTo>
                    <a:pt x="35847" y="46303"/>
                  </a:lnTo>
                  <a:close/>
                  <a:moveTo>
                    <a:pt x="35847" y="41822"/>
                  </a:moveTo>
                  <a:lnTo>
                    <a:pt x="4481" y="59745"/>
                  </a:lnTo>
                  <a:lnTo>
                    <a:pt x="4481" y="58252"/>
                  </a:lnTo>
                  <a:lnTo>
                    <a:pt x="35847" y="40328"/>
                  </a:lnTo>
                  <a:lnTo>
                    <a:pt x="35847" y="41822"/>
                  </a:lnTo>
                  <a:close/>
                  <a:moveTo>
                    <a:pt x="76175" y="52277"/>
                  </a:moveTo>
                  <a:lnTo>
                    <a:pt x="44809" y="70201"/>
                  </a:lnTo>
                  <a:lnTo>
                    <a:pt x="44809" y="68707"/>
                  </a:lnTo>
                  <a:lnTo>
                    <a:pt x="76175" y="50783"/>
                  </a:lnTo>
                  <a:lnTo>
                    <a:pt x="76175" y="52277"/>
                  </a:lnTo>
                  <a:close/>
                  <a:moveTo>
                    <a:pt x="76175" y="47796"/>
                  </a:moveTo>
                  <a:lnTo>
                    <a:pt x="41822" y="67214"/>
                  </a:lnTo>
                  <a:lnTo>
                    <a:pt x="41822" y="65720"/>
                  </a:lnTo>
                  <a:lnTo>
                    <a:pt x="76175" y="46303"/>
                  </a:lnTo>
                  <a:lnTo>
                    <a:pt x="76175" y="47796"/>
                  </a:lnTo>
                  <a:close/>
                  <a:moveTo>
                    <a:pt x="32860" y="67214"/>
                  </a:moveTo>
                  <a:lnTo>
                    <a:pt x="32860" y="65720"/>
                  </a:lnTo>
                  <a:lnTo>
                    <a:pt x="76175" y="40328"/>
                  </a:lnTo>
                  <a:lnTo>
                    <a:pt x="76175" y="41822"/>
                  </a:lnTo>
                  <a:lnTo>
                    <a:pt x="32860" y="67214"/>
                  </a:lnTo>
                  <a:close/>
                </a:path>
              </a:pathLst>
            </a:custGeom>
            <a:solidFill>
              <a:srgbClr val="F6F6F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9" name="任意多边形: 形状 528"/>
            <p:cNvSpPr/>
            <p:nvPr/>
          </p:nvSpPr>
          <p:spPr>
            <a:xfrm>
              <a:off x="2932595" y="4872814"/>
              <a:ext cx="68168" cy="40900"/>
            </a:xfrm>
            <a:custGeom>
              <a:avLst/>
              <a:gdLst>
                <a:gd name="connsiteX0" fmla="*/ 74682 w 74681"/>
                <a:gd name="connsiteY0" fmla="*/ 7468 h 44809"/>
                <a:gd name="connsiteX1" fmla="*/ 74682 w 74681"/>
                <a:gd name="connsiteY1" fmla="*/ 0 h 44809"/>
                <a:gd name="connsiteX2" fmla="*/ 0 w 74681"/>
                <a:gd name="connsiteY2" fmla="*/ 43315 h 44809"/>
                <a:gd name="connsiteX3" fmla="*/ 0 w 74681"/>
                <a:gd name="connsiteY3" fmla="*/ 50783 h 44809"/>
                <a:gd name="connsiteX4" fmla="*/ 0 w 74681"/>
                <a:gd name="connsiteY4" fmla="*/ 50783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74682" y="7468"/>
                  </a:moveTo>
                  <a:lnTo>
                    <a:pt x="74682" y="0"/>
                  </a:lnTo>
                  <a:lnTo>
                    <a:pt x="0" y="43315"/>
                  </a:lnTo>
                  <a:lnTo>
                    <a:pt x="0" y="50783"/>
                  </a:lnTo>
                  <a:lnTo>
                    <a:pt x="0" y="50783"/>
                  </a:lnTo>
                  <a:close/>
                </a:path>
              </a:pathLst>
            </a:custGeom>
            <a:solidFill>
              <a:srgbClr val="36A9E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0" name="任意多边形: 形状 529"/>
            <p:cNvSpPr/>
            <p:nvPr/>
          </p:nvSpPr>
          <p:spPr>
            <a:xfrm>
              <a:off x="2932595" y="4894628"/>
              <a:ext cx="68168" cy="40900"/>
            </a:xfrm>
            <a:custGeom>
              <a:avLst/>
              <a:gdLst>
                <a:gd name="connsiteX0" fmla="*/ 80656 w 74681"/>
                <a:gd name="connsiteY0" fmla="*/ 0 h 44809"/>
                <a:gd name="connsiteX1" fmla="*/ 0 w 74681"/>
                <a:gd name="connsiteY1" fmla="*/ 47796 h 44809"/>
                <a:gd name="connsiteX2" fmla="*/ 0 w 74681"/>
                <a:gd name="connsiteY2" fmla="*/ 47796 h 44809"/>
                <a:gd name="connsiteX3" fmla="*/ 0 w 74681"/>
                <a:gd name="connsiteY3" fmla="*/ 49290 h 44809"/>
                <a:gd name="connsiteX4" fmla="*/ 0 w 74681"/>
                <a:gd name="connsiteY4" fmla="*/ 49290 h 44809"/>
                <a:gd name="connsiteX5" fmla="*/ 80656 w 74681"/>
                <a:gd name="connsiteY5" fmla="*/ 1494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681" h="44809">
                  <a:moveTo>
                    <a:pt x="80656" y="0"/>
                  </a:moveTo>
                  <a:lnTo>
                    <a:pt x="0" y="47796"/>
                  </a:lnTo>
                  <a:lnTo>
                    <a:pt x="0" y="47796"/>
                  </a:lnTo>
                  <a:lnTo>
                    <a:pt x="0" y="49290"/>
                  </a:lnTo>
                  <a:lnTo>
                    <a:pt x="0" y="49290"/>
                  </a:lnTo>
                  <a:lnTo>
                    <a:pt x="80656" y="1494"/>
                  </a:lnTo>
                  <a:close/>
                </a:path>
              </a:pathLst>
            </a:custGeom>
            <a:solidFill>
              <a:srgbClr val="36A9E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1" name="任意多边形: 形状 530"/>
            <p:cNvSpPr/>
            <p:nvPr/>
          </p:nvSpPr>
          <p:spPr>
            <a:xfrm>
              <a:off x="3000761" y="4870088"/>
              <a:ext cx="13633" cy="13633"/>
            </a:xfrm>
            <a:custGeom>
              <a:avLst/>
              <a:gdLst>
                <a:gd name="connsiteX0" fmla="*/ 0 w 0"/>
                <a:gd name="connsiteY0" fmla="*/ 10456 h 0"/>
                <a:gd name="connsiteX1" fmla="*/ 5974 w 0"/>
                <a:gd name="connsiteY1" fmla="*/ 7468 h 0"/>
                <a:gd name="connsiteX2" fmla="*/ 5974 w 0"/>
                <a:gd name="connsiteY2" fmla="*/ 0 h 0"/>
                <a:gd name="connsiteX3" fmla="*/ 0 w 0"/>
                <a:gd name="connsiteY3" fmla="*/ 2987 h 0"/>
                <a:gd name="connsiteX4" fmla="*/ 0 w 0"/>
                <a:gd name="connsiteY4" fmla="*/ 2987 h 0"/>
                <a:gd name="connsiteX5" fmla="*/ 0 w 0"/>
                <a:gd name="connsiteY5" fmla="*/ 1045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10456"/>
                  </a:moveTo>
                  <a:lnTo>
                    <a:pt x="5974" y="7468"/>
                  </a:lnTo>
                  <a:lnTo>
                    <a:pt x="5974" y="0"/>
                  </a:lnTo>
                  <a:lnTo>
                    <a:pt x="0" y="2987"/>
                  </a:lnTo>
                  <a:lnTo>
                    <a:pt x="0" y="2987"/>
                  </a:lnTo>
                  <a:lnTo>
                    <a:pt x="0" y="10456"/>
                  </a:lnTo>
                  <a:close/>
                </a:path>
              </a:pathLst>
            </a:custGeom>
            <a:solidFill>
              <a:srgbClr val="FF5F5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2" name="任意多边形: 形状 531"/>
            <p:cNvSpPr/>
            <p:nvPr/>
          </p:nvSpPr>
          <p:spPr>
            <a:xfrm>
              <a:off x="2936684" y="4904172"/>
              <a:ext cx="27267" cy="13633"/>
            </a:xfrm>
            <a:custGeom>
              <a:avLst/>
              <a:gdLst>
                <a:gd name="connsiteX0" fmla="*/ 0 w 29872"/>
                <a:gd name="connsiteY0" fmla="*/ 19418 h 14936"/>
                <a:gd name="connsiteX1" fmla="*/ 31366 w 29872"/>
                <a:gd name="connsiteY1" fmla="*/ 1494 h 14936"/>
                <a:gd name="connsiteX2" fmla="*/ 31366 w 29872"/>
                <a:gd name="connsiteY2" fmla="*/ 0 h 14936"/>
                <a:gd name="connsiteX3" fmla="*/ 0 w 29872"/>
                <a:gd name="connsiteY3" fmla="*/ 17924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0" y="19418"/>
                  </a:moveTo>
                  <a:lnTo>
                    <a:pt x="31366" y="1494"/>
                  </a:lnTo>
                  <a:lnTo>
                    <a:pt x="31366" y="0"/>
                  </a:lnTo>
                  <a:lnTo>
                    <a:pt x="0" y="17924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3" name="任意多边形: 形状 532"/>
            <p:cNvSpPr/>
            <p:nvPr/>
          </p:nvSpPr>
          <p:spPr>
            <a:xfrm>
              <a:off x="2936684" y="4908262"/>
              <a:ext cx="27267" cy="13633"/>
            </a:xfrm>
            <a:custGeom>
              <a:avLst/>
              <a:gdLst>
                <a:gd name="connsiteX0" fmla="*/ 0 w 29872"/>
                <a:gd name="connsiteY0" fmla="*/ 19417 h 14936"/>
                <a:gd name="connsiteX1" fmla="*/ 31366 w 29872"/>
                <a:gd name="connsiteY1" fmla="*/ 1494 h 14936"/>
                <a:gd name="connsiteX2" fmla="*/ 31366 w 29872"/>
                <a:gd name="connsiteY2" fmla="*/ 0 h 14936"/>
                <a:gd name="connsiteX3" fmla="*/ 0 w 29872"/>
                <a:gd name="connsiteY3" fmla="*/ 17923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0" y="19417"/>
                  </a:moveTo>
                  <a:lnTo>
                    <a:pt x="31366" y="1494"/>
                  </a:lnTo>
                  <a:lnTo>
                    <a:pt x="31366" y="0"/>
                  </a:lnTo>
                  <a:lnTo>
                    <a:pt x="0" y="17923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4" name="任意多边形: 形状 533"/>
            <p:cNvSpPr/>
            <p:nvPr/>
          </p:nvSpPr>
          <p:spPr>
            <a:xfrm>
              <a:off x="2936684" y="4913715"/>
              <a:ext cx="27267" cy="13633"/>
            </a:xfrm>
            <a:custGeom>
              <a:avLst/>
              <a:gdLst>
                <a:gd name="connsiteX0" fmla="*/ 0 w 29872"/>
                <a:gd name="connsiteY0" fmla="*/ 19417 h 14936"/>
                <a:gd name="connsiteX1" fmla="*/ 31366 w 29872"/>
                <a:gd name="connsiteY1" fmla="*/ 1494 h 14936"/>
                <a:gd name="connsiteX2" fmla="*/ 31366 w 29872"/>
                <a:gd name="connsiteY2" fmla="*/ 0 h 14936"/>
                <a:gd name="connsiteX3" fmla="*/ 0 w 29872"/>
                <a:gd name="connsiteY3" fmla="*/ 17924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0" y="19417"/>
                  </a:moveTo>
                  <a:lnTo>
                    <a:pt x="31366" y="1494"/>
                  </a:lnTo>
                  <a:lnTo>
                    <a:pt x="31366" y="0"/>
                  </a:lnTo>
                  <a:lnTo>
                    <a:pt x="0" y="17924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5" name="任意多边形: 形状 534"/>
            <p:cNvSpPr/>
            <p:nvPr/>
          </p:nvSpPr>
          <p:spPr>
            <a:xfrm>
              <a:off x="2962587" y="4904172"/>
              <a:ext cx="27267" cy="13633"/>
            </a:xfrm>
            <a:custGeom>
              <a:avLst/>
              <a:gdLst>
                <a:gd name="connsiteX0" fmla="*/ 0 w 29872"/>
                <a:gd name="connsiteY0" fmla="*/ 25392 h 14936"/>
                <a:gd name="connsiteX1" fmla="*/ 0 w 29872"/>
                <a:gd name="connsiteY1" fmla="*/ 26886 h 14936"/>
                <a:gd name="connsiteX2" fmla="*/ 43315 w 29872"/>
                <a:gd name="connsiteY2" fmla="*/ 1494 h 14936"/>
                <a:gd name="connsiteX3" fmla="*/ 43315 w 29872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0" y="25392"/>
                  </a:moveTo>
                  <a:lnTo>
                    <a:pt x="0" y="26886"/>
                  </a:lnTo>
                  <a:lnTo>
                    <a:pt x="43315" y="1494"/>
                  </a:lnTo>
                  <a:lnTo>
                    <a:pt x="43315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6" name="任意多边形: 形状 535"/>
            <p:cNvSpPr/>
            <p:nvPr/>
          </p:nvSpPr>
          <p:spPr>
            <a:xfrm>
              <a:off x="2970768" y="4909625"/>
              <a:ext cx="27267" cy="13633"/>
            </a:xfrm>
            <a:custGeom>
              <a:avLst/>
              <a:gdLst>
                <a:gd name="connsiteX0" fmla="*/ 0 w 29872"/>
                <a:gd name="connsiteY0" fmla="*/ 20911 h 14936"/>
                <a:gd name="connsiteX1" fmla="*/ 34354 w 29872"/>
                <a:gd name="connsiteY1" fmla="*/ 1493 h 14936"/>
                <a:gd name="connsiteX2" fmla="*/ 34354 w 29872"/>
                <a:gd name="connsiteY2" fmla="*/ 0 h 14936"/>
                <a:gd name="connsiteX3" fmla="*/ 0 w 29872"/>
                <a:gd name="connsiteY3" fmla="*/ 19417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0" y="20911"/>
                  </a:moveTo>
                  <a:lnTo>
                    <a:pt x="34354" y="1493"/>
                  </a:lnTo>
                  <a:lnTo>
                    <a:pt x="34354" y="0"/>
                  </a:lnTo>
                  <a:lnTo>
                    <a:pt x="0" y="19417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7" name="任意多边形: 形状 536"/>
            <p:cNvSpPr/>
            <p:nvPr/>
          </p:nvSpPr>
          <p:spPr>
            <a:xfrm>
              <a:off x="2973495" y="4913715"/>
              <a:ext cx="27267" cy="13633"/>
            </a:xfrm>
            <a:custGeom>
              <a:avLst/>
              <a:gdLst>
                <a:gd name="connsiteX0" fmla="*/ 0 w 29872"/>
                <a:gd name="connsiteY0" fmla="*/ 19417 h 14936"/>
                <a:gd name="connsiteX1" fmla="*/ 31366 w 29872"/>
                <a:gd name="connsiteY1" fmla="*/ 1494 h 14936"/>
                <a:gd name="connsiteX2" fmla="*/ 31366 w 29872"/>
                <a:gd name="connsiteY2" fmla="*/ 0 h 14936"/>
                <a:gd name="connsiteX3" fmla="*/ 0 w 29872"/>
                <a:gd name="connsiteY3" fmla="*/ 17924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72" h="14936">
                  <a:moveTo>
                    <a:pt x="0" y="19417"/>
                  </a:moveTo>
                  <a:lnTo>
                    <a:pt x="31366" y="1494"/>
                  </a:lnTo>
                  <a:lnTo>
                    <a:pt x="31366" y="0"/>
                  </a:lnTo>
                  <a:lnTo>
                    <a:pt x="0" y="17924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8" name="任意多边形: 形状 537"/>
            <p:cNvSpPr/>
            <p:nvPr/>
          </p:nvSpPr>
          <p:spPr>
            <a:xfrm>
              <a:off x="2932595" y="4973702"/>
              <a:ext cx="13633" cy="13633"/>
            </a:xfrm>
            <a:custGeom>
              <a:avLst/>
              <a:gdLst>
                <a:gd name="connsiteX0" fmla="*/ 13443 w 14936"/>
                <a:gd name="connsiteY0" fmla="*/ 0 h 0"/>
                <a:gd name="connsiteX1" fmla="*/ 0 w 14936"/>
                <a:gd name="connsiteY1" fmla="*/ 7468 h 0"/>
                <a:gd name="connsiteX2" fmla="*/ 1493 w 14936"/>
                <a:gd name="connsiteY2" fmla="*/ 8962 h 0"/>
                <a:gd name="connsiteX3" fmla="*/ 1493 w 14936"/>
                <a:gd name="connsiteY3" fmla="*/ 10456 h 0"/>
                <a:gd name="connsiteX4" fmla="*/ 14936 w 14936"/>
                <a:gd name="connsiteY4" fmla="*/ 2987 h 0"/>
                <a:gd name="connsiteX5" fmla="*/ 13443 w 14936"/>
                <a:gd name="connsiteY5" fmla="*/ 14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>
                  <a:moveTo>
                    <a:pt x="13443" y="0"/>
                  </a:moveTo>
                  <a:lnTo>
                    <a:pt x="0" y="7468"/>
                  </a:lnTo>
                  <a:lnTo>
                    <a:pt x="1493" y="8962"/>
                  </a:lnTo>
                  <a:lnTo>
                    <a:pt x="1493" y="10456"/>
                  </a:lnTo>
                  <a:lnTo>
                    <a:pt x="14936" y="2987"/>
                  </a:lnTo>
                  <a:lnTo>
                    <a:pt x="13443" y="1494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9" name="任意多边形: 形状 538"/>
            <p:cNvSpPr/>
            <p:nvPr/>
          </p:nvSpPr>
          <p:spPr>
            <a:xfrm>
              <a:off x="2999399" y="4935529"/>
              <a:ext cx="13633" cy="13633"/>
            </a:xfrm>
            <a:custGeom>
              <a:avLst/>
              <a:gdLst>
                <a:gd name="connsiteX0" fmla="*/ 13443 w 14936"/>
                <a:gd name="connsiteY0" fmla="*/ 0 h 0"/>
                <a:gd name="connsiteX1" fmla="*/ 0 w 14936"/>
                <a:gd name="connsiteY1" fmla="*/ 5974 h 0"/>
                <a:gd name="connsiteX2" fmla="*/ 1494 w 14936"/>
                <a:gd name="connsiteY2" fmla="*/ 7468 h 0"/>
                <a:gd name="connsiteX3" fmla="*/ 1494 w 14936"/>
                <a:gd name="connsiteY3" fmla="*/ 8962 h 0"/>
                <a:gd name="connsiteX4" fmla="*/ 14936 w 14936"/>
                <a:gd name="connsiteY4" fmla="*/ 2987 h 0"/>
                <a:gd name="connsiteX5" fmla="*/ 13443 w 14936"/>
                <a:gd name="connsiteY5" fmla="*/ 14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>
                  <a:moveTo>
                    <a:pt x="13443" y="0"/>
                  </a:moveTo>
                  <a:lnTo>
                    <a:pt x="0" y="5974"/>
                  </a:lnTo>
                  <a:lnTo>
                    <a:pt x="1494" y="7468"/>
                  </a:lnTo>
                  <a:lnTo>
                    <a:pt x="1494" y="8962"/>
                  </a:lnTo>
                  <a:lnTo>
                    <a:pt x="14936" y="2987"/>
                  </a:lnTo>
                  <a:lnTo>
                    <a:pt x="13443" y="1494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0" name="任意多边形: 形状 539"/>
            <p:cNvSpPr/>
            <p:nvPr/>
          </p:nvSpPr>
          <p:spPr>
            <a:xfrm>
              <a:off x="3089285" y="4979156"/>
              <a:ext cx="54534" cy="81801"/>
            </a:xfrm>
            <a:custGeom>
              <a:avLst/>
              <a:gdLst>
                <a:gd name="connsiteX0" fmla="*/ 7571 w 59745"/>
                <a:gd name="connsiteY0" fmla="*/ 0 h 89618"/>
                <a:gd name="connsiteX1" fmla="*/ 103 w 59745"/>
                <a:gd name="connsiteY1" fmla="*/ 67214 h 89618"/>
                <a:gd name="connsiteX2" fmla="*/ 29976 w 59745"/>
                <a:gd name="connsiteY2" fmla="*/ 98580 h 89618"/>
                <a:gd name="connsiteX3" fmla="*/ 55368 w 59745"/>
                <a:gd name="connsiteY3" fmla="*/ 68707 h 89618"/>
                <a:gd name="connsiteX4" fmla="*/ 65823 w 59745"/>
                <a:gd name="connsiteY4" fmla="*/ 10456 h 89618"/>
                <a:gd name="connsiteX5" fmla="*/ 7571 w 59745"/>
                <a:gd name="connsiteY5" fmla="*/ 0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745" h="89618">
                  <a:moveTo>
                    <a:pt x="7571" y="0"/>
                  </a:moveTo>
                  <a:lnTo>
                    <a:pt x="103" y="67214"/>
                  </a:lnTo>
                  <a:cubicBezTo>
                    <a:pt x="-1390" y="83644"/>
                    <a:pt x="13546" y="95593"/>
                    <a:pt x="29976" y="98580"/>
                  </a:cubicBezTo>
                  <a:cubicBezTo>
                    <a:pt x="46406" y="100074"/>
                    <a:pt x="50887" y="85137"/>
                    <a:pt x="55368" y="68707"/>
                  </a:cubicBezTo>
                  <a:lnTo>
                    <a:pt x="65823" y="10456"/>
                  </a:lnTo>
                  <a:lnTo>
                    <a:pt x="7571" y="0"/>
                  </a:lnTo>
                  <a:close/>
                </a:path>
              </a:pathLst>
            </a:custGeom>
            <a:solidFill>
              <a:srgbClr val="254C6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1" name="任意多边形: 形状 540"/>
            <p:cNvSpPr/>
            <p:nvPr/>
          </p:nvSpPr>
          <p:spPr>
            <a:xfrm>
              <a:off x="3093442" y="4928292"/>
              <a:ext cx="54534" cy="81801"/>
            </a:xfrm>
            <a:custGeom>
              <a:avLst/>
              <a:gdLst>
                <a:gd name="connsiteX0" fmla="*/ 67243 w 59745"/>
                <a:gd name="connsiteY0" fmla="*/ 34813 h 89618"/>
                <a:gd name="connsiteX1" fmla="*/ 59775 w 59745"/>
                <a:gd name="connsiteY1" fmla="*/ 88584 h 89618"/>
                <a:gd name="connsiteX2" fmla="*/ 30 w 59745"/>
                <a:gd name="connsiteY2" fmla="*/ 76635 h 89618"/>
                <a:gd name="connsiteX3" fmla="*/ 3017 w 59745"/>
                <a:gd name="connsiteY3" fmla="*/ 58711 h 89618"/>
                <a:gd name="connsiteX4" fmla="*/ 7498 w 59745"/>
                <a:gd name="connsiteY4" fmla="*/ 28838 h 89618"/>
                <a:gd name="connsiteX5" fmla="*/ 7498 w 59745"/>
                <a:gd name="connsiteY5" fmla="*/ 25851 h 89618"/>
                <a:gd name="connsiteX6" fmla="*/ 41852 w 59745"/>
                <a:gd name="connsiteY6" fmla="*/ 459 h 89618"/>
                <a:gd name="connsiteX7" fmla="*/ 67243 w 59745"/>
                <a:gd name="connsiteY7" fmla="*/ 34813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45" h="89618">
                  <a:moveTo>
                    <a:pt x="67243" y="34813"/>
                  </a:moveTo>
                  <a:lnTo>
                    <a:pt x="59775" y="88584"/>
                  </a:lnTo>
                  <a:cubicBezTo>
                    <a:pt x="53801" y="105014"/>
                    <a:pt x="-1464" y="96052"/>
                    <a:pt x="30" y="76635"/>
                  </a:cubicBezTo>
                  <a:lnTo>
                    <a:pt x="3017" y="58711"/>
                  </a:lnTo>
                  <a:lnTo>
                    <a:pt x="7498" y="28838"/>
                  </a:lnTo>
                  <a:lnTo>
                    <a:pt x="7498" y="25851"/>
                  </a:lnTo>
                  <a:cubicBezTo>
                    <a:pt x="10485" y="9421"/>
                    <a:pt x="25422" y="-2528"/>
                    <a:pt x="41852" y="459"/>
                  </a:cubicBezTo>
                  <a:cubicBezTo>
                    <a:pt x="58282" y="3446"/>
                    <a:pt x="68737" y="18383"/>
                    <a:pt x="67243" y="34813"/>
                  </a:cubicBezTo>
                  <a:close/>
                </a:path>
              </a:pathLst>
            </a:custGeom>
            <a:solidFill>
              <a:srgbClr val="254C6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2" name="任意多边形: 形状 541"/>
            <p:cNvSpPr/>
            <p:nvPr/>
          </p:nvSpPr>
          <p:spPr>
            <a:xfrm>
              <a:off x="2949242" y="4977534"/>
              <a:ext cx="68168" cy="40900"/>
            </a:xfrm>
            <a:custGeom>
              <a:avLst/>
              <a:gdLst>
                <a:gd name="connsiteX0" fmla="*/ 75860 w 74681"/>
                <a:gd name="connsiteY0" fmla="*/ 46585 h 44809"/>
                <a:gd name="connsiteX1" fmla="*/ 54949 w 74681"/>
                <a:gd name="connsiteY1" fmla="*/ 52560 h 44809"/>
                <a:gd name="connsiteX2" fmla="*/ 34038 w 74681"/>
                <a:gd name="connsiteY2" fmla="*/ 42105 h 44809"/>
                <a:gd name="connsiteX3" fmla="*/ 17608 w 74681"/>
                <a:gd name="connsiteY3" fmla="*/ 34636 h 44809"/>
                <a:gd name="connsiteX4" fmla="*/ 8646 w 74681"/>
                <a:gd name="connsiteY4" fmla="*/ 33143 h 44809"/>
                <a:gd name="connsiteX5" fmla="*/ 8646 w 74681"/>
                <a:gd name="connsiteY5" fmla="*/ 25675 h 44809"/>
                <a:gd name="connsiteX6" fmla="*/ 2672 w 74681"/>
                <a:gd name="connsiteY6" fmla="*/ 15219 h 44809"/>
                <a:gd name="connsiteX7" fmla="*/ 5659 w 74681"/>
                <a:gd name="connsiteY7" fmla="*/ 6258 h 44809"/>
                <a:gd name="connsiteX8" fmla="*/ 8646 w 74681"/>
                <a:gd name="connsiteY8" fmla="*/ 283 h 44809"/>
                <a:gd name="connsiteX9" fmla="*/ 60924 w 74681"/>
                <a:gd name="connsiteY9" fmla="*/ 12232 h 44809"/>
                <a:gd name="connsiteX10" fmla="*/ 75860 w 74681"/>
                <a:gd name="connsiteY10" fmla="*/ 27168 h 44809"/>
                <a:gd name="connsiteX11" fmla="*/ 75860 w 74681"/>
                <a:gd name="connsiteY11" fmla="*/ 46585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44809">
                  <a:moveTo>
                    <a:pt x="75860" y="46585"/>
                  </a:moveTo>
                  <a:cubicBezTo>
                    <a:pt x="71379" y="52560"/>
                    <a:pt x="62417" y="54054"/>
                    <a:pt x="54949" y="52560"/>
                  </a:cubicBezTo>
                  <a:cubicBezTo>
                    <a:pt x="47481" y="51067"/>
                    <a:pt x="40013" y="46585"/>
                    <a:pt x="34038" y="42105"/>
                  </a:cubicBezTo>
                  <a:cubicBezTo>
                    <a:pt x="26570" y="37624"/>
                    <a:pt x="25076" y="37624"/>
                    <a:pt x="17608" y="34636"/>
                  </a:cubicBezTo>
                  <a:cubicBezTo>
                    <a:pt x="13127" y="33143"/>
                    <a:pt x="11634" y="33143"/>
                    <a:pt x="8646" y="33143"/>
                  </a:cubicBezTo>
                  <a:cubicBezTo>
                    <a:pt x="4166" y="31649"/>
                    <a:pt x="2672" y="25675"/>
                    <a:pt x="8646" y="25675"/>
                  </a:cubicBezTo>
                  <a:cubicBezTo>
                    <a:pt x="-3303" y="22688"/>
                    <a:pt x="-315" y="15219"/>
                    <a:pt x="2672" y="15219"/>
                  </a:cubicBezTo>
                  <a:cubicBezTo>
                    <a:pt x="-1809" y="13726"/>
                    <a:pt x="-315" y="6258"/>
                    <a:pt x="5659" y="6258"/>
                  </a:cubicBezTo>
                  <a:cubicBezTo>
                    <a:pt x="-315" y="4764"/>
                    <a:pt x="2672" y="283"/>
                    <a:pt x="8646" y="283"/>
                  </a:cubicBezTo>
                  <a:cubicBezTo>
                    <a:pt x="26570" y="-1211"/>
                    <a:pt x="45987" y="3270"/>
                    <a:pt x="60924" y="12232"/>
                  </a:cubicBezTo>
                  <a:cubicBezTo>
                    <a:pt x="66898" y="15219"/>
                    <a:pt x="72873" y="21194"/>
                    <a:pt x="75860" y="27168"/>
                  </a:cubicBezTo>
                  <a:cubicBezTo>
                    <a:pt x="78847" y="33143"/>
                    <a:pt x="80341" y="40611"/>
                    <a:pt x="75860" y="46585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3" name="任意多边形: 形状 542"/>
            <p:cNvSpPr/>
            <p:nvPr/>
          </p:nvSpPr>
          <p:spPr>
            <a:xfrm>
              <a:off x="2980133" y="4965522"/>
              <a:ext cx="27267" cy="27267"/>
            </a:xfrm>
            <a:custGeom>
              <a:avLst/>
              <a:gdLst>
                <a:gd name="connsiteX0" fmla="*/ 9157 w 29872"/>
                <a:gd name="connsiteY0" fmla="*/ 2987 h 29872"/>
                <a:gd name="connsiteX1" fmla="*/ 4676 w 29872"/>
                <a:gd name="connsiteY1" fmla="*/ 0 h 29872"/>
                <a:gd name="connsiteX2" fmla="*/ 195 w 29872"/>
                <a:gd name="connsiteY2" fmla="*/ 4481 h 29872"/>
                <a:gd name="connsiteX3" fmla="*/ 9157 w 29872"/>
                <a:gd name="connsiteY3" fmla="*/ 20911 h 29872"/>
                <a:gd name="connsiteX4" fmla="*/ 21106 w 29872"/>
                <a:gd name="connsiteY4" fmla="*/ 26886 h 29872"/>
                <a:gd name="connsiteX5" fmla="*/ 37536 w 29872"/>
                <a:gd name="connsiteY5" fmla="*/ 32860 h 29872"/>
                <a:gd name="connsiteX6" fmla="*/ 9157 w 29872"/>
                <a:gd name="connsiteY6" fmla="*/ 2987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72" h="29872">
                  <a:moveTo>
                    <a:pt x="9157" y="2987"/>
                  </a:moveTo>
                  <a:cubicBezTo>
                    <a:pt x="7664" y="1494"/>
                    <a:pt x="6170" y="0"/>
                    <a:pt x="4676" y="0"/>
                  </a:cubicBezTo>
                  <a:cubicBezTo>
                    <a:pt x="1689" y="0"/>
                    <a:pt x="195" y="2987"/>
                    <a:pt x="195" y="4481"/>
                  </a:cubicBezTo>
                  <a:cubicBezTo>
                    <a:pt x="-1298" y="10456"/>
                    <a:pt x="6170" y="17924"/>
                    <a:pt x="9157" y="20911"/>
                  </a:cubicBezTo>
                  <a:cubicBezTo>
                    <a:pt x="13638" y="25392"/>
                    <a:pt x="15132" y="25392"/>
                    <a:pt x="21106" y="26886"/>
                  </a:cubicBezTo>
                  <a:cubicBezTo>
                    <a:pt x="27081" y="28379"/>
                    <a:pt x="31562" y="29873"/>
                    <a:pt x="37536" y="32860"/>
                  </a:cubicBezTo>
                  <a:cubicBezTo>
                    <a:pt x="24093" y="23898"/>
                    <a:pt x="15132" y="13443"/>
                    <a:pt x="9157" y="298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4" name="任意多边形: 形状 543"/>
            <p:cNvSpPr/>
            <p:nvPr/>
          </p:nvSpPr>
          <p:spPr>
            <a:xfrm>
              <a:off x="3008580" y="5002333"/>
              <a:ext cx="122701" cy="68168"/>
            </a:xfrm>
            <a:custGeom>
              <a:avLst/>
              <a:gdLst>
                <a:gd name="connsiteX0" fmla="*/ 119886 w 134427"/>
                <a:gd name="connsiteY0" fmla="*/ 28379 h 74681"/>
                <a:gd name="connsiteX1" fmla="*/ 10851 w 134427"/>
                <a:gd name="connsiteY1" fmla="*/ 0 h 74681"/>
                <a:gd name="connsiteX2" fmla="*/ 3383 w 134427"/>
                <a:gd name="connsiteY2" fmla="*/ 25392 h 74681"/>
                <a:gd name="connsiteX3" fmla="*/ 97482 w 134427"/>
                <a:gd name="connsiteY3" fmla="*/ 85137 h 74681"/>
                <a:gd name="connsiteX4" fmla="*/ 136316 w 134427"/>
                <a:gd name="connsiteY4" fmla="*/ 67214 h 74681"/>
                <a:gd name="connsiteX5" fmla="*/ 119886 w 134427"/>
                <a:gd name="connsiteY5" fmla="*/ 28379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427" h="74681">
                  <a:moveTo>
                    <a:pt x="119886" y="28379"/>
                  </a:moveTo>
                  <a:lnTo>
                    <a:pt x="10851" y="0"/>
                  </a:lnTo>
                  <a:cubicBezTo>
                    <a:pt x="1889" y="0"/>
                    <a:pt x="-4085" y="19417"/>
                    <a:pt x="3383" y="25392"/>
                  </a:cubicBezTo>
                  <a:lnTo>
                    <a:pt x="97482" y="85137"/>
                  </a:lnTo>
                  <a:cubicBezTo>
                    <a:pt x="112418" y="91112"/>
                    <a:pt x="130342" y="83644"/>
                    <a:pt x="136316" y="67214"/>
                  </a:cubicBezTo>
                  <a:cubicBezTo>
                    <a:pt x="142291" y="52277"/>
                    <a:pt x="134823" y="34353"/>
                    <a:pt x="119886" y="28379"/>
                  </a:cubicBezTo>
                  <a:close/>
                </a:path>
              </a:pathLst>
            </a:custGeom>
            <a:solidFill>
              <a:srgbClr val="254C6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5" name="任意多边形: 形状 544"/>
            <p:cNvSpPr/>
            <p:nvPr/>
          </p:nvSpPr>
          <p:spPr>
            <a:xfrm>
              <a:off x="3022575" y="4931438"/>
              <a:ext cx="68168" cy="40900"/>
            </a:xfrm>
            <a:custGeom>
              <a:avLst/>
              <a:gdLst>
                <a:gd name="connsiteX0" fmla="*/ 50784 w 74681"/>
                <a:gd name="connsiteY0" fmla="*/ 2987 h 44809"/>
                <a:gd name="connsiteX1" fmla="*/ 41822 w 74681"/>
                <a:gd name="connsiteY1" fmla="*/ 0 h 44809"/>
                <a:gd name="connsiteX2" fmla="*/ 34354 w 74681"/>
                <a:gd name="connsiteY2" fmla="*/ 1494 h 44809"/>
                <a:gd name="connsiteX3" fmla="*/ 16430 w 74681"/>
                <a:gd name="connsiteY3" fmla="*/ 5975 h 44809"/>
                <a:gd name="connsiteX4" fmla="*/ 10455 w 74681"/>
                <a:gd name="connsiteY4" fmla="*/ 7468 h 44809"/>
                <a:gd name="connsiteX5" fmla="*/ 1494 w 74681"/>
                <a:gd name="connsiteY5" fmla="*/ 14936 h 44809"/>
                <a:gd name="connsiteX6" fmla="*/ 0 w 74681"/>
                <a:gd name="connsiteY6" fmla="*/ 17924 h 44809"/>
                <a:gd name="connsiteX7" fmla="*/ 1494 w 74681"/>
                <a:gd name="connsiteY7" fmla="*/ 19418 h 44809"/>
                <a:gd name="connsiteX8" fmla="*/ 10455 w 74681"/>
                <a:gd name="connsiteY8" fmla="*/ 20911 h 44809"/>
                <a:gd name="connsiteX9" fmla="*/ 26885 w 74681"/>
                <a:gd name="connsiteY9" fmla="*/ 25392 h 44809"/>
                <a:gd name="connsiteX10" fmla="*/ 41822 w 74681"/>
                <a:gd name="connsiteY10" fmla="*/ 32860 h 44809"/>
                <a:gd name="connsiteX11" fmla="*/ 29873 w 74681"/>
                <a:gd name="connsiteY11" fmla="*/ 29873 h 44809"/>
                <a:gd name="connsiteX12" fmla="*/ 19417 w 74681"/>
                <a:gd name="connsiteY12" fmla="*/ 35848 h 44809"/>
                <a:gd name="connsiteX13" fmla="*/ 19417 w 74681"/>
                <a:gd name="connsiteY13" fmla="*/ 37341 h 44809"/>
                <a:gd name="connsiteX14" fmla="*/ 19417 w 74681"/>
                <a:gd name="connsiteY14" fmla="*/ 38835 h 44809"/>
                <a:gd name="connsiteX15" fmla="*/ 25392 w 74681"/>
                <a:gd name="connsiteY15" fmla="*/ 41822 h 44809"/>
                <a:gd name="connsiteX16" fmla="*/ 31366 w 74681"/>
                <a:gd name="connsiteY16" fmla="*/ 41822 h 44809"/>
                <a:gd name="connsiteX17" fmla="*/ 37341 w 74681"/>
                <a:gd name="connsiteY17" fmla="*/ 43316 h 44809"/>
                <a:gd name="connsiteX18" fmla="*/ 64226 w 74681"/>
                <a:gd name="connsiteY18" fmla="*/ 43316 h 44809"/>
                <a:gd name="connsiteX19" fmla="*/ 68707 w 74681"/>
                <a:gd name="connsiteY19" fmla="*/ 40328 h 44809"/>
                <a:gd name="connsiteX20" fmla="*/ 76175 w 74681"/>
                <a:gd name="connsiteY20" fmla="*/ 29873 h 44809"/>
                <a:gd name="connsiteX21" fmla="*/ 76175 w 74681"/>
                <a:gd name="connsiteY21" fmla="*/ 26886 h 44809"/>
                <a:gd name="connsiteX22" fmla="*/ 76175 w 74681"/>
                <a:gd name="connsiteY22" fmla="*/ 25392 h 44809"/>
                <a:gd name="connsiteX23" fmla="*/ 65720 w 74681"/>
                <a:gd name="connsiteY23" fmla="*/ 11949 h 44809"/>
                <a:gd name="connsiteX24" fmla="*/ 50784 w 74681"/>
                <a:gd name="connsiteY24" fmla="*/ 2987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4681" h="44809">
                  <a:moveTo>
                    <a:pt x="50784" y="2987"/>
                  </a:moveTo>
                  <a:cubicBezTo>
                    <a:pt x="47796" y="1494"/>
                    <a:pt x="44809" y="0"/>
                    <a:pt x="41822" y="0"/>
                  </a:cubicBezTo>
                  <a:cubicBezTo>
                    <a:pt x="38835" y="0"/>
                    <a:pt x="37341" y="0"/>
                    <a:pt x="34354" y="1494"/>
                  </a:cubicBezTo>
                  <a:cubicBezTo>
                    <a:pt x="28379" y="2987"/>
                    <a:pt x="22405" y="4481"/>
                    <a:pt x="16430" y="5975"/>
                  </a:cubicBezTo>
                  <a:cubicBezTo>
                    <a:pt x="14936" y="5975"/>
                    <a:pt x="13443" y="7468"/>
                    <a:pt x="10455" y="7468"/>
                  </a:cubicBezTo>
                  <a:cubicBezTo>
                    <a:pt x="5975" y="8962"/>
                    <a:pt x="2987" y="11949"/>
                    <a:pt x="1494" y="14936"/>
                  </a:cubicBezTo>
                  <a:cubicBezTo>
                    <a:pt x="1494" y="16430"/>
                    <a:pt x="0" y="17924"/>
                    <a:pt x="0" y="17924"/>
                  </a:cubicBezTo>
                  <a:cubicBezTo>
                    <a:pt x="0" y="17924"/>
                    <a:pt x="0" y="19418"/>
                    <a:pt x="1494" y="19418"/>
                  </a:cubicBezTo>
                  <a:cubicBezTo>
                    <a:pt x="4481" y="20911"/>
                    <a:pt x="7468" y="20911"/>
                    <a:pt x="10455" y="20911"/>
                  </a:cubicBezTo>
                  <a:cubicBezTo>
                    <a:pt x="16430" y="20911"/>
                    <a:pt x="22405" y="22405"/>
                    <a:pt x="26885" y="25392"/>
                  </a:cubicBezTo>
                  <a:cubicBezTo>
                    <a:pt x="31366" y="28379"/>
                    <a:pt x="37341" y="31366"/>
                    <a:pt x="41822" y="32860"/>
                  </a:cubicBezTo>
                  <a:cubicBezTo>
                    <a:pt x="38835" y="31366"/>
                    <a:pt x="34354" y="29873"/>
                    <a:pt x="29873" y="29873"/>
                  </a:cubicBezTo>
                  <a:cubicBezTo>
                    <a:pt x="25392" y="29873"/>
                    <a:pt x="20911" y="31366"/>
                    <a:pt x="19417" y="35848"/>
                  </a:cubicBezTo>
                  <a:cubicBezTo>
                    <a:pt x="19417" y="35848"/>
                    <a:pt x="19417" y="35848"/>
                    <a:pt x="19417" y="37341"/>
                  </a:cubicBezTo>
                  <a:cubicBezTo>
                    <a:pt x="19417" y="37341"/>
                    <a:pt x="19417" y="37341"/>
                    <a:pt x="19417" y="38835"/>
                  </a:cubicBezTo>
                  <a:cubicBezTo>
                    <a:pt x="20911" y="40328"/>
                    <a:pt x="22405" y="41822"/>
                    <a:pt x="25392" y="41822"/>
                  </a:cubicBezTo>
                  <a:cubicBezTo>
                    <a:pt x="26885" y="41822"/>
                    <a:pt x="28379" y="41822"/>
                    <a:pt x="31366" y="41822"/>
                  </a:cubicBezTo>
                  <a:cubicBezTo>
                    <a:pt x="32860" y="41822"/>
                    <a:pt x="35847" y="43316"/>
                    <a:pt x="37341" y="43316"/>
                  </a:cubicBezTo>
                  <a:cubicBezTo>
                    <a:pt x="46303" y="46303"/>
                    <a:pt x="55264" y="47796"/>
                    <a:pt x="64226" y="43316"/>
                  </a:cubicBezTo>
                  <a:cubicBezTo>
                    <a:pt x="65720" y="43316"/>
                    <a:pt x="67214" y="41822"/>
                    <a:pt x="68707" y="40328"/>
                  </a:cubicBezTo>
                  <a:cubicBezTo>
                    <a:pt x="71694" y="37341"/>
                    <a:pt x="74682" y="34354"/>
                    <a:pt x="76175" y="29873"/>
                  </a:cubicBezTo>
                  <a:cubicBezTo>
                    <a:pt x="76175" y="28379"/>
                    <a:pt x="76175" y="28379"/>
                    <a:pt x="76175" y="26886"/>
                  </a:cubicBezTo>
                  <a:cubicBezTo>
                    <a:pt x="76175" y="26886"/>
                    <a:pt x="76175" y="25392"/>
                    <a:pt x="76175" y="25392"/>
                  </a:cubicBezTo>
                  <a:cubicBezTo>
                    <a:pt x="74682" y="19418"/>
                    <a:pt x="70201" y="14936"/>
                    <a:pt x="65720" y="11949"/>
                  </a:cubicBezTo>
                  <a:cubicBezTo>
                    <a:pt x="61239" y="8962"/>
                    <a:pt x="55264" y="5975"/>
                    <a:pt x="50784" y="298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6" name="任意多边形: 形状 545"/>
            <p:cNvSpPr/>
            <p:nvPr/>
          </p:nvSpPr>
          <p:spPr>
            <a:xfrm>
              <a:off x="3041087" y="4931438"/>
              <a:ext cx="40900" cy="27267"/>
            </a:xfrm>
            <a:custGeom>
              <a:avLst/>
              <a:gdLst>
                <a:gd name="connsiteX0" fmla="*/ 630 w 44809"/>
                <a:gd name="connsiteY0" fmla="*/ 37341 h 29872"/>
                <a:gd name="connsiteX1" fmla="*/ 6605 w 44809"/>
                <a:gd name="connsiteY1" fmla="*/ 40328 h 29872"/>
                <a:gd name="connsiteX2" fmla="*/ 12579 w 44809"/>
                <a:gd name="connsiteY2" fmla="*/ 40328 h 29872"/>
                <a:gd name="connsiteX3" fmla="*/ 18554 w 44809"/>
                <a:gd name="connsiteY3" fmla="*/ 41822 h 29872"/>
                <a:gd name="connsiteX4" fmla="*/ 45439 w 44809"/>
                <a:gd name="connsiteY4" fmla="*/ 41822 h 29872"/>
                <a:gd name="connsiteX5" fmla="*/ 49920 w 44809"/>
                <a:gd name="connsiteY5" fmla="*/ 38835 h 29872"/>
                <a:gd name="connsiteX6" fmla="*/ 57388 w 44809"/>
                <a:gd name="connsiteY6" fmla="*/ 28379 h 29872"/>
                <a:gd name="connsiteX7" fmla="*/ 57388 w 44809"/>
                <a:gd name="connsiteY7" fmla="*/ 25392 h 29872"/>
                <a:gd name="connsiteX8" fmla="*/ 57388 w 44809"/>
                <a:gd name="connsiteY8" fmla="*/ 23898 h 29872"/>
                <a:gd name="connsiteX9" fmla="*/ 46933 w 44809"/>
                <a:gd name="connsiteY9" fmla="*/ 10456 h 29872"/>
                <a:gd name="connsiteX10" fmla="*/ 30503 w 44809"/>
                <a:gd name="connsiteY10" fmla="*/ 1494 h 29872"/>
                <a:gd name="connsiteX11" fmla="*/ 24528 w 44809"/>
                <a:gd name="connsiteY11" fmla="*/ 0 h 29872"/>
                <a:gd name="connsiteX12" fmla="*/ 20047 w 44809"/>
                <a:gd name="connsiteY12" fmla="*/ 23898 h 29872"/>
                <a:gd name="connsiteX13" fmla="*/ 17060 w 44809"/>
                <a:gd name="connsiteY13" fmla="*/ 29873 h 29872"/>
                <a:gd name="connsiteX14" fmla="*/ 11086 w 44809"/>
                <a:gd name="connsiteY14" fmla="*/ 28379 h 29872"/>
                <a:gd name="connsiteX15" fmla="*/ 630 w 44809"/>
                <a:gd name="connsiteY15" fmla="*/ 37341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09" h="29872">
                  <a:moveTo>
                    <a:pt x="630" y="37341"/>
                  </a:moveTo>
                  <a:cubicBezTo>
                    <a:pt x="2124" y="38835"/>
                    <a:pt x="3617" y="40328"/>
                    <a:pt x="6605" y="40328"/>
                  </a:cubicBezTo>
                  <a:cubicBezTo>
                    <a:pt x="8098" y="40328"/>
                    <a:pt x="9592" y="40328"/>
                    <a:pt x="12579" y="40328"/>
                  </a:cubicBezTo>
                  <a:cubicBezTo>
                    <a:pt x="14073" y="40328"/>
                    <a:pt x="17060" y="41822"/>
                    <a:pt x="18554" y="41822"/>
                  </a:cubicBezTo>
                  <a:cubicBezTo>
                    <a:pt x="27515" y="44809"/>
                    <a:pt x="36477" y="46303"/>
                    <a:pt x="45439" y="41822"/>
                  </a:cubicBezTo>
                  <a:cubicBezTo>
                    <a:pt x="46933" y="41822"/>
                    <a:pt x="48426" y="40328"/>
                    <a:pt x="49920" y="38835"/>
                  </a:cubicBezTo>
                  <a:cubicBezTo>
                    <a:pt x="52907" y="35848"/>
                    <a:pt x="55895" y="32860"/>
                    <a:pt x="57388" y="28379"/>
                  </a:cubicBezTo>
                  <a:cubicBezTo>
                    <a:pt x="57388" y="26886"/>
                    <a:pt x="57388" y="26886"/>
                    <a:pt x="57388" y="25392"/>
                  </a:cubicBezTo>
                  <a:cubicBezTo>
                    <a:pt x="57388" y="25392"/>
                    <a:pt x="57388" y="23898"/>
                    <a:pt x="57388" y="23898"/>
                  </a:cubicBezTo>
                  <a:cubicBezTo>
                    <a:pt x="55895" y="17924"/>
                    <a:pt x="51414" y="13443"/>
                    <a:pt x="46933" y="10456"/>
                  </a:cubicBezTo>
                  <a:cubicBezTo>
                    <a:pt x="42452" y="7468"/>
                    <a:pt x="36477" y="4481"/>
                    <a:pt x="30503" y="1494"/>
                  </a:cubicBezTo>
                  <a:cubicBezTo>
                    <a:pt x="29009" y="0"/>
                    <a:pt x="27515" y="0"/>
                    <a:pt x="24528" y="0"/>
                  </a:cubicBezTo>
                  <a:lnTo>
                    <a:pt x="20047" y="23898"/>
                  </a:lnTo>
                  <a:cubicBezTo>
                    <a:pt x="20047" y="23898"/>
                    <a:pt x="18554" y="28379"/>
                    <a:pt x="17060" y="29873"/>
                  </a:cubicBezTo>
                  <a:cubicBezTo>
                    <a:pt x="15566" y="29873"/>
                    <a:pt x="12579" y="28379"/>
                    <a:pt x="11086" y="28379"/>
                  </a:cubicBezTo>
                  <a:cubicBezTo>
                    <a:pt x="-3851" y="29873"/>
                    <a:pt x="630" y="37341"/>
                    <a:pt x="630" y="37341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7" name="任意多边形: 形状 546"/>
            <p:cNvSpPr/>
            <p:nvPr/>
          </p:nvSpPr>
          <p:spPr>
            <a:xfrm>
              <a:off x="3078472" y="4951889"/>
              <a:ext cx="13633" cy="27267"/>
            </a:xfrm>
            <a:custGeom>
              <a:avLst/>
              <a:gdLst>
                <a:gd name="connsiteX0" fmla="*/ 22405 w 14936"/>
                <a:gd name="connsiteY0" fmla="*/ 2987 h 29872"/>
                <a:gd name="connsiteX1" fmla="*/ 17924 w 14936"/>
                <a:gd name="connsiteY1" fmla="*/ 32860 h 29872"/>
                <a:gd name="connsiteX2" fmla="*/ 0 w 14936"/>
                <a:gd name="connsiteY2" fmla="*/ 20911 h 29872"/>
                <a:gd name="connsiteX3" fmla="*/ 13443 w 14936"/>
                <a:gd name="connsiteY3" fmla="*/ 0 h 29872"/>
                <a:gd name="connsiteX4" fmla="*/ 22405 w 14936"/>
                <a:gd name="connsiteY4" fmla="*/ 2987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29872">
                  <a:moveTo>
                    <a:pt x="22405" y="2987"/>
                  </a:moveTo>
                  <a:lnTo>
                    <a:pt x="17924" y="32860"/>
                  </a:lnTo>
                  <a:lnTo>
                    <a:pt x="0" y="20911"/>
                  </a:lnTo>
                  <a:cubicBezTo>
                    <a:pt x="1493" y="10456"/>
                    <a:pt x="4481" y="2987"/>
                    <a:pt x="13443" y="0"/>
                  </a:cubicBezTo>
                  <a:lnTo>
                    <a:pt x="22405" y="2987"/>
                  </a:lnTo>
                  <a:close/>
                </a:path>
              </a:pathLst>
            </a:custGeom>
            <a:solidFill>
              <a:srgbClr val="254C6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8" name="任意多边形: 形状 547"/>
            <p:cNvSpPr/>
            <p:nvPr/>
          </p:nvSpPr>
          <p:spPr>
            <a:xfrm>
              <a:off x="465614" y="6158452"/>
              <a:ext cx="81801" cy="40900"/>
            </a:xfrm>
            <a:custGeom>
              <a:avLst/>
              <a:gdLst>
                <a:gd name="connsiteX0" fmla="*/ 6721 w 89618"/>
                <a:gd name="connsiteY0" fmla="*/ 4481 h 44809"/>
                <a:gd name="connsiteX1" fmla="*/ 6721 w 89618"/>
                <a:gd name="connsiteY1" fmla="*/ 23898 h 44809"/>
                <a:gd name="connsiteX2" fmla="*/ 58999 w 89618"/>
                <a:gd name="connsiteY2" fmla="*/ 53771 h 44809"/>
                <a:gd name="connsiteX3" fmla="*/ 93352 w 89618"/>
                <a:gd name="connsiteY3" fmla="*/ 53771 h 44809"/>
                <a:gd name="connsiteX4" fmla="*/ 93352 w 89618"/>
                <a:gd name="connsiteY4" fmla="*/ 53771 h 44809"/>
                <a:gd name="connsiteX5" fmla="*/ 93352 w 89618"/>
                <a:gd name="connsiteY5" fmla="*/ 34354 h 44809"/>
                <a:gd name="connsiteX6" fmla="*/ 41075 w 89618"/>
                <a:gd name="connsiteY6" fmla="*/ 4481 h 44809"/>
                <a:gd name="connsiteX7" fmla="*/ 6721 w 89618"/>
                <a:gd name="connsiteY7" fmla="*/ 4481 h 44809"/>
                <a:gd name="connsiteX8" fmla="*/ 6721 w 89618"/>
                <a:gd name="connsiteY8" fmla="*/ 448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4481"/>
                  </a:moveTo>
                  <a:cubicBezTo>
                    <a:pt x="-2240" y="10455"/>
                    <a:pt x="-2240" y="17923"/>
                    <a:pt x="6721" y="23898"/>
                  </a:cubicBezTo>
                  <a:lnTo>
                    <a:pt x="58999" y="53771"/>
                  </a:lnTo>
                  <a:cubicBezTo>
                    <a:pt x="67960" y="59745"/>
                    <a:pt x="82897" y="59745"/>
                    <a:pt x="93352" y="53771"/>
                  </a:cubicBezTo>
                  <a:lnTo>
                    <a:pt x="93352" y="53771"/>
                  </a:lnTo>
                  <a:cubicBezTo>
                    <a:pt x="102314" y="47796"/>
                    <a:pt x="102314" y="40328"/>
                    <a:pt x="93352" y="34354"/>
                  </a:cubicBezTo>
                  <a:lnTo>
                    <a:pt x="41075" y="4481"/>
                  </a:lnTo>
                  <a:cubicBezTo>
                    <a:pt x="30620" y="-1494"/>
                    <a:pt x="15683" y="-1494"/>
                    <a:pt x="6721" y="4481"/>
                  </a:cubicBezTo>
                  <a:lnTo>
                    <a:pt x="6721" y="4481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9" name="任意多边形: 形状 548"/>
            <p:cNvSpPr/>
            <p:nvPr/>
          </p:nvSpPr>
          <p:spPr>
            <a:xfrm>
              <a:off x="464933" y="6131185"/>
              <a:ext cx="81801" cy="68168"/>
            </a:xfrm>
            <a:custGeom>
              <a:avLst/>
              <a:gdLst>
                <a:gd name="connsiteX0" fmla="*/ 56758 w 89618"/>
                <a:gd name="connsiteY0" fmla="*/ 2987 h 74681"/>
                <a:gd name="connsiteX1" fmla="*/ 17924 w 89618"/>
                <a:gd name="connsiteY1" fmla="*/ 0 h 74681"/>
                <a:gd name="connsiteX2" fmla="*/ 0 w 89618"/>
                <a:gd name="connsiteY2" fmla="*/ 43316 h 74681"/>
                <a:gd name="connsiteX3" fmla="*/ 100074 w 89618"/>
                <a:gd name="connsiteY3" fmla="*/ 76175 h 74681"/>
                <a:gd name="connsiteX4" fmla="*/ 67214 w 89618"/>
                <a:gd name="connsiteY4" fmla="*/ 29873 h 74681"/>
                <a:gd name="connsiteX5" fmla="*/ 56758 w 89618"/>
                <a:gd name="connsiteY5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56758" y="2987"/>
                  </a:moveTo>
                  <a:lnTo>
                    <a:pt x="17924" y="0"/>
                  </a:lnTo>
                  <a:cubicBezTo>
                    <a:pt x="8962" y="11949"/>
                    <a:pt x="2987" y="23898"/>
                    <a:pt x="0" y="43316"/>
                  </a:cubicBezTo>
                  <a:lnTo>
                    <a:pt x="100074" y="76175"/>
                  </a:lnTo>
                  <a:cubicBezTo>
                    <a:pt x="103061" y="62733"/>
                    <a:pt x="86631" y="43316"/>
                    <a:pt x="67214" y="29873"/>
                  </a:cubicBezTo>
                  <a:cubicBezTo>
                    <a:pt x="59745" y="22405"/>
                    <a:pt x="64226" y="10456"/>
                    <a:pt x="56758" y="2987"/>
                  </a:cubicBez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0" name="任意多边形: 形状 549"/>
            <p:cNvSpPr/>
            <p:nvPr/>
          </p:nvSpPr>
          <p:spPr>
            <a:xfrm>
              <a:off x="569229" y="6098464"/>
              <a:ext cx="81801" cy="40900"/>
            </a:xfrm>
            <a:custGeom>
              <a:avLst/>
              <a:gdLst>
                <a:gd name="connsiteX0" fmla="*/ 6721 w 89618"/>
                <a:gd name="connsiteY0" fmla="*/ 4481 h 44809"/>
                <a:gd name="connsiteX1" fmla="*/ 6721 w 89618"/>
                <a:gd name="connsiteY1" fmla="*/ 23898 h 44809"/>
                <a:gd name="connsiteX2" fmla="*/ 58999 w 89618"/>
                <a:gd name="connsiteY2" fmla="*/ 53771 h 44809"/>
                <a:gd name="connsiteX3" fmla="*/ 93352 w 89618"/>
                <a:gd name="connsiteY3" fmla="*/ 53771 h 44809"/>
                <a:gd name="connsiteX4" fmla="*/ 93352 w 89618"/>
                <a:gd name="connsiteY4" fmla="*/ 53771 h 44809"/>
                <a:gd name="connsiteX5" fmla="*/ 93352 w 89618"/>
                <a:gd name="connsiteY5" fmla="*/ 34354 h 44809"/>
                <a:gd name="connsiteX6" fmla="*/ 41075 w 89618"/>
                <a:gd name="connsiteY6" fmla="*/ 4481 h 44809"/>
                <a:gd name="connsiteX7" fmla="*/ 6721 w 89618"/>
                <a:gd name="connsiteY7" fmla="*/ 4481 h 44809"/>
                <a:gd name="connsiteX8" fmla="*/ 6721 w 89618"/>
                <a:gd name="connsiteY8" fmla="*/ 448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4481"/>
                  </a:moveTo>
                  <a:cubicBezTo>
                    <a:pt x="-2240" y="10456"/>
                    <a:pt x="-2240" y="17924"/>
                    <a:pt x="6721" y="23898"/>
                  </a:cubicBezTo>
                  <a:lnTo>
                    <a:pt x="58999" y="53771"/>
                  </a:lnTo>
                  <a:cubicBezTo>
                    <a:pt x="67960" y="59745"/>
                    <a:pt x="82897" y="59745"/>
                    <a:pt x="93352" y="53771"/>
                  </a:cubicBezTo>
                  <a:lnTo>
                    <a:pt x="93352" y="53771"/>
                  </a:lnTo>
                  <a:cubicBezTo>
                    <a:pt x="102314" y="47796"/>
                    <a:pt x="102314" y="40328"/>
                    <a:pt x="93352" y="34354"/>
                  </a:cubicBezTo>
                  <a:lnTo>
                    <a:pt x="41075" y="4481"/>
                  </a:lnTo>
                  <a:cubicBezTo>
                    <a:pt x="30620" y="-1494"/>
                    <a:pt x="15683" y="-1494"/>
                    <a:pt x="6721" y="4481"/>
                  </a:cubicBezTo>
                  <a:lnTo>
                    <a:pt x="6721" y="4481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1" name="任意多边形: 形状 550"/>
            <p:cNvSpPr/>
            <p:nvPr/>
          </p:nvSpPr>
          <p:spPr>
            <a:xfrm>
              <a:off x="569911" y="6071198"/>
              <a:ext cx="81801" cy="68168"/>
            </a:xfrm>
            <a:custGeom>
              <a:avLst/>
              <a:gdLst>
                <a:gd name="connsiteX0" fmla="*/ 52277 w 89618"/>
                <a:gd name="connsiteY0" fmla="*/ 0 h 74681"/>
                <a:gd name="connsiteX1" fmla="*/ 17924 w 89618"/>
                <a:gd name="connsiteY1" fmla="*/ 0 h 74681"/>
                <a:gd name="connsiteX2" fmla="*/ 0 w 89618"/>
                <a:gd name="connsiteY2" fmla="*/ 43315 h 74681"/>
                <a:gd name="connsiteX3" fmla="*/ 100074 w 89618"/>
                <a:gd name="connsiteY3" fmla="*/ 76175 h 74681"/>
                <a:gd name="connsiteX4" fmla="*/ 67214 w 89618"/>
                <a:gd name="connsiteY4" fmla="*/ 29873 h 74681"/>
                <a:gd name="connsiteX5" fmla="*/ 52277 w 89618"/>
                <a:gd name="connsiteY5" fmla="*/ 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74681">
                  <a:moveTo>
                    <a:pt x="52277" y="0"/>
                  </a:moveTo>
                  <a:lnTo>
                    <a:pt x="17924" y="0"/>
                  </a:lnTo>
                  <a:cubicBezTo>
                    <a:pt x="8962" y="11949"/>
                    <a:pt x="2987" y="23898"/>
                    <a:pt x="0" y="43315"/>
                  </a:cubicBezTo>
                  <a:lnTo>
                    <a:pt x="100074" y="76175"/>
                  </a:lnTo>
                  <a:cubicBezTo>
                    <a:pt x="103061" y="62733"/>
                    <a:pt x="86631" y="41822"/>
                    <a:pt x="67214" y="29873"/>
                  </a:cubicBezTo>
                  <a:cubicBezTo>
                    <a:pt x="52277" y="19418"/>
                    <a:pt x="58252" y="7468"/>
                    <a:pt x="52277" y="0"/>
                  </a:cubicBez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2" name="任意多边形: 形状 551"/>
            <p:cNvSpPr/>
            <p:nvPr/>
          </p:nvSpPr>
          <p:spPr>
            <a:xfrm>
              <a:off x="541280" y="5703093"/>
              <a:ext cx="95434" cy="204502"/>
            </a:xfrm>
            <a:custGeom>
              <a:avLst/>
              <a:gdLst>
                <a:gd name="connsiteX0" fmla="*/ 110529 w 104554"/>
                <a:gd name="connsiteY0" fmla="*/ 216577 h 224045"/>
                <a:gd name="connsiteX1" fmla="*/ 41822 w 104554"/>
                <a:gd name="connsiteY1" fmla="*/ 227033 h 224045"/>
                <a:gd name="connsiteX2" fmla="*/ 29873 w 104554"/>
                <a:gd name="connsiteY2" fmla="*/ 176249 h 224045"/>
                <a:gd name="connsiteX3" fmla="*/ 13443 w 104554"/>
                <a:gd name="connsiteY3" fmla="*/ 109036 h 224045"/>
                <a:gd name="connsiteX4" fmla="*/ 0 w 104554"/>
                <a:gd name="connsiteY4" fmla="*/ 10456 h 224045"/>
                <a:gd name="connsiteX5" fmla="*/ 106048 w 104554"/>
                <a:gd name="connsiteY5" fmla="*/ 0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554" h="224045">
                  <a:moveTo>
                    <a:pt x="110529" y="216577"/>
                  </a:moveTo>
                  <a:lnTo>
                    <a:pt x="41822" y="227033"/>
                  </a:lnTo>
                  <a:lnTo>
                    <a:pt x="29873" y="176249"/>
                  </a:lnTo>
                  <a:lnTo>
                    <a:pt x="13443" y="109036"/>
                  </a:lnTo>
                  <a:lnTo>
                    <a:pt x="0" y="10456"/>
                  </a:lnTo>
                  <a:lnTo>
                    <a:pt x="106048" y="0"/>
                  </a:ln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3" name="任意多边形: 形状 552"/>
            <p:cNvSpPr/>
            <p:nvPr/>
          </p:nvSpPr>
          <p:spPr>
            <a:xfrm>
              <a:off x="553551" y="5786258"/>
              <a:ext cx="13633" cy="68168"/>
            </a:xfrm>
            <a:custGeom>
              <a:avLst/>
              <a:gdLst>
                <a:gd name="connsiteX0" fmla="*/ 28379 w 14936"/>
                <a:gd name="connsiteY0" fmla="*/ 0 h 74681"/>
                <a:gd name="connsiteX1" fmla="*/ 17924 w 14936"/>
                <a:gd name="connsiteY1" fmla="*/ 59745 h 74681"/>
                <a:gd name="connsiteX2" fmla="*/ 16430 w 14936"/>
                <a:gd name="connsiteY2" fmla="*/ 83644 h 74681"/>
                <a:gd name="connsiteX3" fmla="*/ 0 w 14936"/>
                <a:gd name="connsiteY3" fmla="*/ 16430 h 74681"/>
                <a:gd name="connsiteX4" fmla="*/ 2987 w 14936"/>
                <a:gd name="connsiteY4" fmla="*/ 13443 h 74681"/>
                <a:gd name="connsiteX5" fmla="*/ 28379 w 14936"/>
                <a:gd name="connsiteY5" fmla="*/ 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6" h="74681">
                  <a:moveTo>
                    <a:pt x="28379" y="0"/>
                  </a:moveTo>
                  <a:cubicBezTo>
                    <a:pt x="20911" y="19417"/>
                    <a:pt x="19417" y="40328"/>
                    <a:pt x="17924" y="59745"/>
                  </a:cubicBezTo>
                  <a:cubicBezTo>
                    <a:pt x="17924" y="67214"/>
                    <a:pt x="16430" y="76175"/>
                    <a:pt x="16430" y="83644"/>
                  </a:cubicBezTo>
                  <a:lnTo>
                    <a:pt x="0" y="16430"/>
                  </a:lnTo>
                  <a:cubicBezTo>
                    <a:pt x="1494" y="14936"/>
                    <a:pt x="2987" y="14936"/>
                    <a:pt x="2987" y="13443"/>
                  </a:cubicBezTo>
                  <a:cubicBezTo>
                    <a:pt x="11949" y="10456"/>
                    <a:pt x="19417" y="5974"/>
                    <a:pt x="28379" y="0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4" name="任意多边形: 形状 553"/>
            <p:cNvSpPr/>
            <p:nvPr/>
          </p:nvSpPr>
          <p:spPr>
            <a:xfrm>
              <a:off x="568395" y="5863759"/>
              <a:ext cx="68168" cy="218135"/>
            </a:xfrm>
            <a:custGeom>
              <a:avLst/>
              <a:gdLst>
                <a:gd name="connsiteX0" fmla="*/ 80823 w 74681"/>
                <a:gd name="connsiteY0" fmla="*/ 40558 h 238981"/>
                <a:gd name="connsiteX1" fmla="*/ 49457 w 74681"/>
                <a:gd name="connsiteY1" fmla="*/ 230 h 238981"/>
                <a:gd name="connsiteX2" fmla="*/ 15103 w 74681"/>
                <a:gd name="connsiteY2" fmla="*/ 12179 h 238981"/>
                <a:gd name="connsiteX3" fmla="*/ 10622 w 74681"/>
                <a:gd name="connsiteY3" fmla="*/ 51014 h 238981"/>
                <a:gd name="connsiteX4" fmla="*/ 167 w 74681"/>
                <a:gd name="connsiteY4" fmla="*/ 242199 h 238981"/>
                <a:gd name="connsiteX5" fmla="*/ 62899 w 74681"/>
                <a:gd name="connsiteY5" fmla="*/ 243693 h 238981"/>
                <a:gd name="connsiteX6" fmla="*/ 80823 w 74681"/>
                <a:gd name="connsiteY6" fmla="*/ 40558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681" h="238981">
                  <a:moveTo>
                    <a:pt x="80823" y="40558"/>
                  </a:moveTo>
                  <a:cubicBezTo>
                    <a:pt x="77836" y="25622"/>
                    <a:pt x="64393" y="1724"/>
                    <a:pt x="49457" y="230"/>
                  </a:cubicBezTo>
                  <a:cubicBezTo>
                    <a:pt x="37507" y="-1263"/>
                    <a:pt x="25558" y="4711"/>
                    <a:pt x="15103" y="12179"/>
                  </a:cubicBezTo>
                  <a:cubicBezTo>
                    <a:pt x="7635" y="18154"/>
                    <a:pt x="15103" y="43546"/>
                    <a:pt x="10622" y="51014"/>
                  </a:cubicBezTo>
                  <a:cubicBezTo>
                    <a:pt x="7635" y="58482"/>
                    <a:pt x="-1327" y="203364"/>
                    <a:pt x="167" y="242199"/>
                  </a:cubicBezTo>
                  <a:cubicBezTo>
                    <a:pt x="16597" y="251161"/>
                    <a:pt x="47963" y="252655"/>
                    <a:pt x="62899" y="243693"/>
                  </a:cubicBezTo>
                  <a:cubicBezTo>
                    <a:pt x="68874" y="192909"/>
                    <a:pt x="85304" y="55495"/>
                    <a:pt x="80823" y="40558"/>
                  </a:cubicBez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5" name="任意多边形: 形状 554"/>
            <p:cNvSpPr/>
            <p:nvPr/>
          </p:nvSpPr>
          <p:spPr>
            <a:xfrm>
              <a:off x="464933" y="5749447"/>
              <a:ext cx="81801" cy="190869"/>
            </a:xfrm>
            <a:custGeom>
              <a:avLst/>
              <a:gdLst>
                <a:gd name="connsiteX0" fmla="*/ 100074 w 89618"/>
                <a:gd name="connsiteY0" fmla="*/ 221058 h 209108"/>
                <a:gd name="connsiteX1" fmla="*/ 25392 w 89618"/>
                <a:gd name="connsiteY1" fmla="*/ 221058 h 209108"/>
                <a:gd name="connsiteX2" fmla="*/ 0 w 89618"/>
                <a:gd name="connsiteY2" fmla="*/ 0 h 209108"/>
                <a:gd name="connsiteX3" fmla="*/ 100074 w 89618"/>
                <a:gd name="connsiteY3" fmla="*/ 2987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618" h="209108">
                  <a:moveTo>
                    <a:pt x="100074" y="221058"/>
                  </a:moveTo>
                  <a:lnTo>
                    <a:pt x="25392" y="221058"/>
                  </a:lnTo>
                  <a:lnTo>
                    <a:pt x="0" y="0"/>
                  </a:lnTo>
                  <a:lnTo>
                    <a:pt x="100074" y="2987"/>
                  </a:ln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6" name="任意多边形: 形状 555"/>
            <p:cNvSpPr/>
            <p:nvPr/>
          </p:nvSpPr>
          <p:spPr>
            <a:xfrm>
              <a:off x="464933" y="5923231"/>
              <a:ext cx="81801" cy="218135"/>
            </a:xfrm>
            <a:custGeom>
              <a:avLst/>
              <a:gdLst>
                <a:gd name="connsiteX0" fmla="*/ 100074 w 89618"/>
                <a:gd name="connsiteY0" fmla="*/ 30667 h 238981"/>
                <a:gd name="connsiteX1" fmla="*/ 71694 w 89618"/>
                <a:gd name="connsiteY1" fmla="*/ 795 h 238981"/>
                <a:gd name="connsiteX2" fmla="*/ 35847 w 89618"/>
                <a:gd name="connsiteY2" fmla="*/ 9757 h 238981"/>
                <a:gd name="connsiteX3" fmla="*/ 23898 w 89618"/>
                <a:gd name="connsiteY3" fmla="*/ 30667 h 238981"/>
                <a:gd name="connsiteX4" fmla="*/ 0 w 89618"/>
                <a:gd name="connsiteY4" fmla="*/ 238282 h 238981"/>
                <a:gd name="connsiteX5" fmla="*/ 65720 w 89618"/>
                <a:gd name="connsiteY5" fmla="*/ 245751 h 238981"/>
                <a:gd name="connsiteX6" fmla="*/ 100074 w 89618"/>
                <a:gd name="connsiteY6" fmla="*/ 30667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618" h="238981">
                  <a:moveTo>
                    <a:pt x="100074" y="30667"/>
                  </a:moveTo>
                  <a:cubicBezTo>
                    <a:pt x="98580" y="15731"/>
                    <a:pt x="86631" y="3782"/>
                    <a:pt x="71694" y="795"/>
                  </a:cubicBezTo>
                  <a:cubicBezTo>
                    <a:pt x="59745" y="-2193"/>
                    <a:pt x="47796" y="3782"/>
                    <a:pt x="35847" y="9757"/>
                  </a:cubicBezTo>
                  <a:cubicBezTo>
                    <a:pt x="28379" y="14237"/>
                    <a:pt x="28379" y="23199"/>
                    <a:pt x="23898" y="30667"/>
                  </a:cubicBezTo>
                  <a:cubicBezTo>
                    <a:pt x="11949" y="51578"/>
                    <a:pt x="1494" y="177043"/>
                    <a:pt x="0" y="238282"/>
                  </a:cubicBezTo>
                  <a:cubicBezTo>
                    <a:pt x="5975" y="254712"/>
                    <a:pt x="65720" y="247244"/>
                    <a:pt x="65720" y="245751"/>
                  </a:cubicBezTo>
                  <a:cubicBezTo>
                    <a:pt x="65720" y="244257"/>
                    <a:pt x="103061" y="45604"/>
                    <a:pt x="100074" y="30667"/>
                  </a:cubicBez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7" name="任意多边形: 形状 556"/>
            <p:cNvSpPr/>
            <p:nvPr/>
          </p:nvSpPr>
          <p:spPr>
            <a:xfrm>
              <a:off x="593088" y="5498591"/>
              <a:ext cx="81801" cy="95434"/>
            </a:xfrm>
            <a:custGeom>
              <a:avLst/>
              <a:gdLst>
                <a:gd name="connsiteX0" fmla="*/ 41822 w 89618"/>
                <a:gd name="connsiteY0" fmla="*/ 100074 h 104554"/>
                <a:gd name="connsiteX1" fmla="*/ 20911 w 89618"/>
                <a:gd name="connsiteY1" fmla="*/ 77669 h 104554"/>
                <a:gd name="connsiteX2" fmla="*/ 0 w 89618"/>
                <a:gd name="connsiteY2" fmla="*/ 40328 h 104554"/>
                <a:gd name="connsiteX3" fmla="*/ 31366 w 89618"/>
                <a:gd name="connsiteY3" fmla="*/ 0 h 104554"/>
                <a:gd name="connsiteX4" fmla="*/ 58252 w 89618"/>
                <a:gd name="connsiteY4" fmla="*/ 28379 h 104554"/>
                <a:gd name="connsiteX5" fmla="*/ 97086 w 89618"/>
                <a:gd name="connsiteY5" fmla="*/ 82150 h 104554"/>
                <a:gd name="connsiteX6" fmla="*/ 82150 w 89618"/>
                <a:gd name="connsiteY6" fmla="*/ 109036 h 104554"/>
                <a:gd name="connsiteX7" fmla="*/ 41822 w 89618"/>
                <a:gd name="connsiteY7" fmla="*/ 100074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618" h="104554">
                  <a:moveTo>
                    <a:pt x="41822" y="100074"/>
                  </a:moveTo>
                  <a:cubicBezTo>
                    <a:pt x="31366" y="97086"/>
                    <a:pt x="25392" y="86631"/>
                    <a:pt x="20911" y="77669"/>
                  </a:cubicBezTo>
                  <a:cubicBezTo>
                    <a:pt x="13443" y="65720"/>
                    <a:pt x="7468" y="53771"/>
                    <a:pt x="0" y="40328"/>
                  </a:cubicBezTo>
                  <a:cubicBezTo>
                    <a:pt x="13443" y="29873"/>
                    <a:pt x="23898" y="16430"/>
                    <a:pt x="31366" y="0"/>
                  </a:cubicBezTo>
                  <a:cubicBezTo>
                    <a:pt x="40328" y="10456"/>
                    <a:pt x="49290" y="19418"/>
                    <a:pt x="58252" y="28379"/>
                  </a:cubicBezTo>
                  <a:cubicBezTo>
                    <a:pt x="67214" y="37341"/>
                    <a:pt x="91112" y="68707"/>
                    <a:pt x="97086" y="82150"/>
                  </a:cubicBezTo>
                  <a:cubicBezTo>
                    <a:pt x="101567" y="92606"/>
                    <a:pt x="92605" y="103061"/>
                    <a:pt x="82150" y="109036"/>
                  </a:cubicBezTo>
                  <a:cubicBezTo>
                    <a:pt x="73188" y="113516"/>
                    <a:pt x="50784" y="103061"/>
                    <a:pt x="41822" y="100074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8" name="任意多边形: 形状 557"/>
            <p:cNvSpPr/>
            <p:nvPr/>
          </p:nvSpPr>
          <p:spPr>
            <a:xfrm>
              <a:off x="548097" y="5520405"/>
              <a:ext cx="54534" cy="95434"/>
            </a:xfrm>
            <a:custGeom>
              <a:avLst/>
              <a:gdLst>
                <a:gd name="connsiteX0" fmla="*/ 73188 w 59745"/>
                <a:gd name="connsiteY0" fmla="*/ 61239 h 104554"/>
                <a:gd name="connsiteX1" fmla="*/ 64226 w 59745"/>
                <a:gd name="connsiteY1" fmla="*/ 0 h 104554"/>
                <a:gd name="connsiteX2" fmla="*/ 0 w 59745"/>
                <a:gd name="connsiteY2" fmla="*/ 17924 h 104554"/>
                <a:gd name="connsiteX3" fmla="*/ 19417 w 59745"/>
                <a:gd name="connsiteY3" fmla="*/ 82150 h 104554"/>
                <a:gd name="connsiteX4" fmla="*/ 50784 w 59745"/>
                <a:gd name="connsiteY4" fmla="*/ 110529 h 104554"/>
                <a:gd name="connsiteX5" fmla="*/ 73188 w 59745"/>
                <a:gd name="connsiteY5" fmla="*/ 6123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745" h="104554">
                  <a:moveTo>
                    <a:pt x="73188" y="61239"/>
                  </a:moveTo>
                  <a:lnTo>
                    <a:pt x="64226" y="0"/>
                  </a:lnTo>
                  <a:lnTo>
                    <a:pt x="0" y="17924"/>
                  </a:lnTo>
                  <a:lnTo>
                    <a:pt x="19417" y="82150"/>
                  </a:lnTo>
                  <a:cubicBezTo>
                    <a:pt x="22405" y="100074"/>
                    <a:pt x="32860" y="113516"/>
                    <a:pt x="50784" y="110529"/>
                  </a:cubicBezTo>
                  <a:cubicBezTo>
                    <a:pt x="68707" y="109035"/>
                    <a:pt x="76175" y="79162"/>
                    <a:pt x="73188" y="61239"/>
                  </a:cubicBezTo>
                  <a:close/>
                </a:path>
              </a:pathLst>
            </a:custGeom>
            <a:solidFill>
              <a:srgbClr val="F7C18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9" name="任意多边形: 形状 558"/>
            <p:cNvSpPr/>
            <p:nvPr/>
          </p:nvSpPr>
          <p:spPr>
            <a:xfrm>
              <a:off x="538641" y="5445678"/>
              <a:ext cx="81801" cy="95434"/>
            </a:xfrm>
            <a:custGeom>
              <a:avLst/>
              <a:gdLst>
                <a:gd name="connsiteX0" fmla="*/ 59650 w 89618"/>
                <a:gd name="connsiteY0" fmla="*/ 14654 h 104554"/>
                <a:gd name="connsiteX1" fmla="*/ 13348 w 89618"/>
                <a:gd name="connsiteY1" fmla="*/ 8680 h 104554"/>
                <a:gd name="connsiteX2" fmla="*/ 7373 w 89618"/>
                <a:gd name="connsiteY2" fmla="*/ 54982 h 104554"/>
                <a:gd name="connsiteX3" fmla="*/ 43220 w 89618"/>
                <a:gd name="connsiteY3" fmla="*/ 102778 h 104554"/>
                <a:gd name="connsiteX4" fmla="*/ 92510 w 89618"/>
                <a:gd name="connsiteY4" fmla="*/ 57969 h 104554"/>
                <a:gd name="connsiteX5" fmla="*/ 59650 w 89618"/>
                <a:gd name="connsiteY5" fmla="*/ 14654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104554">
                  <a:moveTo>
                    <a:pt x="59650" y="14654"/>
                  </a:moveTo>
                  <a:cubicBezTo>
                    <a:pt x="31271" y="-22687"/>
                    <a:pt x="-10551" y="25110"/>
                    <a:pt x="13348" y="8680"/>
                  </a:cubicBezTo>
                  <a:cubicBezTo>
                    <a:pt x="-1589" y="19135"/>
                    <a:pt x="-4576" y="40046"/>
                    <a:pt x="7373" y="54982"/>
                  </a:cubicBezTo>
                  <a:lnTo>
                    <a:pt x="43220" y="102778"/>
                  </a:lnTo>
                  <a:cubicBezTo>
                    <a:pt x="53676" y="114728"/>
                    <a:pt x="102966" y="81868"/>
                    <a:pt x="92510" y="57969"/>
                  </a:cubicBezTo>
                  <a:lnTo>
                    <a:pt x="59650" y="14654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0" name="任意多边形: 形状 559"/>
            <p:cNvSpPr/>
            <p:nvPr/>
          </p:nvSpPr>
          <p:spPr>
            <a:xfrm>
              <a:off x="429486" y="5439967"/>
              <a:ext cx="218135" cy="340838"/>
            </a:xfrm>
            <a:custGeom>
              <a:avLst/>
              <a:gdLst>
                <a:gd name="connsiteX0" fmla="*/ 237488 w 238981"/>
                <a:gd name="connsiteY0" fmla="*/ 310676 h 373408"/>
                <a:gd name="connsiteX1" fmla="*/ 49290 w 238981"/>
                <a:gd name="connsiteY1" fmla="*/ 359966 h 373408"/>
                <a:gd name="connsiteX2" fmla="*/ 28379 w 238981"/>
                <a:gd name="connsiteY2" fmla="*/ 324118 h 373408"/>
                <a:gd name="connsiteX3" fmla="*/ 14936 w 238981"/>
                <a:gd name="connsiteY3" fmla="*/ 213590 h 373408"/>
                <a:gd name="connsiteX4" fmla="*/ 5975 w 238981"/>
                <a:gd name="connsiteY4" fmla="*/ 134427 h 373408"/>
                <a:gd name="connsiteX5" fmla="*/ 0 w 238981"/>
                <a:gd name="connsiteY5" fmla="*/ 86631 h 373408"/>
                <a:gd name="connsiteX6" fmla="*/ 73188 w 238981"/>
                <a:gd name="connsiteY6" fmla="*/ 13443 h 373408"/>
                <a:gd name="connsiteX7" fmla="*/ 115010 w 238981"/>
                <a:gd name="connsiteY7" fmla="*/ 0 h 373408"/>
                <a:gd name="connsiteX8" fmla="*/ 186704 w 238981"/>
                <a:gd name="connsiteY8" fmla="*/ 62732 h 373408"/>
                <a:gd name="connsiteX9" fmla="*/ 237488 w 238981"/>
                <a:gd name="connsiteY9" fmla="*/ 310676 h 37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8981" h="373408">
                  <a:moveTo>
                    <a:pt x="237488" y="310676"/>
                  </a:moveTo>
                  <a:cubicBezTo>
                    <a:pt x="230020" y="346523"/>
                    <a:pt x="125465" y="413736"/>
                    <a:pt x="49290" y="359966"/>
                  </a:cubicBezTo>
                  <a:cubicBezTo>
                    <a:pt x="37341" y="351004"/>
                    <a:pt x="29873" y="339055"/>
                    <a:pt x="28379" y="324118"/>
                  </a:cubicBezTo>
                  <a:cubicBezTo>
                    <a:pt x="25392" y="300221"/>
                    <a:pt x="20911" y="256905"/>
                    <a:pt x="14936" y="213590"/>
                  </a:cubicBezTo>
                  <a:cubicBezTo>
                    <a:pt x="11949" y="185211"/>
                    <a:pt x="8962" y="156832"/>
                    <a:pt x="5975" y="134427"/>
                  </a:cubicBezTo>
                  <a:cubicBezTo>
                    <a:pt x="2987" y="106048"/>
                    <a:pt x="0" y="86631"/>
                    <a:pt x="0" y="86631"/>
                  </a:cubicBezTo>
                  <a:cubicBezTo>
                    <a:pt x="14936" y="61239"/>
                    <a:pt x="43315" y="31366"/>
                    <a:pt x="73188" y="13443"/>
                  </a:cubicBezTo>
                  <a:cubicBezTo>
                    <a:pt x="88124" y="4481"/>
                    <a:pt x="101567" y="0"/>
                    <a:pt x="115010" y="0"/>
                  </a:cubicBezTo>
                  <a:cubicBezTo>
                    <a:pt x="149363" y="0"/>
                    <a:pt x="179236" y="25392"/>
                    <a:pt x="186704" y="62732"/>
                  </a:cubicBezTo>
                  <a:cubicBezTo>
                    <a:pt x="267361" y="225539"/>
                    <a:pt x="237488" y="310676"/>
                    <a:pt x="237488" y="310676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1" name="任意多边形: 形状 560"/>
            <p:cNvSpPr/>
            <p:nvPr/>
          </p:nvSpPr>
          <p:spPr>
            <a:xfrm>
              <a:off x="424329" y="5502978"/>
              <a:ext cx="109068" cy="177235"/>
            </a:xfrm>
            <a:custGeom>
              <a:avLst/>
              <a:gdLst>
                <a:gd name="connsiteX0" fmla="*/ 113191 w 119490"/>
                <a:gd name="connsiteY0" fmla="*/ 202809 h 194172"/>
                <a:gd name="connsiteX1" fmla="*/ 83319 w 119490"/>
                <a:gd name="connsiteY1" fmla="*/ 204303 h 194172"/>
                <a:gd name="connsiteX2" fmla="*/ 72863 w 119490"/>
                <a:gd name="connsiteY2" fmla="*/ 198329 h 194172"/>
                <a:gd name="connsiteX3" fmla="*/ 66889 w 119490"/>
                <a:gd name="connsiteY3" fmla="*/ 189367 h 194172"/>
                <a:gd name="connsiteX4" fmla="*/ 23573 w 119490"/>
                <a:gd name="connsiteY4" fmla="*/ 98255 h 194172"/>
                <a:gd name="connsiteX5" fmla="*/ 4156 w 119490"/>
                <a:gd name="connsiteY5" fmla="*/ 50459 h 194172"/>
                <a:gd name="connsiteX6" fmla="*/ 2662 w 119490"/>
                <a:gd name="connsiteY6" fmla="*/ 45978 h 194172"/>
                <a:gd name="connsiteX7" fmla="*/ 20586 w 119490"/>
                <a:gd name="connsiteY7" fmla="*/ 2662 h 194172"/>
                <a:gd name="connsiteX8" fmla="*/ 63901 w 119490"/>
                <a:gd name="connsiteY8" fmla="*/ 20586 h 194172"/>
                <a:gd name="connsiteX9" fmla="*/ 86306 w 119490"/>
                <a:gd name="connsiteY9" fmla="*/ 75850 h 194172"/>
                <a:gd name="connsiteX10" fmla="*/ 96761 w 119490"/>
                <a:gd name="connsiteY10" fmla="*/ 101242 h 194172"/>
                <a:gd name="connsiteX11" fmla="*/ 96761 w 119490"/>
                <a:gd name="connsiteY11" fmla="*/ 101242 h 194172"/>
                <a:gd name="connsiteX12" fmla="*/ 107217 w 119490"/>
                <a:gd name="connsiteY12" fmla="*/ 126634 h 194172"/>
                <a:gd name="connsiteX13" fmla="*/ 108710 w 119490"/>
                <a:gd name="connsiteY13" fmla="*/ 131115 h 194172"/>
                <a:gd name="connsiteX14" fmla="*/ 120660 w 119490"/>
                <a:gd name="connsiteY14" fmla="*/ 159494 h 194172"/>
                <a:gd name="connsiteX15" fmla="*/ 113191 w 119490"/>
                <a:gd name="connsiteY15" fmla="*/ 202809 h 194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9490" h="194172">
                  <a:moveTo>
                    <a:pt x="113191" y="202809"/>
                  </a:moveTo>
                  <a:cubicBezTo>
                    <a:pt x="104230" y="207290"/>
                    <a:pt x="92280" y="207290"/>
                    <a:pt x="83319" y="204303"/>
                  </a:cubicBezTo>
                  <a:cubicBezTo>
                    <a:pt x="78838" y="202809"/>
                    <a:pt x="75850" y="201316"/>
                    <a:pt x="72863" y="198329"/>
                  </a:cubicBezTo>
                  <a:cubicBezTo>
                    <a:pt x="69876" y="195341"/>
                    <a:pt x="68382" y="192354"/>
                    <a:pt x="66889" y="189367"/>
                  </a:cubicBezTo>
                  <a:lnTo>
                    <a:pt x="23573" y="98255"/>
                  </a:lnTo>
                  <a:lnTo>
                    <a:pt x="4156" y="50459"/>
                  </a:lnTo>
                  <a:lnTo>
                    <a:pt x="2662" y="45978"/>
                  </a:lnTo>
                  <a:cubicBezTo>
                    <a:pt x="-4806" y="29548"/>
                    <a:pt x="4156" y="8637"/>
                    <a:pt x="20586" y="2662"/>
                  </a:cubicBezTo>
                  <a:cubicBezTo>
                    <a:pt x="37016" y="-4806"/>
                    <a:pt x="57927" y="4156"/>
                    <a:pt x="63901" y="20586"/>
                  </a:cubicBezTo>
                  <a:lnTo>
                    <a:pt x="86306" y="75850"/>
                  </a:lnTo>
                  <a:lnTo>
                    <a:pt x="96761" y="101242"/>
                  </a:lnTo>
                  <a:cubicBezTo>
                    <a:pt x="96761" y="101242"/>
                    <a:pt x="96761" y="101242"/>
                    <a:pt x="96761" y="101242"/>
                  </a:cubicBezTo>
                  <a:lnTo>
                    <a:pt x="107217" y="126634"/>
                  </a:lnTo>
                  <a:lnTo>
                    <a:pt x="108710" y="131115"/>
                  </a:lnTo>
                  <a:lnTo>
                    <a:pt x="120660" y="159494"/>
                  </a:lnTo>
                  <a:cubicBezTo>
                    <a:pt x="126634" y="177418"/>
                    <a:pt x="131115" y="195341"/>
                    <a:pt x="113191" y="202809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2" name="任意多边形: 形状 561"/>
            <p:cNvSpPr/>
            <p:nvPr/>
          </p:nvSpPr>
          <p:spPr>
            <a:xfrm>
              <a:off x="563094" y="5556534"/>
              <a:ext cx="109068" cy="68168"/>
            </a:xfrm>
            <a:custGeom>
              <a:avLst/>
              <a:gdLst>
                <a:gd name="connsiteX0" fmla="*/ 128453 w 119490"/>
                <a:gd name="connsiteY0" fmla="*/ 42569 h 74681"/>
                <a:gd name="connsiteX1" fmla="*/ 107542 w 119490"/>
                <a:gd name="connsiteY1" fmla="*/ 64973 h 74681"/>
                <a:gd name="connsiteX2" fmla="*/ 34354 w 119490"/>
                <a:gd name="connsiteY2" fmla="*/ 87378 h 74681"/>
                <a:gd name="connsiteX3" fmla="*/ 23898 w 119490"/>
                <a:gd name="connsiteY3" fmla="*/ 88871 h 74681"/>
                <a:gd name="connsiteX4" fmla="*/ 23898 w 119490"/>
                <a:gd name="connsiteY4" fmla="*/ 88871 h 74681"/>
                <a:gd name="connsiteX5" fmla="*/ 0 w 119490"/>
                <a:gd name="connsiteY5" fmla="*/ 85884 h 74681"/>
                <a:gd name="connsiteX6" fmla="*/ 71694 w 119490"/>
                <a:gd name="connsiteY6" fmla="*/ 12696 h 74681"/>
                <a:gd name="connsiteX7" fmla="*/ 74682 w 119490"/>
                <a:gd name="connsiteY7" fmla="*/ 11202 h 74681"/>
                <a:gd name="connsiteX8" fmla="*/ 86631 w 119490"/>
                <a:gd name="connsiteY8" fmla="*/ 3734 h 74681"/>
                <a:gd name="connsiteX9" fmla="*/ 91112 w 119490"/>
                <a:gd name="connsiteY9" fmla="*/ 2240 h 74681"/>
                <a:gd name="connsiteX10" fmla="*/ 117997 w 119490"/>
                <a:gd name="connsiteY10" fmla="*/ 2240 h 74681"/>
                <a:gd name="connsiteX11" fmla="*/ 128453 w 119490"/>
                <a:gd name="connsiteY11" fmla="*/ 42569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490" h="74681">
                  <a:moveTo>
                    <a:pt x="128453" y="42569"/>
                  </a:moveTo>
                  <a:cubicBezTo>
                    <a:pt x="123972" y="51530"/>
                    <a:pt x="122478" y="56011"/>
                    <a:pt x="107542" y="64973"/>
                  </a:cubicBezTo>
                  <a:cubicBezTo>
                    <a:pt x="98580" y="70948"/>
                    <a:pt x="62733" y="84390"/>
                    <a:pt x="34354" y="87378"/>
                  </a:cubicBezTo>
                  <a:cubicBezTo>
                    <a:pt x="31366" y="87378"/>
                    <a:pt x="26885" y="88871"/>
                    <a:pt x="23898" y="88871"/>
                  </a:cubicBezTo>
                  <a:lnTo>
                    <a:pt x="23898" y="88871"/>
                  </a:lnTo>
                  <a:cubicBezTo>
                    <a:pt x="13443" y="88871"/>
                    <a:pt x="4481" y="88871"/>
                    <a:pt x="0" y="85884"/>
                  </a:cubicBezTo>
                  <a:cubicBezTo>
                    <a:pt x="13443" y="51530"/>
                    <a:pt x="41822" y="26138"/>
                    <a:pt x="71694" y="12696"/>
                  </a:cubicBezTo>
                  <a:cubicBezTo>
                    <a:pt x="73188" y="12696"/>
                    <a:pt x="73188" y="11202"/>
                    <a:pt x="74682" y="11202"/>
                  </a:cubicBezTo>
                  <a:cubicBezTo>
                    <a:pt x="83644" y="8215"/>
                    <a:pt x="82150" y="5228"/>
                    <a:pt x="86631" y="3734"/>
                  </a:cubicBezTo>
                  <a:cubicBezTo>
                    <a:pt x="88124" y="3734"/>
                    <a:pt x="88124" y="2240"/>
                    <a:pt x="91112" y="2240"/>
                  </a:cubicBezTo>
                  <a:cubicBezTo>
                    <a:pt x="100074" y="-747"/>
                    <a:pt x="109035" y="-747"/>
                    <a:pt x="117997" y="2240"/>
                  </a:cubicBezTo>
                  <a:cubicBezTo>
                    <a:pt x="129946" y="9708"/>
                    <a:pt x="135921" y="29126"/>
                    <a:pt x="128453" y="4256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3" name="任意多边形: 形状 562"/>
            <p:cNvSpPr/>
            <p:nvPr/>
          </p:nvSpPr>
          <p:spPr>
            <a:xfrm>
              <a:off x="484020" y="5559205"/>
              <a:ext cx="136334" cy="122701"/>
            </a:xfrm>
            <a:custGeom>
              <a:avLst/>
              <a:gdLst>
                <a:gd name="connsiteX0" fmla="*/ 159819 w 149363"/>
                <a:gd name="connsiteY0" fmla="*/ 9769 h 134427"/>
                <a:gd name="connsiteX1" fmla="*/ 156832 w 149363"/>
                <a:gd name="connsiteY1" fmla="*/ 11263 h 134427"/>
                <a:gd name="connsiteX2" fmla="*/ 110529 w 149363"/>
                <a:gd name="connsiteY2" fmla="*/ 87438 h 134427"/>
                <a:gd name="connsiteX3" fmla="*/ 103061 w 149363"/>
                <a:gd name="connsiteY3" fmla="*/ 100881 h 134427"/>
                <a:gd name="connsiteX4" fmla="*/ 49290 w 149363"/>
                <a:gd name="connsiteY4" fmla="*/ 144196 h 134427"/>
                <a:gd name="connsiteX5" fmla="*/ 19417 w 149363"/>
                <a:gd name="connsiteY5" fmla="*/ 144196 h 134427"/>
                <a:gd name="connsiteX6" fmla="*/ 4481 w 149363"/>
                <a:gd name="connsiteY6" fmla="*/ 130754 h 134427"/>
                <a:gd name="connsiteX7" fmla="*/ 0 w 149363"/>
                <a:gd name="connsiteY7" fmla="*/ 114324 h 134427"/>
                <a:gd name="connsiteX8" fmla="*/ 17924 w 149363"/>
                <a:gd name="connsiteY8" fmla="*/ 84451 h 134427"/>
                <a:gd name="connsiteX9" fmla="*/ 17924 w 149363"/>
                <a:gd name="connsiteY9" fmla="*/ 84451 h 134427"/>
                <a:gd name="connsiteX10" fmla="*/ 23898 w 149363"/>
                <a:gd name="connsiteY10" fmla="*/ 79970 h 134427"/>
                <a:gd name="connsiteX11" fmla="*/ 43315 w 149363"/>
                <a:gd name="connsiteY11" fmla="*/ 66527 h 134427"/>
                <a:gd name="connsiteX12" fmla="*/ 89618 w 149363"/>
                <a:gd name="connsiteY12" fmla="*/ 32174 h 134427"/>
                <a:gd name="connsiteX13" fmla="*/ 92605 w 149363"/>
                <a:gd name="connsiteY13" fmla="*/ 30680 h 134427"/>
                <a:gd name="connsiteX14" fmla="*/ 103061 w 149363"/>
                <a:gd name="connsiteY14" fmla="*/ 24706 h 134427"/>
                <a:gd name="connsiteX15" fmla="*/ 156832 w 149363"/>
                <a:gd name="connsiteY15" fmla="*/ 5289 h 134427"/>
                <a:gd name="connsiteX16" fmla="*/ 159819 w 149363"/>
                <a:gd name="connsiteY16" fmla="*/ 9769 h 134427"/>
                <a:gd name="connsiteX17" fmla="*/ 159819 w 149363"/>
                <a:gd name="connsiteY17" fmla="*/ 9769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9363" h="134427">
                  <a:moveTo>
                    <a:pt x="159819" y="9769"/>
                  </a:moveTo>
                  <a:cubicBezTo>
                    <a:pt x="158325" y="9769"/>
                    <a:pt x="158325" y="11263"/>
                    <a:pt x="156832" y="11263"/>
                  </a:cubicBezTo>
                  <a:cubicBezTo>
                    <a:pt x="126959" y="26199"/>
                    <a:pt x="125465" y="56072"/>
                    <a:pt x="110529" y="87438"/>
                  </a:cubicBezTo>
                  <a:cubicBezTo>
                    <a:pt x="107542" y="91919"/>
                    <a:pt x="106048" y="96400"/>
                    <a:pt x="103061" y="100881"/>
                  </a:cubicBezTo>
                  <a:cubicBezTo>
                    <a:pt x="92605" y="115817"/>
                    <a:pt x="76175" y="130754"/>
                    <a:pt x="49290" y="144196"/>
                  </a:cubicBezTo>
                  <a:cubicBezTo>
                    <a:pt x="41822" y="150171"/>
                    <a:pt x="28379" y="148677"/>
                    <a:pt x="19417" y="144196"/>
                  </a:cubicBezTo>
                  <a:cubicBezTo>
                    <a:pt x="13443" y="141209"/>
                    <a:pt x="7468" y="136728"/>
                    <a:pt x="4481" y="130754"/>
                  </a:cubicBezTo>
                  <a:cubicBezTo>
                    <a:pt x="1494" y="126273"/>
                    <a:pt x="0" y="120298"/>
                    <a:pt x="0" y="114324"/>
                  </a:cubicBezTo>
                  <a:cubicBezTo>
                    <a:pt x="0" y="102375"/>
                    <a:pt x="5975" y="90425"/>
                    <a:pt x="17924" y="84451"/>
                  </a:cubicBezTo>
                  <a:cubicBezTo>
                    <a:pt x="17924" y="84451"/>
                    <a:pt x="17924" y="84451"/>
                    <a:pt x="17924" y="84451"/>
                  </a:cubicBezTo>
                  <a:cubicBezTo>
                    <a:pt x="19417" y="82957"/>
                    <a:pt x="22405" y="81464"/>
                    <a:pt x="23898" y="79970"/>
                  </a:cubicBezTo>
                  <a:cubicBezTo>
                    <a:pt x="29873" y="75489"/>
                    <a:pt x="37341" y="71008"/>
                    <a:pt x="43315" y="66527"/>
                  </a:cubicBezTo>
                  <a:cubicBezTo>
                    <a:pt x="59745" y="54578"/>
                    <a:pt x="74682" y="41136"/>
                    <a:pt x="89618" y="32174"/>
                  </a:cubicBezTo>
                  <a:cubicBezTo>
                    <a:pt x="89618" y="32174"/>
                    <a:pt x="91112" y="30680"/>
                    <a:pt x="92605" y="30680"/>
                  </a:cubicBezTo>
                  <a:cubicBezTo>
                    <a:pt x="95593" y="29186"/>
                    <a:pt x="101567" y="26199"/>
                    <a:pt x="103061" y="24706"/>
                  </a:cubicBezTo>
                  <a:cubicBezTo>
                    <a:pt x="122478" y="-3673"/>
                    <a:pt x="146376" y="-3673"/>
                    <a:pt x="156832" y="5289"/>
                  </a:cubicBezTo>
                  <a:cubicBezTo>
                    <a:pt x="156832" y="5289"/>
                    <a:pt x="158325" y="6782"/>
                    <a:pt x="159819" y="9769"/>
                  </a:cubicBezTo>
                  <a:cubicBezTo>
                    <a:pt x="159819" y="8276"/>
                    <a:pt x="159819" y="8276"/>
                    <a:pt x="159819" y="976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4" name="任意多边形: 形状 563"/>
            <p:cNvSpPr/>
            <p:nvPr/>
          </p:nvSpPr>
          <p:spPr>
            <a:xfrm>
              <a:off x="624445" y="5594026"/>
              <a:ext cx="13633" cy="13633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5B87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5" name="任意多边形: 形状 564"/>
            <p:cNvSpPr/>
            <p:nvPr/>
          </p:nvSpPr>
          <p:spPr>
            <a:xfrm>
              <a:off x="583544" y="5568122"/>
              <a:ext cx="40900" cy="68168"/>
            </a:xfrm>
            <a:custGeom>
              <a:avLst/>
              <a:gdLst>
                <a:gd name="connsiteX0" fmla="*/ 50784 w 44809"/>
                <a:gd name="connsiteY0" fmla="*/ 0 h 74681"/>
                <a:gd name="connsiteX1" fmla="*/ 26885 w 44809"/>
                <a:gd name="connsiteY1" fmla="*/ 35847 h 74681"/>
                <a:gd name="connsiteX2" fmla="*/ 10455 w 44809"/>
                <a:gd name="connsiteY2" fmla="*/ 76175 h 74681"/>
                <a:gd name="connsiteX3" fmla="*/ 0 w 44809"/>
                <a:gd name="connsiteY3" fmla="*/ 77669 h 74681"/>
                <a:gd name="connsiteX4" fmla="*/ 50784 w 44809"/>
                <a:gd name="connsiteY4" fmla="*/ 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809" h="74681">
                  <a:moveTo>
                    <a:pt x="50784" y="0"/>
                  </a:moveTo>
                  <a:cubicBezTo>
                    <a:pt x="38835" y="7468"/>
                    <a:pt x="32860" y="22405"/>
                    <a:pt x="26885" y="35847"/>
                  </a:cubicBezTo>
                  <a:cubicBezTo>
                    <a:pt x="20911" y="49290"/>
                    <a:pt x="17924" y="64226"/>
                    <a:pt x="10455" y="76175"/>
                  </a:cubicBezTo>
                  <a:cubicBezTo>
                    <a:pt x="7468" y="76175"/>
                    <a:pt x="2987" y="77669"/>
                    <a:pt x="0" y="77669"/>
                  </a:cubicBezTo>
                  <a:cubicBezTo>
                    <a:pt x="17924" y="44809"/>
                    <a:pt x="19417" y="13443"/>
                    <a:pt x="50784" y="0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6" name="任意多边形: 形状 565"/>
            <p:cNvSpPr/>
            <p:nvPr/>
          </p:nvSpPr>
          <p:spPr>
            <a:xfrm>
              <a:off x="629898" y="5567099"/>
              <a:ext cx="13633" cy="13633"/>
            </a:xfrm>
            <a:custGeom>
              <a:avLst/>
              <a:gdLst>
                <a:gd name="connsiteX0" fmla="*/ 0 w 0"/>
                <a:gd name="connsiteY0" fmla="*/ 1120 h 0"/>
                <a:gd name="connsiteX1" fmla="*/ 0 w 0"/>
                <a:gd name="connsiteY1" fmla="*/ 1120 h 0"/>
                <a:gd name="connsiteX2" fmla="*/ 0 w 0"/>
                <a:gd name="connsiteY2" fmla="*/ 11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120"/>
                  </a:moveTo>
                  <a:cubicBezTo>
                    <a:pt x="0" y="-373"/>
                    <a:pt x="0" y="-373"/>
                    <a:pt x="0" y="1120"/>
                  </a:cubicBezTo>
                  <a:lnTo>
                    <a:pt x="0" y="1120"/>
                  </a:lnTo>
                  <a:close/>
                </a:path>
              </a:pathLst>
            </a:custGeom>
            <a:solidFill>
              <a:srgbClr val="1D1D1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7" name="任意多边形: 形状 566"/>
            <p:cNvSpPr/>
            <p:nvPr/>
          </p:nvSpPr>
          <p:spPr>
            <a:xfrm>
              <a:off x="487545" y="5585846"/>
              <a:ext cx="68168" cy="40900"/>
            </a:xfrm>
            <a:custGeom>
              <a:avLst/>
              <a:gdLst>
                <a:gd name="connsiteX0" fmla="*/ 88743 w 74681"/>
                <a:gd name="connsiteY0" fmla="*/ 0 h 44809"/>
                <a:gd name="connsiteX1" fmla="*/ 42440 w 74681"/>
                <a:gd name="connsiteY1" fmla="*/ 40328 h 44809"/>
                <a:gd name="connsiteX2" fmla="*/ 31985 w 74681"/>
                <a:gd name="connsiteY2" fmla="*/ 47796 h 44809"/>
                <a:gd name="connsiteX3" fmla="*/ 18542 w 74681"/>
                <a:gd name="connsiteY3" fmla="*/ 53771 h 44809"/>
                <a:gd name="connsiteX4" fmla="*/ 15555 w 74681"/>
                <a:gd name="connsiteY4" fmla="*/ 52277 h 44809"/>
                <a:gd name="connsiteX5" fmla="*/ 11074 w 74681"/>
                <a:gd name="connsiteY5" fmla="*/ 46303 h 44809"/>
                <a:gd name="connsiteX6" fmla="*/ 5100 w 74681"/>
                <a:gd name="connsiteY6" fmla="*/ 38835 h 44809"/>
                <a:gd name="connsiteX7" fmla="*/ 2112 w 74681"/>
                <a:gd name="connsiteY7" fmla="*/ 29873 h 44809"/>
                <a:gd name="connsiteX8" fmla="*/ 619 w 74681"/>
                <a:gd name="connsiteY8" fmla="*/ 22405 h 44809"/>
                <a:gd name="connsiteX9" fmla="*/ 11074 w 74681"/>
                <a:gd name="connsiteY9" fmla="*/ 16430 h 44809"/>
                <a:gd name="connsiteX10" fmla="*/ 30491 w 74681"/>
                <a:gd name="connsiteY10" fmla="*/ 4481 h 44809"/>
                <a:gd name="connsiteX11" fmla="*/ 42440 w 74681"/>
                <a:gd name="connsiteY11" fmla="*/ 35848 h 44809"/>
                <a:gd name="connsiteX12" fmla="*/ 88743 w 74681"/>
                <a:gd name="connsiteY12" fmla="*/ 1494 h 44809"/>
                <a:gd name="connsiteX13" fmla="*/ 88743 w 74681"/>
                <a:gd name="connsiteY13" fmla="*/ 0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681" h="44809">
                  <a:moveTo>
                    <a:pt x="88743" y="0"/>
                  </a:moveTo>
                  <a:cubicBezTo>
                    <a:pt x="76794" y="16430"/>
                    <a:pt x="58870" y="28379"/>
                    <a:pt x="42440" y="40328"/>
                  </a:cubicBezTo>
                  <a:cubicBezTo>
                    <a:pt x="39453" y="43316"/>
                    <a:pt x="34972" y="44809"/>
                    <a:pt x="31985" y="47796"/>
                  </a:cubicBezTo>
                  <a:cubicBezTo>
                    <a:pt x="28998" y="50784"/>
                    <a:pt x="23023" y="53771"/>
                    <a:pt x="18542" y="53771"/>
                  </a:cubicBezTo>
                  <a:cubicBezTo>
                    <a:pt x="17049" y="53771"/>
                    <a:pt x="15555" y="53771"/>
                    <a:pt x="15555" y="52277"/>
                  </a:cubicBezTo>
                  <a:cubicBezTo>
                    <a:pt x="12568" y="50784"/>
                    <a:pt x="11074" y="49290"/>
                    <a:pt x="11074" y="46303"/>
                  </a:cubicBezTo>
                  <a:cubicBezTo>
                    <a:pt x="8087" y="47796"/>
                    <a:pt x="3606" y="43316"/>
                    <a:pt x="5100" y="38835"/>
                  </a:cubicBezTo>
                  <a:cubicBezTo>
                    <a:pt x="2112" y="38835"/>
                    <a:pt x="-875" y="32860"/>
                    <a:pt x="2112" y="29873"/>
                  </a:cubicBezTo>
                  <a:cubicBezTo>
                    <a:pt x="619" y="28379"/>
                    <a:pt x="-875" y="25392"/>
                    <a:pt x="619" y="22405"/>
                  </a:cubicBezTo>
                  <a:cubicBezTo>
                    <a:pt x="2112" y="17924"/>
                    <a:pt x="6593" y="16430"/>
                    <a:pt x="11074" y="16430"/>
                  </a:cubicBezTo>
                  <a:cubicBezTo>
                    <a:pt x="18542" y="14936"/>
                    <a:pt x="30491" y="4481"/>
                    <a:pt x="30491" y="4481"/>
                  </a:cubicBezTo>
                  <a:lnTo>
                    <a:pt x="42440" y="35848"/>
                  </a:lnTo>
                  <a:cubicBezTo>
                    <a:pt x="58870" y="23898"/>
                    <a:pt x="73807" y="10456"/>
                    <a:pt x="88743" y="1494"/>
                  </a:cubicBezTo>
                  <a:cubicBezTo>
                    <a:pt x="85756" y="1494"/>
                    <a:pt x="87249" y="1494"/>
                    <a:pt x="88743" y="0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8" name="任意多边形: 形状 567"/>
            <p:cNvSpPr/>
            <p:nvPr/>
          </p:nvSpPr>
          <p:spPr>
            <a:xfrm>
              <a:off x="488401" y="5584483"/>
              <a:ext cx="68168" cy="40900"/>
            </a:xfrm>
            <a:custGeom>
              <a:avLst/>
              <a:gdLst>
                <a:gd name="connsiteX0" fmla="*/ 84819 w 74681"/>
                <a:gd name="connsiteY0" fmla="*/ 2987 h 44809"/>
                <a:gd name="connsiteX1" fmla="*/ 19099 w 74681"/>
                <a:gd name="connsiteY1" fmla="*/ 50783 h 44809"/>
                <a:gd name="connsiteX2" fmla="*/ 17605 w 74681"/>
                <a:gd name="connsiteY2" fmla="*/ 41822 h 44809"/>
                <a:gd name="connsiteX3" fmla="*/ 5656 w 74681"/>
                <a:gd name="connsiteY3" fmla="*/ 32860 h 44809"/>
                <a:gd name="connsiteX4" fmla="*/ 5656 w 74681"/>
                <a:gd name="connsiteY4" fmla="*/ 20911 h 44809"/>
                <a:gd name="connsiteX5" fmla="*/ 5656 w 74681"/>
                <a:gd name="connsiteY5" fmla="*/ 11949 h 44809"/>
                <a:gd name="connsiteX6" fmla="*/ 22086 w 74681"/>
                <a:gd name="connsiteY6" fmla="*/ 4481 h 44809"/>
                <a:gd name="connsiteX7" fmla="*/ 29554 w 74681"/>
                <a:gd name="connsiteY7" fmla="*/ 2987 h 44809"/>
                <a:gd name="connsiteX8" fmla="*/ 40010 w 74681"/>
                <a:gd name="connsiteY8" fmla="*/ 1493 h 44809"/>
                <a:gd name="connsiteX9" fmla="*/ 48971 w 74681"/>
                <a:gd name="connsiteY9" fmla="*/ 0 h 44809"/>
                <a:gd name="connsiteX10" fmla="*/ 71376 w 74681"/>
                <a:gd name="connsiteY10" fmla="*/ 0 h 44809"/>
                <a:gd name="connsiteX11" fmla="*/ 84819 w 74681"/>
                <a:gd name="connsiteY11" fmla="*/ 2987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44809">
                  <a:moveTo>
                    <a:pt x="84819" y="2987"/>
                  </a:moveTo>
                  <a:cubicBezTo>
                    <a:pt x="65401" y="14936"/>
                    <a:pt x="42997" y="35847"/>
                    <a:pt x="19099" y="50783"/>
                  </a:cubicBezTo>
                  <a:cubicBezTo>
                    <a:pt x="14618" y="50783"/>
                    <a:pt x="10137" y="44809"/>
                    <a:pt x="17605" y="41822"/>
                  </a:cubicBezTo>
                  <a:cubicBezTo>
                    <a:pt x="2669" y="44809"/>
                    <a:pt x="1175" y="34353"/>
                    <a:pt x="5656" y="32860"/>
                  </a:cubicBezTo>
                  <a:cubicBezTo>
                    <a:pt x="-318" y="32860"/>
                    <a:pt x="-3306" y="23898"/>
                    <a:pt x="5656" y="20911"/>
                  </a:cubicBezTo>
                  <a:cubicBezTo>
                    <a:pt x="-1812" y="22405"/>
                    <a:pt x="-318" y="14936"/>
                    <a:pt x="5656" y="11949"/>
                  </a:cubicBezTo>
                  <a:cubicBezTo>
                    <a:pt x="11631" y="8961"/>
                    <a:pt x="17605" y="5974"/>
                    <a:pt x="22086" y="4481"/>
                  </a:cubicBezTo>
                  <a:cubicBezTo>
                    <a:pt x="25073" y="2987"/>
                    <a:pt x="26567" y="2987"/>
                    <a:pt x="29554" y="2987"/>
                  </a:cubicBezTo>
                  <a:cubicBezTo>
                    <a:pt x="32541" y="1493"/>
                    <a:pt x="37022" y="1493"/>
                    <a:pt x="40010" y="1493"/>
                  </a:cubicBezTo>
                  <a:cubicBezTo>
                    <a:pt x="42997" y="1493"/>
                    <a:pt x="45984" y="0"/>
                    <a:pt x="48971" y="0"/>
                  </a:cubicBezTo>
                  <a:cubicBezTo>
                    <a:pt x="56440" y="0"/>
                    <a:pt x="63908" y="0"/>
                    <a:pt x="71376" y="0"/>
                  </a:cubicBezTo>
                  <a:cubicBezTo>
                    <a:pt x="77351" y="1493"/>
                    <a:pt x="80338" y="2987"/>
                    <a:pt x="84819" y="2987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9" name="任意多边形: 形状 568"/>
            <p:cNvSpPr/>
            <p:nvPr/>
          </p:nvSpPr>
          <p:spPr>
            <a:xfrm>
              <a:off x="512650" y="5577665"/>
              <a:ext cx="27267" cy="13633"/>
            </a:xfrm>
            <a:custGeom>
              <a:avLst/>
              <a:gdLst>
                <a:gd name="connsiteX0" fmla="*/ 31366 w 29872"/>
                <a:gd name="connsiteY0" fmla="*/ 10455 h 0"/>
                <a:gd name="connsiteX1" fmla="*/ 29873 w 29872"/>
                <a:gd name="connsiteY1" fmla="*/ 11949 h 0"/>
                <a:gd name="connsiteX2" fmla="*/ 19417 w 29872"/>
                <a:gd name="connsiteY2" fmla="*/ 13443 h 0"/>
                <a:gd name="connsiteX3" fmla="*/ 14936 w 29872"/>
                <a:gd name="connsiteY3" fmla="*/ 13443 h 0"/>
                <a:gd name="connsiteX4" fmla="*/ 7468 w 29872"/>
                <a:gd name="connsiteY4" fmla="*/ 13443 h 0"/>
                <a:gd name="connsiteX5" fmla="*/ 2987 w 29872"/>
                <a:gd name="connsiteY5" fmla="*/ 10455 h 0"/>
                <a:gd name="connsiteX6" fmla="*/ 0 w 29872"/>
                <a:gd name="connsiteY6" fmla="*/ 5974 h 0"/>
                <a:gd name="connsiteX7" fmla="*/ 1494 w 29872"/>
                <a:gd name="connsiteY7" fmla="*/ 0 h 0"/>
                <a:gd name="connsiteX8" fmla="*/ 5975 w 29872"/>
                <a:gd name="connsiteY8" fmla="*/ 0 h 0"/>
                <a:gd name="connsiteX9" fmla="*/ 5975 w 29872"/>
                <a:gd name="connsiteY9" fmla="*/ 0 h 0"/>
                <a:gd name="connsiteX10" fmla="*/ 7468 w 29872"/>
                <a:gd name="connsiteY10" fmla="*/ 1493 h 0"/>
                <a:gd name="connsiteX11" fmla="*/ 20911 w 29872"/>
                <a:gd name="connsiteY11" fmla="*/ 5974 h 0"/>
                <a:gd name="connsiteX12" fmla="*/ 25392 w 29872"/>
                <a:gd name="connsiteY12" fmla="*/ 5974 h 0"/>
                <a:gd name="connsiteX13" fmla="*/ 28379 w 29872"/>
                <a:gd name="connsiteY13" fmla="*/ 5974 h 0"/>
                <a:gd name="connsiteX14" fmla="*/ 31366 w 29872"/>
                <a:gd name="connsiteY14" fmla="*/ 1045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872">
                  <a:moveTo>
                    <a:pt x="31366" y="10455"/>
                  </a:moveTo>
                  <a:cubicBezTo>
                    <a:pt x="31366" y="10455"/>
                    <a:pt x="29873" y="11949"/>
                    <a:pt x="29873" y="11949"/>
                  </a:cubicBezTo>
                  <a:cubicBezTo>
                    <a:pt x="25392" y="11949"/>
                    <a:pt x="22405" y="13443"/>
                    <a:pt x="19417" y="13443"/>
                  </a:cubicBezTo>
                  <a:cubicBezTo>
                    <a:pt x="17924" y="13443"/>
                    <a:pt x="16430" y="13443"/>
                    <a:pt x="14936" y="13443"/>
                  </a:cubicBezTo>
                  <a:cubicBezTo>
                    <a:pt x="11949" y="13443"/>
                    <a:pt x="10455" y="13443"/>
                    <a:pt x="7468" y="13443"/>
                  </a:cubicBezTo>
                  <a:cubicBezTo>
                    <a:pt x="5975" y="13443"/>
                    <a:pt x="4481" y="11949"/>
                    <a:pt x="2987" y="10455"/>
                  </a:cubicBezTo>
                  <a:cubicBezTo>
                    <a:pt x="1494" y="8961"/>
                    <a:pt x="1494" y="7468"/>
                    <a:pt x="0" y="5974"/>
                  </a:cubicBezTo>
                  <a:cubicBezTo>
                    <a:pt x="0" y="2987"/>
                    <a:pt x="0" y="1493"/>
                    <a:pt x="1494" y="0"/>
                  </a:cubicBezTo>
                  <a:cubicBezTo>
                    <a:pt x="2987" y="0"/>
                    <a:pt x="4481" y="0"/>
                    <a:pt x="5975" y="0"/>
                  </a:cubicBezTo>
                  <a:cubicBezTo>
                    <a:pt x="5975" y="0"/>
                    <a:pt x="5975" y="0"/>
                    <a:pt x="5975" y="0"/>
                  </a:cubicBezTo>
                  <a:cubicBezTo>
                    <a:pt x="5975" y="0"/>
                    <a:pt x="7468" y="1493"/>
                    <a:pt x="7468" y="1493"/>
                  </a:cubicBezTo>
                  <a:cubicBezTo>
                    <a:pt x="11949" y="4481"/>
                    <a:pt x="16430" y="5974"/>
                    <a:pt x="20911" y="5974"/>
                  </a:cubicBezTo>
                  <a:cubicBezTo>
                    <a:pt x="22405" y="5974"/>
                    <a:pt x="23898" y="5974"/>
                    <a:pt x="25392" y="5974"/>
                  </a:cubicBezTo>
                  <a:cubicBezTo>
                    <a:pt x="26885" y="5974"/>
                    <a:pt x="26885" y="5974"/>
                    <a:pt x="28379" y="5974"/>
                  </a:cubicBezTo>
                  <a:cubicBezTo>
                    <a:pt x="31366" y="8961"/>
                    <a:pt x="32860" y="10455"/>
                    <a:pt x="31366" y="10455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0" name="任意多边形: 形状 569"/>
            <p:cNvSpPr/>
            <p:nvPr/>
          </p:nvSpPr>
          <p:spPr>
            <a:xfrm>
              <a:off x="434939" y="5561306"/>
              <a:ext cx="54534" cy="122701"/>
            </a:xfrm>
            <a:custGeom>
              <a:avLst/>
              <a:gdLst>
                <a:gd name="connsiteX0" fmla="*/ 62733 w 59745"/>
                <a:gd name="connsiteY0" fmla="*/ 134427 h 134427"/>
                <a:gd name="connsiteX1" fmla="*/ 62733 w 59745"/>
                <a:gd name="connsiteY1" fmla="*/ 134427 h 134427"/>
                <a:gd name="connsiteX2" fmla="*/ 56758 w 59745"/>
                <a:gd name="connsiteY2" fmla="*/ 131440 h 134427"/>
                <a:gd name="connsiteX3" fmla="*/ 5975 w 59745"/>
                <a:gd name="connsiteY3" fmla="*/ 50783 h 134427"/>
                <a:gd name="connsiteX4" fmla="*/ 0 w 59745"/>
                <a:gd name="connsiteY4" fmla="*/ 0 h 134427"/>
                <a:gd name="connsiteX5" fmla="*/ 13443 w 59745"/>
                <a:gd name="connsiteY5" fmla="*/ 34353 h 134427"/>
                <a:gd name="connsiteX6" fmla="*/ 56758 w 59745"/>
                <a:gd name="connsiteY6" fmla="*/ 125465 h 134427"/>
                <a:gd name="connsiteX7" fmla="*/ 62733 w 59745"/>
                <a:gd name="connsiteY7" fmla="*/ 134427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45" h="134427">
                  <a:moveTo>
                    <a:pt x="62733" y="134427"/>
                  </a:moveTo>
                  <a:lnTo>
                    <a:pt x="62733" y="134427"/>
                  </a:lnTo>
                  <a:cubicBezTo>
                    <a:pt x="59745" y="134427"/>
                    <a:pt x="58252" y="132933"/>
                    <a:pt x="56758" y="131440"/>
                  </a:cubicBezTo>
                  <a:cubicBezTo>
                    <a:pt x="37341" y="116503"/>
                    <a:pt x="17924" y="70201"/>
                    <a:pt x="5975" y="50783"/>
                  </a:cubicBezTo>
                  <a:cubicBezTo>
                    <a:pt x="2987" y="22405"/>
                    <a:pt x="2987" y="22405"/>
                    <a:pt x="0" y="0"/>
                  </a:cubicBezTo>
                  <a:lnTo>
                    <a:pt x="13443" y="34353"/>
                  </a:lnTo>
                  <a:lnTo>
                    <a:pt x="56758" y="125465"/>
                  </a:lnTo>
                  <a:cubicBezTo>
                    <a:pt x="58252" y="128453"/>
                    <a:pt x="59745" y="131440"/>
                    <a:pt x="62733" y="134427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1" name="任意多边形: 形状 570"/>
            <p:cNvSpPr/>
            <p:nvPr/>
          </p:nvSpPr>
          <p:spPr>
            <a:xfrm>
              <a:off x="602631" y="5498591"/>
              <a:ext cx="27267" cy="68168"/>
            </a:xfrm>
            <a:custGeom>
              <a:avLst/>
              <a:gdLst>
                <a:gd name="connsiteX0" fmla="*/ 41822 w 29872"/>
                <a:gd name="connsiteY0" fmla="*/ 68707 h 74681"/>
                <a:gd name="connsiteX1" fmla="*/ 29873 w 29872"/>
                <a:gd name="connsiteY1" fmla="*/ 76175 h 74681"/>
                <a:gd name="connsiteX2" fmla="*/ 29873 w 29872"/>
                <a:gd name="connsiteY2" fmla="*/ 76175 h 74681"/>
                <a:gd name="connsiteX3" fmla="*/ 25392 w 29872"/>
                <a:gd name="connsiteY3" fmla="*/ 71695 h 74681"/>
                <a:gd name="connsiteX4" fmla="*/ 14936 w 29872"/>
                <a:gd name="connsiteY4" fmla="*/ 41822 h 74681"/>
                <a:gd name="connsiteX5" fmla="*/ 0 w 29872"/>
                <a:gd name="connsiteY5" fmla="*/ 0 h 74681"/>
                <a:gd name="connsiteX6" fmla="*/ 41822 w 29872"/>
                <a:gd name="connsiteY6" fmla="*/ 68707 h 74681"/>
                <a:gd name="connsiteX7" fmla="*/ 41822 w 29872"/>
                <a:gd name="connsiteY7" fmla="*/ 6870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72" h="74681">
                  <a:moveTo>
                    <a:pt x="41822" y="68707"/>
                  </a:moveTo>
                  <a:cubicBezTo>
                    <a:pt x="37341" y="70201"/>
                    <a:pt x="38834" y="73188"/>
                    <a:pt x="29873" y="76175"/>
                  </a:cubicBezTo>
                  <a:cubicBezTo>
                    <a:pt x="29873" y="76175"/>
                    <a:pt x="29873" y="76175"/>
                    <a:pt x="29873" y="76175"/>
                  </a:cubicBezTo>
                  <a:cubicBezTo>
                    <a:pt x="28379" y="74682"/>
                    <a:pt x="28379" y="73188"/>
                    <a:pt x="25392" y="71695"/>
                  </a:cubicBezTo>
                  <a:cubicBezTo>
                    <a:pt x="22405" y="61239"/>
                    <a:pt x="19417" y="50783"/>
                    <a:pt x="14936" y="41822"/>
                  </a:cubicBezTo>
                  <a:cubicBezTo>
                    <a:pt x="8962" y="28379"/>
                    <a:pt x="0" y="14936"/>
                    <a:pt x="0" y="0"/>
                  </a:cubicBezTo>
                  <a:cubicBezTo>
                    <a:pt x="17924" y="17924"/>
                    <a:pt x="29873" y="43315"/>
                    <a:pt x="41822" y="68707"/>
                  </a:cubicBezTo>
                  <a:cubicBezTo>
                    <a:pt x="41822" y="67214"/>
                    <a:pt x="41822" y="67214"/>
                    <a:pt x="41822" y="68707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2" name="任意多边形: 形状 571"/>
            <p:cNvSpPr/>
            <p:nvPr/>
          </p:nvSpPr>
          <p:spPr>
            <a:xfrm>
              <a:off x="482657" y="5529948"/>
              <a:ext cx="27267" cy="54534"/>
            </a:xfrm>
            <a:custGeom>
              <a:avLst/>
              <a:gdLst>
                <a:gd name="connsiteX0" fmla="*/ 35847 w 29872"/>
                <a:gd name="connsiteY0" fmla="*/ 52277 h 59745"/>
                <a:gd name="connsiteX1" fmla="*/ 34354 w 29872"/>
                <a:gd name="connsiteY1" fmla="*/ 58252 h 59745"/>
                <a:gd name="connsiteX2" fmla="*/ 37341 w 29872"/>
                <a:gd name="connsiteY2" fmla="*/ 62732 h 59745"/>
                <a:gd name="connsiteX3" fmla="*/ 29873 w 29872"/>
                <a:gd name="connsiteY3" fmla="*/ 64226 h 59745"/>
                <a:gd name="connsiteX4" fmla="*/ 25392 w 29872"/>
                <a:gd name="connsiteY4" fmla="*/ 55264 h 59745"/>
                <a:gd name="connsiteX5" fmla="*/ 0 w 29872"/>
                <a:gd name="connsiteY5" fmla="*/ 0 h 59745"/>
                <a:gd name="connsiteX6" fmla="*/ 13443 w 29872"/>
                <a:gd name="connsiteY6" fmla="*/ 13443 h 59745"/>
                <a:gd name="connsiteX7" fmla="*/ 41822 w 29872"/>
                <a:gd name="connsiteY7" fmla="*/ 50783 h 59745"/>
                <a:gd name="connsiteX8" fmla="*/ 35847 w 29872"/>
                <a:gd name="connsiteY8" fmla="*/ 52277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72" h="59745">
                  <a:moveTo>
                    <a:pt x="35847" y="52277"/>
                  </a:moveTo>
                  <a:cubicBezTo>
                    <a:pt x="34354" y="52277"/>
                    <a:pt x="32860" y="55264"/>
                    <a:pt x="34354" y="58252"/>
                  </a:cubicBezTo>
                  <a:cubicBezTo>
                    <a:pt x="34354" y="59745"/>
                    <a:pt x="35847" y="61239"/>
                    <a:pt x="37341" y="62732"/>
                  </a:cubicBezTo>
                  <a:cubicBezTo>
                    <a:pt x="34354" y="62732"/>
                    <a:pt x="32860" y="64226"/>
                    <a:pt x="29873" y="64226"/>
                  </a:cubicBezTo>
                  <a:cubicBezTo>
                    <a:pt x="28379" y="61239"/>
                    <a:pt x="26885" y="58252"/>
                    <a:pt x="25392" y="55264"/>
                  </a:cubicBezTo>
                  <a:cubicBezTo>
                    <a:pt x="17924" y="35847"/>
                    <a:pt x="11949" y="16430"/>
                    <a:pt x="0" y="0"/>
                  </a:cubicBezTo>
                  <a:cubicBezTo>
                    <a:pt x="5975" y="1493"/>
                    <a:pt x="10455" y="7468"/>
                    <a:pt x="13443" y="13443"/>
                  </a:cubicBezTo>
                  <a:cubicBezTo>
                    <a:pt x="22405" y="26885"/>
                    <a:pt x="31366" y="38834"/>
                    <a:pt x="41822" y="50783"/>
                  </a:cubicBezTo>
                  <a:cubicBezTo>
                    <a:pt x="38834" y="52277"/>
                    <a:pt x="37341" y="52277"/>
                    <a:pt x="35847" y="52277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3" name="任意多边形: 形状 572"/>
            <p:cNvSpPr/>
            <p:nvPr/>
          </p:nvSpPr>
          <p:spPr>
            <a:xfrm>
              <a:off x="484361" y="5438604"/>
              <a:ext cx="68168" cy="68168"/>
            </a:xfrm>
            <a:custGeom>
              <a:avLst/>
              <a:gdLst>
                <a:gd name="connsiteX0" fmla="*/ 14563 w 74681"/>
                <a:gd name="connsiteY0" fmla="*/ 2987 h 74681"/>
                <a:gd name="connsiteX1" fmla="*/ 1120 w 74681"/>
                <a:gd name="connsiteY1" fmla="*/ 20911 h 74681"/>
                <a:gd name="connsiteX2" fmla="*/ 1120 w 74681"/>
                <a:gd name="connsiteY2" fmla="*/ 29873 h 74681"/>
                <a:gd name="connsiteX3" fmla="*/ 16057 w 74681"/>
                <a:gd name="connsiteY3" fmla="*/ 50783 h 74681"/>
                <a:gd name="connsiteX4" fmla="*/ 50410 w 74681"/>
                <a:gd name="connsiteY4" fmla="*/ 77669 h 74681"/>
                <a:gd name="connsiteX5" fmla="*/ 66840 w 74681"/>
                <a:gd name="connsiteY5" fmla="*/ 43315 h 74681"/>
                <a:gd name="connsiteX6" fmla="*/ 86257 w 74681"/>
                <a:gd name="connsiteY6" fmla="*/ 61239 h 74681"/>
                <a:gd name="connsiteX7" fmla="*/ 86257 w 74681"/>
                <a:gd name="connsiteY7" fmla="*/ 31366 h 74681"/>
                <a:gd name="connsiteX8" fmla="*/ 69827 w 74681"/>
                <a:gd name="connsiteY8" fmla="*/ 5974 h 74681"/>
                <a:gd name="connsiteX9" fmla="*/ 44436 w 74681"/>
                <a:gd name="connsiteY9" fmla="*/ 0 h 74681"/>
                <a:gd name="connsiteX10" fmla="*/ 14563 w 74681"/>
                <a:gd name="connsiteY10" fmla="*/ 298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681" h="74681">
                  <a:moveTo>
                    <a:pt x="14563" y="2987"/>
                  </a:moveTo>
                  <a:cubicBezTo>
                    <a:pt x="11576" y="8962"/>
                    <a:pt x="4107" y="17924"/>
                    <a:pt x="1120" y="20911"/>
                  </a:cubicBezTo>
                  <a:cubicBezTo>
                    <a:pt x="-373" y="23898"/>
                    <a:pt x="-373" y="26885"/>
                    <a:pt x="1120" y="29873"/>
                  </a:cubicBezTo>
                  <a:cubicBezTo>
                    <a:pt x="4107" y="38835"/>
                    <a:pt x="8588" y="44809"/>
                    <a:pt x="16057" y="50783"/>
                  </a:cubicBezTo>
                  <a:cubicBezTo>
                    <a:pt x="26512" y="59745"/>
                    <a:pt x="38461" y="68707"/>
                    <a:pt x="50410" y="77669"/>
                  </a:cubicBezTo>
                  <a:cubicBezTo>
                    <a:pt x="56385" y="67214"/>
                    <a:pt x="62359" y="55265"/>
                    <a:pt x="66840" y="43315"/>
                  </a:cubicBezTo>
                  <a:cubicBezTo>
                    <a:pt x="72815" y="49290"/>
                    <a:pt x="80283" y="55265"/>
                    <a:pt x="86257" y="61239"/>
                  </a:cubicBezTo>
                  <a:cubicBezTo>
                    <a:pt x="87751" y="50783"/>
                    <a:pt x="87751" y="40328"/>
                    <a:pt x="86257" y="31366"/>
                  </a:cubicBezTo>
                  <a:cubicBezTo>
                    <a:pt x="84764" y="20911"/>
                    <a:pt x="78789" y="11949"/>
                    <a:pt x="69827" y="5974"/>
                  </a:cubicBezTo>
                  <a:cubicBezTo>
                    <a:pt x="62359" y="1494"/>
                    <a:pt x="53397" y="0"/>
                    <a:pt x="44436" y="0"/>
                  </a:cubicBezTo>
                  <a:cubicBezTo>
                    <a:pt x="35474" y="0"/>
                    <a:pt x="16057" y="1494"/>
                    <a:pt x="14563" y="2987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4" name="任意多边形: 形状 573"/>
            <p:cNvSpPr/>
            <p:nvPr/>
          </p:nvSpPr>
          <p:spPr>
            <a:xfrm>
              <a:off x="497994" y="5440839"/>
              <a:ext cx="54534" cy="27267"/>
            </a:xfrm>
            <a:custGeom>
              <a:avLst/>
              <a:gdLst>
                <a:gd name="connsiteX0" fmla="*/ 68334 w 59745"/>
                <a:gd name="connsiteY0" fmla="*/ 21450 h 29872"/>
                <a:gd name="connsiteX1" fmla="*/ 66840 w 59745"/>
                <a:gd name="connsiteY1" fmla="*/ 25930 h 29872"/>
                <a:gd name="connsiteX2" fmla="*/ 57878 w 59745"/>
                <a:gd name="connsiteY2" fmla="*/ 34892 h 29872"/>
                <a:gd name="connsiteX3" fmla="*/ 56385 w 59745"/>
                <a:gd name="connsiteY3" fmla="*/ 36386 h 29872"/>
                <a:gd name="connsiteX4" fmla="*/ 10082 w 59745"/>
                <a:gd name="connsiteY4" fmla="*/ 34892 h 29872"/>
                <a:gd name="connsiteX5" fmla="*/ 10082 w 59745"/>
                <a:gd name="connsiteY5" fmla="*/ 6513 h 29872"/>
                <a:gd name="connsiteX6" fmla="*/ 16057 w 59745"/>
                <a:gd name="connsiteY6" fmla="*/ 3526 h 29872"/>
                <a:gd name="connsiteX7" fmla="*/ 20538 w 59745"/>
                <a:gd name="connsiteY7" fmla="*/ 2032 h 29872"/>
                <a:gd name="connsiteX8" fmla="*/ 20538 w 59745"/>
                <a:gd name="connsiteY8" fmla="*/ 2032 h 29872"/>
                <a:gd name="connsiteX9" fmla="*/ 26512 w 59745"/>
                <a:gd name="connsiteY9" fmla="*/ 539 h 29872"/>
                <a:gd name="connsiteX10" fmla="*/ 59372 w 59745"/>
                <a:gd name="connsiteY10" fmla="*/ 6513 h 29872"/>
                <a:gd name="connsiteX11" fmla="*/ 68334 w 59745"/>
                <a:gd name="connsiteY11" fmla="*/ 15475 h 29872"/>
                <a:gd name="connsiteX12" fmla="*/ 68334 w 59745"/>
                <a:gd name="connsiteY12" fmla="*/ 2145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745" h="29872">
                  <a:moveTo>
                    <a:pt x="68334" y="21450"/>
                  </a:moveTo>
                  <a:cubicBezTo>
                    <a:pt x="68334" y="22943"/>
                    <a:pt x="68334" y="24437"/>
                    <a:pt x="66840" y="25930"/>
                  </a:cubicBezTo>
                  <a:cubicBezTo>
                    <a:pt x="65347" y="28918"/>
                    <a:pt x="62359" y="31905"/>
                    <a:pt x="57878" y="34892"/>
                  </a:cubicBezTo>
                  <a:cubicBezTo>
                    <a:pt x="57878" y="34892"/>
                    <a:pt x="56385" y="36386"/>
                    <a:pt x="56385" y="36386"/>
                  </a:cubicBezTo>
                  <a:cubicBezTo>
                    <a:pt x="42942" y="42360"/>
                    <a:pt x="22031" y="42360"/>
                    <a:pt x="10082" y="34892"/>
                  </a:cubicBezTo>
                  <a:cubicBezTo>
                    <a:pt x="-3361" y="27424"/>
                    <a:pt x="-3361" y="13981"/>
                    <a:pt x="10082" y="6513"/>
                  </a:cubicBezTo>
                  <a:cubicBezTo>
                    <a:pt x="11576" y="5019"/>
                    <a:pt x="13069" y="5019"/>
                    <a:pt x="16057" y="3526"/>
                  </a:cubicBezTo>
                  <a:cubicBezTo>
                    <a:pt x="17550" y="3526"/>
                    <a:pt x="19044" y="2032"/>
                    <a:pt x="20538" y="2032"/>
                  </a:cubicBezTo>
                  <a:cubicBezTo>
                    <a:pt x="20538" y="2032"/>
                    <a:pt x="20538" y="2032"/>
                    <a:pt x="20538" y="2032"/>
                  </a:cubicBezTo>
                  <a:cubicBezTo>
                    <a:pt x="22031" y="2032"/>
                    <a:pt x="25018" y="539"/>
                    <a:pt x="26512" y="539"/>
                  </a:cubicBezTo>
                  <a:cubicBezTo>
                    <a:pt x="38461" y="-955"/>
                    <a:pt x="50410" y="539"/>
                    <a:pt x="59372" y="6513"/>
                  </a:cubicBezTo>
                  <a:cubicBezTo>
                    <a:pt x="63853" y="9500"/>
                    <a:pt x="66840" y="12488"/>
                    <a:pt x="68334" y="15475"/>
                  </a:cubicBezTo>
                  <a:cubicBezTo>
                    <a:pt x="68334" y="16968"/>
                    <a:pt x="68334" y="19956"/>
                    <a:pt x="68334" y="2145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5" name="任意多边形: 形状 574"/>
            <p:cNvSpPr/>
            <p:nvPr/>
          </p:nvSpPr>
          <p:spPr>
            <a:xfrm>
              <a:off x="496290" y="5377253"/>
              <a:ext cx="54534" cy="81801"/>
            </a:xfrm>
            <a:custGeom>
              <a:avLst/>
              <a:gdLst>
                <a:gd name="connsiteX0" fmla="*/ 0 w 59745"/>
                <a:gd name="connsiteY0" fmla="*/ 0 h 89618"/>
                <a:gd name="connsiteX1" fmla="*/ 68707 w 59745"/>
                <a:gd name="connsiteY1" fmla="*/ 0 h 89618"/>
                <a:gd name="connsiteX2" fmla="*/ 68707 w 59745"/>
                <a:gd name="connsiteY2" fmla="*/ 89618 h 89618"/>
                <a:gd name="connsiteX3" fmla="*/ 0 w 59745"/>
                <a:gd name="connsiteY3" fmla="*/ 89618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89618">
                  <a:moveTo>
                    <a:pt x="0" y="0"/>
                  </a:moveTo>
                  <a:lnTo>
                    <a:pt x="68707" y="0"/>
                  </a:lnTo>
                  <a:lnTo>
                    <a:pt x="68707" y="89618"/>
                  </a:lnTo>
                  <a:lnTo>
                    <a:pt x="0" y="89618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6" name="任意多边形: 形状 575"/>
            <p:cNvSpPr/>
            <p:nvPr/>
          </p:nvSpPr>
          <p:spPr>
            <a:xfrm>
              <a:off x="506174" y="5389524"/>
              <a:ext cx="40900" cy="81801"/>
            </a:xfrm>
            <a:custGeom>
              <a:avLst/>
              <a:gdLst>
                <a:gd name="connsiteX0" fmla="*/ 51904 w 44809"/>
                <a:gd name="connsiteY0" fmla="*/ 80656 h 89618"/>
                <a:gd name="connsiteX1" fmla="*/ 57878 w 44809"/>
                <a:gd name="connsiteY1" fmla="*/ 77669 h 89618"/>
                <a:gd name="connsiteX2" fmla="*/ 56385 w 44809"/>
                <a:gd name="connsiteY2" fmla="*/ 82150 h 89618"/>
                <a:gd name="connsiteX3" fmla="*/ 47423 w 44809"/>
                <a:gd name="connsiteY3" fmla="*/ 91112 h 89618"/>
                <a:gd name="connsiteX4" fmla="*/ 45929 w 44809"/>
                <a:gd name="connsiteY4" fmla="*/ 92606 h 89618"/>
                <a:gd name="connsiteX5" fmla="*/ 11576 w 44809"/>
                <a:gd name="connsiteY5" fmla="*/ 76175 h 89618"/>
                <a:gd name="connsiteX6" fmla="*/ 5601 w 44809"/>
                <a:gd name="connsiteY6" fmla="*/ 64227 h 89618"/>
                <a:gd name="connsiteX7" fmla="*/ 4108 w 44809"/>
                <a:gd name="connsiteY7" fmla="*/ 61239 h 89618"/>
                <a:gd name="connsiteX8" fmla="*/ 1120 w 44809"/>
                <a:gd name="connsiteY8" fmla="*/ 47796 h 89618"/>
                <a:gd name="connsiteX9" fmla="*/ 1120 w 44809"/>
                <a:gd name="connsiteY9" fmla="*/ 17924 h 89618"/>
                <a:gd name="connsiteX10" fmla="*/ 2614 w 44809"/>
                <a:gd name="connsiteY10" fmla="*/ 0 h 89618"/>
                <a:gd name="connsiteX11" fmla="*/ 2614 w 44809"/>
                <a:gd name="connsiteY11" fmla="*/ 7468 h 89618"/>
                <a:gd name="connsiteX12" fmla="*/ 2614 w 44809"/>
                <a:gd name="connsiteY12" fmla="*/ 37341 h 89618"/>
                <a:gd name="connsiteX13" fmla="*/ 8588 w 44809"/>
                <a:gd name="connsiteY13" fmla="*/ 59745 h 89618"/>
                <a:gd name="connsiteX14" fmla="*/ 11576 w 44809"/>
                <a:gd name="connsiteY14" fmla="*/ 64227 h 89618"/>
                <a:gd name="connsiteX15" fmla="*/ 13069 w 44809"/>
                <a:gd name="connsiteY15" fmla="*/ 65720 h 89618"/>
                <a:gd name="connsiteX16" fmla="*/ 51904 w 44809"/>
                <a:gd name="connsiteY16" fmla="*/ 80656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4809" h="89618">
                  <a:moveTo>
                    <a:pt x="51904" y="80656"/>
                  </a:moveTo>
                  <a:cubicBezTo>
                    <a:pt x="51904" y="80656"/>
                    <a:pt x="56385" y="79163"/>
                    <a:pt x="57878" y="77669"/>
                  </a:cubicBezTo>
                  <a:cubicBezTo>
                    <a:pt x="57878" y="79163"/>
                    <a:pt x="57878" y="80656"/>
                    <a:pt x="56385" y="82150"/>
                  </a:cubicBezTo>
                  <a:cubicBezTo>
                    <a:pt x="54891" y="85137"/>
                    <a:pt x="51904" y="88124"/>
                    <a:pt x="47423" y="91112"/>
                  </a:cubicBezTo>
                  <a:cubicBezTo>
                    <a:pt x="47423" y="91112"/>
                    <a:pt x="45929" y="92606"/>
                    <a:pt x="45929" y="92606"/>
                  </a:cubicBezTo>
                  <a:cubicBezTo>
                    <a:pt x="32487" y="92606"/>
                    <a:pt x="20537" y="86631"/>
                    <a:pt x="11576" y="76175"/>
                  </a:cubicBezTo>
                  <a:cubicBezTo>
                    <a:pt x="8588" y="73188"/>
                    <a:pt x="7095" y="68707"/>
                    <a:pt x="5601" y="64227"/>
                  </a:cubicBezTo>
                  <a:cubicBezTo>
                    <a:pt x="5601" y="62733"/>
                    <a:pt x="4108" y="62733"/>
                    <a:pt x="4108" y="61239"/>
                  </a:cubicBezTo>
                  <a:cubicBezTo>
                    <a:pt x="2614" y="56758"/>
                    <a:pt x="2614" y="52277"/>
                    <a:pt x="1120" y="47796"/>
                  </a:cubicBezTo>
                  <a:cubicBezTo>
                    <a:pt x="-373" y="37341"/>
                    <a:pt x="-373" y="28379"/>
                    <a:pt x="1120" y="17924"/>
                  </a:cubicBezTo>
                  <a:cubicBezTo>
                    <a:pt x="1120" y="13443"/>
                    <a:pt x="2614" y="5974"/>
                    <a:pt x="2614" y="0"/>
                  </a:cubicBezTo>
                  <a:cubicBezTo>
                    <a:pt x="2614" y="2987"/>
                    <a:pt x="2614" y="4481"/>
                    <a:pt x="2614" y="7468"/>
                  </a:cubicBezTo>
                  <a:cubicBezTo>
                    <a:pt x="2614" y="17924"/>
                    <a:pt x="1120" y="26886"/>
                    <a:pt x="2614" y="37341"/>
                  </a:cubicBezTo>
                  <a:cubicBezTo>
                    <a:pt x="4108" y="44809"/>
                    <a:pt x="5601" y="52277"/>
                    <a:pt x="8588" y="59745"/>
                  </a:cubicBezTo>
                  <a:cubicBezTo>
                    <a:pt x="10082" y="61239"/>
                    <a:pt x="10082" y="62733"/>
                    <a:pt x="11576" y="64227"/>
                  </a:cubicBezTo>
                  <a:cubicBezTo>
                    <a:pt x="11576" y="64227"/>
                    <a:pt x="13069" y="65720"/>
                    <a:pt x="13069" y="65720"/>
                  </a:cubicBezTo>
                  <a:cubicBezTo>
                    <a:pt x="22031" y="76175"/>
                    <a:pt x="36967" y="82150"/>
                    <a:pt x="51904" y="80656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7" name="任意多边形: 形状 576"/>
            <p:cNvSpPr/>
            <p:nvPr/>
          </p:nvSpPr>
          <p:spPr>
            <a:xfrm>
              <a:off x="508560" y="5338957"/>
              <a:ext cx="81801" cy="122701"/>
            </a:xfrm>
            <a:custGeom>
              <a:avLst/>
              <a:gdLst>
                <a:gd name="connsiteX0" fmla="*/ 1494 w 89618"/>
                <a:gd name="connsiteY0" fmla="*/ 59880 h 134427"/>
                <a:gd name="connsiteX1" fmla="*/ 0 w 89618"/>
                <a:gd name="connsiteY1" fmla="*/ 89753 h 134427"/>
                <a:gd name="connsiteX2" fmla="*/ 8962 w 89618"/>
                <a:gd name="connsiteY2" fmla="*/ 118132 h 134427"/>
                <a:gd name="connsiteX3" fmla="*/ 46303 w 89618"/>
                <a:gd name="connsiteY3" fmla="*/ 137549 h 134427"/>
                <a:gd name="connsiteX4" fmla="*/ 79163 w 89618"/>
                <a:gd name="connsiteY4" fmla="*/ 118132 h 134427"/>
                <a:gd name="connsiteX5" fmla="*/ 89618 w 89618"/>
                <a:gd name="connsiteY5" fmla="*/ 38969 h 134427"/>
                <a:gd name="connsiteX6" fmla="*/ 89618 w 89618"/>
                <a:gd name="connsiteY6" fmla="*/ 27020 h 134427"/>
                <a:gd name="connsiteX7" fmla="*/ 65720 w 89618"/>
                <a:gd name="connsiteY7" fmla="*/ 1628 h 134427"/>
                <a:gd name="connsiteX8" fmla="*/ 29873 w 89618"/>
                <a:gd name="connsiteY8" fmla="*/ 3122 h 134427"/>
                <a:gd name="connsiteX9" fmla="*/ 20911 w 89618"/>
                <a:gd name="connsiteY9" fmla="*/ 7603 h 134427"/>
                <a:gd name="connsiteX10" fmla="*/ 13443 w 89618"/>
                <a:gd name="connsiteY10" fmla="*/ 13577 h 134427"/>
                <a:gd name="connsiteX11" fmla="*/ 1494 w 89618"/>
                <a:gd name="connsiteY11" fmla="*/ 59880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9618" h="134427">
                  <a:moveTo>
                    <a:pt x="1494" y="59880"/>
                  </a:moveTo>
                  <a:cubicBezTo>
                    <a:pt x="0" y="70335"/>
                    <a:pt x="0" y="79297"/>
                    <a:pt x="0" y="89753"/>
                  </a:cubicBezTo>
                  <a:cubicBezTo>
                    <a:pt x="0" y="100208"/>
                    <a:pt x="2987" y="109170"/>
                    <a:pt x="8962" y="118132"/>
                  </a:cubicBezTo>
                  <a:cubicBezTo>
                    <a:pt x="16430" y="130081"/>
                    <a:pt x="31366" y="137549"/>
                    <a:pt x="46303" y="137549"/>
                  </a:cubicBezTo>
                  <a:cubicBezTo>
                    <a:pt x="67214" y="137549"/>
                    <a:pt x="76175" y="124106"/>
                    <a:pt x="79163" y="118132"/>
                  </a:cubicBezTo>
                  <a:cubicBezTo>
                    <a:pt x="91112" y="92740"/>
                    <a:pt x="86631" y="67348"/>
                    <a:pt x="89618" y="38969"/>
                  </a:cubicBezTo>
                  <a:cubicBezTo>
                    <a:pt x="89618" y="34488"/>
                    <a:pt x="89618" y="30008"/>
                    <a:pt x="89618" y="27020"/>
                  </a:cubicBezTo>
                  <a:cubicBezTo>
                    <a:pt x="88124" y="15071"/>
                    <a:pt x="77669" y="6109"/>
                    <a:pt x="65720" y="1628"/>
                  </a:cubicBezTo>
                  <a:cubicBezTo>
                    <a:pt x="53771" y="-1359"/>
                    <a:pt x="41822" y="135"/>
                    <a:pt x="29873" y="3122"/>
                  </a:cubicBezTo>
                  <a:cubicBezTo>
                    <a:pt x="26885" y="4616"/>
                    <a:pt x="23898" y="4616"/>
                    <a:pt x="20911" y="7603"/>
                  </a:cubicBezTo>
                  <a:cubicBezTo>
                    <a:pt x="17924" y="9096"/>
                    <a:pt x="16430" y="12084"/>
                    <a:pt x="13443" y="13577"/>
                  </a:cubicBezTo>
                  <a:cubicBezTo>
                    <a:pt x="7468" y="15071"/>
                    <a:pt x="2987" y="44944"/>
                    <a:pt x="1494" y="5988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8" name="任意多边形: 形状 577"/>
            <p:cNvSpPr/>
            <p:nvPr/>
          </p:nvSpPr>
          <p:spPr>
            <a:xfrm>
              <a:off x="485339" y="5324023"/>
              <a:ext cx="54534" cy="109068"/>
            </a:xfrm>
            <a:custGeom>
              <a:avLst/>
              <a:gdLst>
                <a:gd name="connsiteX0" fmla="*/ 9009 w 59745"/>
                <a:gd name="connsiteY0" fmla="*/ 112088 h 119490"/>
                <a:gd name="connsiteX1" fmla="*/ 19465 w 59745"/>
                <a:gd name="connsiteY1" fmla="*/ 122543 h 119490"/>
                <a:gd name="connsiteX2" fmla="*/ 22452 w 59745"/>
                <a:gd name="connsiteY2" fmla="*/ 116569 h 119490"/>
                <a:gd name="connsiteX3" fmla="*/ 25439 w 59745"/>
                <a:gd name="connsiteY3" fmla="*/ 67279 h 119490"/>
                <a:gd name="connsiteX4" fmla="*/ 38882 w 59745"/>
                <a:gd name="connsiteY4" fmla="*/ 77734 h 119490"/>
                <a:gd name="connsiteX5" fmla="*/ 38882 w 59745"/>
                <a:gd name="connsiteY5" fmla="*/ 40393 h 119490"/>
                <a:gd name="connsiteX6" fmla="*/ 64274 w 59745"/>
                <a:gd name="connsiteY6" fmla="*/ 28444 h 119490"/>
                <a:gd name="connsiteX7" fmla="*/ 4528 w 59745"/>
                <a:gd name="connsiteY7" fmla="*/ 19482 h 119490"/>
                <a:gd name="connsiteX8" fmla="*/ 9009 w 59745"/>
                <a:gd name="connsiteY8" fmla="*/ 112088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19490">
                  <a:moveTo>
                    <a:pt x="9009" y="112088"/>
                  </a:moveTo>
                  <a:cubicBezTo>
                    <a:pt x="11996" y="118062"/>
                    <a:pt x="17971" y="124037"/>
                    <a:pt x="19465" y="122543"/>
                  </a:cubicBezTo>
                  <a:cubicBezTo>
                    <a:pt x="20958" y="121050"/>
                    <a:pt x="22452" y="119556"/>
                    <a:pt x="22452" y="116569"/>
                  </a:cubicBezTo>
                  <a:cubicBezTo>
                    <a:pt x="25439" y="100139"/>
                    <a:pt x="26933" y="83709"/>
                    <a:pt x="25439" y="67279"/>
                  </a:cubicBezTo>
                  <a:cubicBezTo>
                    <a:pt x="28426" y="68773"/>
                    <a:pt x="38882" y="79228"/>
                    <a:pt x="38882" y="77734"/>
                  </a:cubicBezTo>
                  <a:cubicBezTo>
                    <a:pt x="40375" y="74747"/>
                    <a:pt x="38882" y="55330"/>
                    <a:pt x="38882" y="40393"/>
                  </a:cubicBezTo>
                  <a:cubicBezTo>
                    <a:pt x="38882" y="40393"/>
                    <a:pt x="41869" y="50849"/>
                    <a:pt x="64274" y="28444"/>
                  </a:cubicBezTo>
                  <a:cubicBezTo>
                    <a:pt x="86678" y="6040"/>
                    <a:pt x="19465" y="-17858"/>
                    <a:pt x="4528" y="19482"/>
                  </a:cubicBezTo>
                  <a:cubicBezTo>
                    <a:pt x="-1446" y="31432"/>
                    <a:pt x="-2940" y="85202"/>
                    <a:pt x="9009" y="112088"/>
                  </a:cubicBez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1" name="任意多边形: 形状 580"/>
            <p:cNvSpPr/>
            <p:nvPr/>
          </p:nvSpPr>
          <p:spPr>
            <a:xfrm>
              <a:off x="490772" y="5315346"/>
              <a:ext cx="109068" cy="68168"/>
            </a:xfrm>
            <a:custGeom>
              <a:avLst/>
              <a:gdLst>
                <a:gd name="connsiteX0" fmla="*/ 9033 w 119490"/>
                <a:gd name="connsiteY0" fmla="*/ 14053 h 74681"/>
                <a:gd name="connsiteX1" fmla="*/ 73259 w 119490"/>
                <a:gd name="connsiteY1" fmla="*/ 3598 h 74681"/>
                <a:gd name="connsiteX2" fmla="*/ 115081 w 119490"/>
                <a:gd name="connsiteY2" fmla="*/ 52887 h 74681"/>
                <a:gd name="connsiteX3" fmla="*/ 118068 w 119490"/>
                <a:gd name="connsiteY3" fmla="*/ 67824 h 74681"/>
                <a:gd name="connsiteX4" fmla="*/ 127030 w 119490"/>
                <a:gd name="connsiteY4" fmla="*/ 79773 h 74681"/>
                <a:gd name="connsiteX5" fmla="*/ 62804 w 119490"/>
                <a:gd name="connsiteY5" fmla="*/ 72305 h 74681"/>
                <a:gd name="connsiteX6" fmla="*/ 34424 w 119490"/>
                <a:gd name="connsiteY6" fmla="*/ 55875 h 74681"/>
                <a:gd name="connsiteX7" fmla="*/ 10526 w 119490"/>
                <a:gd name="connsiteY7" fmla="*/ 40939 h 74681"/>
                <a:gd name="connsiteX8" fmla="*/ 1564 w 119490"/>
                <a:gd name="connsiteY8" fmla="*/ 31977 h 74681"/>
                <a:gd name="connsiteX9" fmla="*/ 9033 w 119490"/>
                <a:gd name="connsiteY9" fmla="*/ 14053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490" h="74681">
                  <a:moveTo>
                    <a:pt x="9033" y="14053"/>
                  </a:moveTo>
                  <a:cubicBezTo>
                    <a:pt x="26956" y="610"/>
                    <a:pt x="52348" y="-3870"/>
                    <a:pt x="73259" y="3598"/>
                  </a:cubicBezTo>
                  <a:cubicBezTo>
                    <a:pt x="94170" y="11066"/>
                    <a:pt x="110600" y="30483"/>
                    <a:pt x="115081" y="52887"/>
                  </a:cubicBezTo>
                  <a:cubicBezTo>
                    <a:pt x="116574" y="57368"/>
                    <a:pt x="116574" y="63343"/>
                    <a:pt x="118068" y="67824"/>
                  </a:cubicBezTo>
                  <a:cubicBezTo>
                    <a:pt x="119562" y="72305"/>
                    <a:pt x="122549" y="76786"/>
                    <a:pt x="127030" y="79773"/>
                  </a:cubicBezTo>
                  <a:cubicBezTo>
                    <a:pt x="106119" y="84254"/>
                    <a:pt x="82221" y="81266"/>
                    <a:pt x="62804" y="72305"/>
                  </a:cubicBezTo>
                  <a:cubicBezTo>
                    <a:pt x="52348" y="67824"/>
                    <a:pt x="43386" y="61849"/>
                    <a:pt x="34424" y="55875"/>
                  </a:cubicBezTo>
                  <a:cubicBezTo>
                    <a:pt x="26956" y="51394"/>
                    <a:pt x="17994" y="45419"/>
                    <a:pt x="10526" y="40939"/>
                  </a:cubicBezTo>
                  <a:cubicBezTo>
                    <a:pt x="7539" y="39445"/>
                    <a:pt x="3058" y="36457"/>
                    <a:pt x="1564" y="31977"/>
                  </a:cubicBezTo>
                  <a:cubicBezTo>
                    <a:pt x="-2916" y="26002"/>
                    <a:pt x="3058" y="18534"/>
                    <a:pt x="9033" y="14053"/>
                  </a:cubicBezTo>
                  <a:close/>
                </a:path>
              </a:pathLst>
            </a:custGeom>
            <a:solidFill>
              <a:srgbClr val="7B6A5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2" name="任意多边形: 形状 581"/>
            <p:cNvSpPr/>
            <p:nvPr/>
          </p:nvSpPr>
          <p:spPr>
            <a:xfrm>
              <a:off x="557640" y="5513588"/>
              <a:ext cx="13633" cy="13633"/>
            </a:xfrm>
            <a:custGeom>
              <a:avLst/>
              <a:gdLst>
                <a:gd name="connsiteX0" fmla="*/ 5975 w 0"/>
                <a:gd name="connsiteY0" fmla="*/ 4481 h 0"/>
                <a:gd name="connsiteX1" fmla="*/ 2987 w 0"/>
                <a:gd name="connsiteY1" fmla="*/ 8962 h 0"/>
                <a:gd name="connsiteX2" fmla="*/ 0 w 0"/>
                <a:gd name="connsiteY2" fmla="*/ 4481 h 0"/>
                <a:gd name="connsiteX3" fmla="*/ 2987 w 0"/>
                <a:gd name="connsiteY3" fmla="*/ 0 h 0"/>
                <a:gd name="connsiteX4" fmla="*/ 5975 w 0"/>
                <a:gd name="connsiteY4" fmla="*/ 448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975" y="4481"/>
                  </a:moveTo>
                  <a:cubicBezTo>
                    <a:pt x="5975" y="7468"/>
                    <a:pt x="4481" y="8962"/>
                    <a:pt x="2987" y="8962"/>
                  </a:cubicBezTo>
                  <a:cubicBezTo>
                    <a:pt x="1494" y="8962"/>
                    <a:pt x="0" y="5974"/>
                    <a:pt x="0" y="4481"/>
                  </a:cubicBezTo>
                  <a:cubicBezTo>
                    <a:pt x="0" y="1494"/>
                    <a:pt x="1494" y="0"/>
                    <a:pt x="2987" y="0"/>
                  </a:cubicBezTo>
                  <a:cubicBezTo>
                    <a:pt x="4481" y="0"/>
                    <a:pt x="5975" y="1494"/>
                    <a:pt x="5975" y="4481"/>
                  </a:cubicBezTo>
                  <a:close/>
                </a:path>
              </a:pathLst>
            </a:custGeom>
            <a:solidFill>
              <a:srgbClr val="706F6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3" name="任意多边形: 形状 582"/>
            <p:cNvSpPr/>
            <p:nvPr/>
          </p:nvSpPr>
          <p:spPr>
            <a:xfrm>
              <a:off x="572637" y="5560943"/>
              <a:ext cx="13633" cy="13633"/>
            </a:xfrm>
            <a:custGeom>
              <a:avLst/>
              <a:gdLst>
                <a:gd name="connsiteX0" fmla="*/ 5975 w 0"/>
                <a:gd name="connsiteY0" fmla="*/ 4878 h 0"/>
                <a:gd name="connsiteX1" fmla="*/ 2987 w 0"/>
                <a:gd name="connsiteY1" fmla="*/ 9359 h 0"/>
                <a:gd name="connsiteX2" fmla="*/ 0 w 0"/>
                <a:gd name="connsiteY2" fmla="*/ 4878 h 0"/>
                <a:gd name="connsiteX3" fmla="*/ 2987 w 0"/>
                <a:gd name="connsiteY3" fmla="*/ 397 h 0"/>
                <a:gd name="connsiteX4" fmla="*/ 5975 w 0"/>
                <a:gd name="connsiteY4" fmla="*/ 487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975" y="4878"/>
                  </a:moveTo>
                  <a:cubicBezTo>
                    <a:pt x="5975" y="7865"/>
                    <a:pt x="4481" y="9359"/>
                    <a:pt x="2987" y="9359"/>
                  </a:cubicBezTo>
                  <a:cubicBezTo>
                    <a:pt x="1494" y="9359"/>
                    <a:pt x="0" y="6372"/>
                    <a:pt x="0" y="4878"/>
                  </a:cubicBezTo>
                  <a:cubicBezTo>
                    <a:pt x="0" y="1891"/>
                    <a:pt x="1494" y="397"/>
                    <a:pt x="2987" y="397"/>
                  </a:cubicBezTo>
                  <a:cubicBezTo>
                    <a:pt x="4481" y="-1096"/>
                    <a:pt x="5975" y="1891"/>
                    <a:pt x="5975" y="4878"/>
                  </a:cubicBezTo>
                  <a:close/>
                </a:path>
              </a:pathLst>
            </a:custGeom>
            <a:solidFill>
              <a:srgbClr val="706F6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4" name="任意多边形: 形状 583"/>
            <p:cNvSpPr/>
            <p:nvPr/>
          </p:nvSpPr>
          <p:spPr>
            <a:xfrm>
              <a:off x="597178" y="5660830"/>
              <a:ext cx="13633" cy="13633"/>
            </a:xfrm>
            <a:custGeom>
              <a:avLst/>
              <a:gdLst>
                <a:gd name="connsiteX0" fmla="*/ 5975 w 0"/>
                <a:gd name="connsiteY0" fmla="*/ 4481 h 0"/>
                <a:gd name="connsiteX1" fmla="*/ 2987 w 0"/>
                <a:gd name="connsiteY1" fmla="*/ 8962 h 0"/>
                <a:gd name="connsiteX2" fmla="*/ 0 w 0"/>
                <a:gd name="connsiteY2" fmla="*/ 4481 h 0"/>
                <a:gd name="connsiteX3" fmla="*/ 2987 w 0"/>
                <a:gd name="connsiteY3" fmla="*/ 0 h 0"/>
                <a:gd name="connsiteX4" fmla="*/ 5975 w 0"/>
                <a:gd name="connsiteY4" fmla="*/ 448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975" y="4481"/>
                  </a:moveTo>
                  <a:cubicBezTo>
                    <a:pt x="5975" y="7468"/>
                    <a:pt x="4481" y="8962"/>
                    <a:pt x="2987" y="8962"/>
                  </a:cubicBezTo>
                  <a:cubicBezTo>
                    <a:pt x="1494" y="8962"/>
                    <a:pt x="0" y="5975"/>
                    <a:pt x="0" y="4481"/>
                  </a:cubicBezTo>
                  <a:cubicBezTo>
                    <a:pt x="0" y="1494"/>
                    <a:pt x="1494" y="0"/>
                    <a:pt x="2987" y="0"/>
                  </a:cubicBezTo>
                  <a:cubicBezTo>
                    <a:pt x="4481" y="0"/>
                    <a:pt x="5975" y="1494"/>
                    <a:pt x="5975" y="4481"/>
                  </a:cubicBezTo>
                  <a:close/>
                </a:path>
              </a:pathLst>
            </a:custGeom>
            <a:solidFill>
              <a:srgbClr val="706F6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5" name="任意多边形: 形状 584"/>
            <p:cNvSpPr/>
            <p:nvPr/>
          </p:nvSpPr>
          <p:spPr>
            <a:xfrm>
              <a:off x="599904" y="5734088"/>
              <a:ext cx="13633" cy="13633"/>
            </a:xfrm>
            <a:custGeom>
              <a:avLst/>
              <a:gdLst>
                <a:gd name="connsiteX0" fmla="*/ 5975 w 0"/>
                <a:gd name="connsiteY0" fmla="*/ 4878 h 0"/>
                <a:gd name="connsiteX1" fmla="*/ 2987 w 0"/>
                <a:gd name="connsiteY1" fmla="*/ 9359 h 0"/>
                <a:gd name="connsiteX2" fmla="*/ 0 w 0"/>
                <a:gd name="connsiteY2" fmla="*/ 4878 h 0"/>
                <a:gd name="connsiteX3" fmla="*/ 2987 w 0"/>
                <a:gd name="connsiteY3" fmla="*/ 397 h 0"/>
                <a:gd name="connsiteX4" fmla="*/ 5975 w 0"/>
                <a:gd name="connsiteY4" fmla="*/ 487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975" y="4878"/>
                  </a:moveTo>
                  <a:cubicBezTo>
                    <a:pt x="5975" y="7866"/>
                    <a:pt x="4481" y="9359"/>
                    <a:pt x="2987" y="9359"/>
                  </a:cubicBezTo>
                  <a:cubicBezTo>
                    <a:pt x="1494" y="9359"/>
                    <a:pt x="0" y="6372"/>
                    <a:pt x="0" y="4878"/>
                  </a:cubicBezTo>
                  <a:cubicBezTo>
                    <a:pt x="0" y="1891"/>
                    <a:pt x="1494" y="397"/>
                    <a:pt x="2987" y="397"/>
                  </a:cubicBezTo>
                  <a:cubicBezTo>
                    <a:pt x="4481" y="-1096"/>
                    <a:pt x="5975" y="1891"/>
                    <a:pt x="5975" y="4878"/>
                  </a:cubicBezTo>
                  <a:close/>
                </a:path>
              </a:pathLst>
            </a:custGeom>
            <a:solidFill>
              <a:srgbClr val="706F6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5" name="任意多边形: 形状 644"/>
            <p:cNvSpPr/>
            <p:nvPr/>
          </p:nvSpPr>
          <p:spPr>
            <a:xfrm>
              <a:off x="3335250" y="3440692"/>
              <a:ext cx="13633" cy="27267"/>
            </a:xfrm>
            <a:custGeom>
              <a:avLst/>
              <a:gdLst>
                <a:gd name="connsiteX0" fmla="*/ 981 w 14936"/>
                <a:gd name="connsiteY0" fmla="*/ 6638 h 29872"/>
                <a:gd name="connsiteX1" fmla="*/ 8449 w 14936"/>
                <a:gd name="connsiteY1" fmla="*/ 23068 h 29872"/>
                <a:gd name="connsiteX2" fmla="*/ 15917 w 14936"/>
                <a:gd name="connsiteY2" fmla="*/ 35018 h 29872"/>
                <a:gd name="connsiteX3" fmla="*/ 27866 w 14936"/>
                <a:gd name="connsiteY3" fmla="*/ 40992 h 29872"/>
                <a:gd name="connsiteX4" fmla="*/ 9943 w 14936"/>
                <a:gd name="connsiteY4" fmla="*/ 3651 h 29872"/>
                <a:gd name="connsiteX5" fmla="*/ 6956 w 14936"/>
                <a:gd name="connsiteY5" fmla="*/ 664 h 29872"/>
                <a:gd name="connsiteX6" fmla="*/ 2475 w 14936"/>
                <a:gd name="connsiteY6" fmla="*/ 664 h 29872"/>
                <a:gd name="connsiteX7" fmla="*/ 981 w 14936"/>
                <a:gd name="connsiteY7" fmla="*/ 6638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36" h="29872">
                  <a:moveTo>
                    <a:pt x="981" y="6638"/>
                  </a:moveTo>
                  <a:cubicBezTo>
                    <a:pt x="3968" y="12613"/>
                    <a:pt x="5462" y="17094"/>
                    <a:pt x="8449" y="23068"/>
                  </a:cubicBezTo>
                  <a:cubicBezTo>
                    <a:pt x="9943" y="27549"/>
                    <a:pt x="12930" y="32030"/>
                    <a:pt x="15917" y="35018"/>
                  </a:cubicBezTo>
                  <a:cubicBezTo>
                    <a:pt x="18905" y="38005"/>
                    <a:pt x="23386" y="40992"/>
                    <a:pt x="27866" y="40992"/>
                  </a:cubicBezTo>
                  <a:cubicBezTo>
                    <a:pt x="24879" y="27549"/>
                    <a:pt x="18905" y="15600"/>
                    <a:pt x="9943" y="3651"/>
                  </a:cubicBezTo>
                  <a:cubicBezTo>
                    <a:pt x="8449" y="2158"/>
                    <a:pt x="8449" y="664"/>
                    <a:pt x="6956" y="664"/>
                  </a:cubicBezTo>
                  <a:cubicBezTo>
                    <a:pt x="5462" y="-830"/>
                    <a:pt x="3968" y="664"/>
                    <a:pt x="2475" y="664"/>
                  </a:cubicBezTo>
                  <a:cubicBezTo>
                    <a:pt x="-513" y="2158"/>
                    <a:pt x="-513" y="5145"/>
                    <a:pt x="981" y="6638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6" name="任意多边形: 形状 645"/>
            <p:cNvSpPr/>
            <p:nvPr/>
          </p:nvSpPr>
          <p:spPr>
            <a:xfrm>
              <a:off x="3360686" y="3473752"/>
              <a:ext cx="81801" cy="149969"/>
            </a:xfrm>
            <a:custGeom>
              <a:avLst/>
              <a:gdLst>
                <a:gd name="connsiteX0" fmla="*/ 37341 w 89618"/>
                <a:gd name="connsiteY0" fmla="*/ 148162 h 164299"/>
                <a:gd name="connsiteX1" fmla="*/ 37341 w 89618"/>
                <a:gd name="connsiteY1" fmla="*/ 146668 h 164299"/>
                <a:gd name="connsiteX2" fmla="*/ 0 w 89618"/>
                <a:gd name="connsiteY2" fmla="*/ 18216 h 164299"/>
                <a:gd name="connsiteX3" fmla="*/ 34354 w 89618"/>
                <a:gd name="connsiteY3" fmla="*/ 292 h 164299"/>
                <a:gd name="connsiteX4" fmla="*/ 95593 w 89618"/>
                <a:gd name="connsiteY4" fmla="*/ 124264 h 164299"/>
                <a:gd name="connsiteX5" fmla="*/ 97086 w 89618"/>
                <a:gd name="connsiteY5" fmla="*/ 127251 h 164299"/>
                <a:gd name="connsiteX6" fmla="*/ 97086 w 89618"/>
                <a:gd name="connsiteY6" fmla="*/ 127251 h 164299"/>
                <a:gd name="connsiteX7" fmla="*/ 91112 w 89618"/>
                <a:gd name="connsiteY7" fmla="*/ 160111 h 164299"/>
                <a:gd name="connsiteX8" fmla="*/ 79163 w 89618"/>
                <a:gd name="connsiteY8" fmla="*/ 167579 h 164299"/>
                <a:gd name="connsiteX9" fmla="*/ 37341 w 89618"/>
                <a:gd name="connsiteY9" fmla="*/ 148162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618" h="164299">
                  <a:moveTo>
                    <a:pt x="37341" y="148162"/>
                  </a:moveTo>
                  <a:lnTo>
                    <a:pt x="37341" y="146668"/>
                  </a:lnTo>
                  <a:cubicBezTo>
                    <a:pt x="37341" y="146668"/>
                    <a:pt x="0" y="39127"/>
                    <a:pt x="0" y="18216"/>
                  </a:cubicBezTo>
                  <a:cubicBezTo>
                    <a:pt x="0" y="18216"/>
                    <a:pt x="22405" y="-2695"/>
                    <a:pt x="34354" y="292"/>
                  </a:cubicBezTo>
                  <a:cubicBezTo>
                    <a:pt x="52277" y="19709"/>
                    <a:pt x="76175" y="79455"/>
                    <a:pt x="95593" y="124264"/>
                  </a:cubicBezTo>
                  <a:lnTo>
                    <a:pt x="97086" y="127251"/>
                  </a:lnTo>
                  <a:lnTo>
                    <a:pt x="97086" y="127251"/>
                  </a:lnTo>
                  <a:cubicBezTo>
                    <a:pt x="101567" y="139200"/>
                    <a:pt x="98580" y="151149"/>
                    <a:pt x="91112" y="160111"/>
                  </a:cubicBezTo>
                  <a:cubicBezTo>
                    <a:pt x="88124" y="163098"/>
                    <a:pt x="83644" y="166086"/>
                    <a:pt x="79163" y="167579"/>
                  </a:cubicBezTo>
                  <a:cubicBezTo>
                    <a:pt x="61239" y="172060"/>
                    <a:pt x="43315" y="164592"/>
                    <a:pt x="37341" y="148162"/>
                  </a:cubicBez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7" name="任意多边形: 形状 646"/>
            <p:cNvSpPr/>
            <p:nvPr/>
          </p:nvSpPr>
          <p:spPr>
            <a:xfrm>
              <a:off x="3394508" y="3570694"/>
              <a:ext cx="149969" cy="81801"/>
            </a:xfrm>
            <a:custGeom>
              <a:avLst/>
              <a:gdLst>
                <a:gd name="connsiteX0" fmla="*/ 136207 w 164299"/>
                <a:gd name="connsiteY0" fmla="*/ 98715 h 89618"/>
                <a:gd name="connsiteX1" fmla="*/ 118283 w 164299"/>
                <a:gd name="connsiteY1" fmla="*/ 92740 h 89618"/>
                <a:gd name="connsiteX2" fmla="*/ 21197 w 164299"/>
                <a:gd name="connsiteY2" fmla="*/ 62867 h 89618"/>
                <a:gd name="connsiteX3" fmla="*/ 10742 w 164299"/>
                <a:gd name="connsiteY3" fmla="*/ 56893 h 89618"/>
                <a:gd name="connsiteX4" fmla="*/ 286 w 164299"/>
                <a:gd name="connsiteY4" fmla="*/ 28514 h 89618"/>
                <a:gd name="connsiteX5" fmla="*/ 1780 w 164299"/>
                <a:gd name="connsiteY5" fmla="*/ 22539 h 89618"/>
                <a:gd name="connsiteX6" fmla="*/ 18210 w 164299"/>
                <a:gd name="connsiteY6" fmla="*/ 3122 h 89618"/>
                <a:gd name="connsiteX7" fmla="*/ 40614 w 164299"/>
                <a:gd name="connsiteY7" fmla="*/ 1628 h 89618"/>
                <a:gd name="connsiteX8" fmla="*/ 45095 w 164299"/>
                <a:gd name="connsiteY8" fmla="*/ 3122 h 89618"/>
                <a:gd name="connsiteX9" fmla="*/ 51070 w 164299"/>
                <a:gd name="connsiteY9" fmla="*/ 4616 h 89618"/>
                <a:gd name="connsiteX10" fmla="*/ 127245 w 164299"/>
                <a:gd name="connsiteY10" fmla="*/ 28514 h 89618"/>
                <a:gd name="connsiteX11" fmla="*/ 155624 w 164299"/>
                <a:gd name="connsiteY11" fmla="*/ 37476 h 89618"/>
                <a:gd name="connsiteX12" fmla="*/ 178029 w 164299"/>
                <a:gd name="connsiteY12" fmla="*/ 71829 h 89618"/>
                <a:gd name="connsiteX13" fmla="*/ 176535 w 164299"/>
                <a:gd name="connsiteY13" fmla="*/ 77804 h 89618"/>
                <a:gd name="connsiteX14" fmla="*/ 136207 w 164299"/>
                <a:gd name="connsiteY14" fmla="*/ 98715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4299" h="89618">
                  <a:moveTo>
                    <a:pt x="136207" y="98715"/>
                  </a:moveTo>
                  <a:lnTo>
                    <a:pt x="118283" y="92740"/>
                  </a:lnTo>
                  <a:lnTo>
                    <a:pt x="21197" y="62867"/>
                  </a:lnTo>
                  <a:cubicBezTo>
                    <a:pt x="16716" y="61374"/>
                    <a:pt x="13729" y="59880"/>
                    <a:pt x="10742" y="56893"/>
                  </a:cubicBezTo>
                  <a:cubicBezTo>
                    <a:pt x="3273" y="50918"/>
                    <a:pt x="-1208" y="40463"/>
                    <a:pt x="286" y="28514"/>
                  </a:cubicBezTo>
                  <a:cubicBezTo>
                    <a:pt x="286" y="27020"/>
                    <a:pt x="286" y="25526"/>
                    <a:pt x="1780" y="22539"/>
                  </a:cubicBezTo>
                  <a:cubicBezTo>
                    <a:pt x="4767" y="13577"/>
                    <a:pt x="10742" y="7603"/>
                    <a:pt x="18210" y="3122"/>
                  </a:cubicBezTo>
                  <a:cubicBezTo>
                    <a:pt x="25678" y="135"/>
                    <a:pt x="33146" y="-1359"/>
                    <a:pt x="40614" y="1628"/>
                  </a:cubicBezTo>
                  <a:lnTo>
                    <a:pt x="45095" y="3122"/>
                  </a:lnTo>
                  <a:lnTo>
                    <a:pt x="51070" y="4616"/>
                  </a:lnTo>
                  <a:lnTo>
                    <a:pt x="127245" y="28514"/>
                  </a:lnTo>
                  <a:lnTo>
                    <a:pt x="155624" y="37476"/>
                  </a:lnTo>
                  <a:cubicBezTo>
                    <a:pt x="170560" y="41957"/>
                    <a:pt x="179522" y="56893"/>
                    <a:pt x="178029" y="71829"/>
                  </a:cubicBezTo>
                  <a:cubicBezTo>
                    <a:pt x="178029" y="73323"/>
                    <a:pt x="178029" y="74816"/>
                    <a:pt x="176535" y="77804"/>
                  </a:cubicBezTo>
                  <a:cubicBezTo>
                    <a:pt x="169067" y="94234"/>
                    <a:pt x="152637" y="103195"/>
                    <a:pt x="136207" y="98715"/>
                  </a:cubicBez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8" name="任意多边形: 形状 647"/>
            <p:cNvSpPr/>
            <p:nvPr/>
          </p:nvSpPr>
          <p:spPr>
            <a:xfrm>
              <a:off x="3035947" y="2853434"/>
              <a:ext cx="695308" cy="2726697"/>
            </a:xfrm>
            <a:custGeom>
              <a:avLst/>
              <a:gdLst>
                <a:gd name="connsiteX0" fmla="*/ 751584 w 761753"/>
                <a:gd name="connsiteY0" fmla="*/ 2989048 h 2987268"/>
                <a:gd name="connsiteX1" fmla="*/ 736648 w 761753"/>
                <a:gd name="connsiteY1" fmla="*/ 2977100 h 2987268"/>
                <a:gd name="connsiteX2" fmla="*/ 286 w 761753"/>
                <a:gd name="connsiteY2" fmla="*/ 18210 h 2987268"/>
                <a:gd name="connsiteX3" fmla="*/ 10742 w 761753"/>
                <a:gd name="connsiteY3" fmla="*/ 286 h 2987268"/>
                <a:gd name="connsiteX4" fmla="*/ 28665 w 761753"/>
                <a:gd name="connsiteY4" fmla="*/ 10742 h 2987268"/>
                <a:gd name="connsiteX5" fmla="*/ 766521 w 761753"/>
                <a:gd name="connsiteY5" fmla="*/ 2971125 h 2987268"/>
                <a:gd name="connsiteX6" fmla="*/ 756065 w 761753"/>
                <a:gd name="connsiteY6" fmla="*/ 2989048 h 2987268"/>
                <a:gd name="connsiteX7" fmla="*/ 751584 w 761753"/>
                <a:gd name="connsiteY7" fmla="*/ 2989048 h 298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1753" h="2987268">
                  <a:moveTo>
                    <a:pt x="751584" y="2989048"/>
                  </a:moveTo>
                  <a:cubicBezTo>
                    <a:pt x="745610" y="2989048"/>
                    <a:pt x="738142" y="2984568"/>
                    <a:pt x="736648" y="2977100"/>
                  </a:cubicBezTo>
                  <a:lnTo>
                    <a:pt x="286" y="18210"/>
                  </a:lnTo>
                  <a:cubicBezTo>
                    <a:pt x="-1207" y="10742"/>
                    <a:pt x="3273" y="1780"/>
                    <a:pt x="10742" y="286"/>
                  </a:cubicBezTo>
                  <a:cubicBezTo>
                    <a:pt x="18210" y="-1207"/>
                    <a:pt x="27172" y="3274"/>
                    <a:pt x="28665" y="10742"/>
                  </a:cubicBezTo>
                  <a:lnTo>
                    <a:pt x="766521" y="2971125"/>
                  </a:lnTo>
                  <a:cubicBezTo>
                    <a:pt x="768014" y="2978593"/>
                    <a:pt x="763533" y="2987555"/>
                    <a:pt x="756065" y="2989048"/>
                  </a:cubicBezTo>
                  <a:cubicBezTo>
                    <a:pt x="754572" y="2989048"/>
                    <a:pt x="753078" y="2989048"/>
                    <a:pt x="751584" y="2989048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9" name="任意多边形: 形状 648"/>
            <p:cNvSpPr/>
            <p:nvPr/>
          </p:nvSpPr>
          <p:spPr>
            <a:xfrm>
              <a:off x="3179099" y="2774360"/>
              <a:ext cx="695308" cy="2726697"/>
            </a:xfrm>
            <a:custGeom>
              <a:avLst/>
              <a:gdLst>
                <a:gd name="connsiteX0" fmla="*/ 751584 w 761753"/>
                <a:gd name="connsiteY0" fmla="*/ 2989049 h 2987268"/>
                <a:gd name="connsiteX1" fmla="*/ 736648 w 761753"/>
                <a:gd name="connsiteY1" fmla="*/ 2977099 h 2987268"/>
                <a:gd name="connsiteX2" fmla="*/ 286 w 761753"/>
                <a:gd name="connsiteY2" fmla="*/ 18210 h 2987268"/>
                <a:gd name="connsiteX3" fmla="*/ 10742 w 761753"/>
                <a:gd name="connsiteY3" fmla="*/ 286 h 2987268"/>
                <a:gd name="connsiteX4" fmla="*/ 28665 w 761753"/>
                <a:gd name="connsiteY4" fmla="*/ 10742 h 2987268"/>
                <a:gd name="connsiteX5" fmla="*/ 765027 w 761753"/>
                <a:gd name="connsiteY5" fmla="*/ 2969631 h 2987268"/>
                <a:gd name="connsiteX6" fmla="*/ 754572 w 761753"/>
                <a:gd name="connsiteY6" fmla="*/ 2987555 h 2987268"/>
                <a:gd name="connsiteX7" fmla="*/ 751584 w 761753"/>
                <a:gd name="connsiteY7" fmla="*/ 2989049 h 298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1753" h="2987268">
                  <a:moveTo>
                    <a:pt x="751584" y="2989049"/>
                  </a:moveTo>
                  <a:cubicBezTo>
                    <a:pt x="745610" y="2989049"/>
                    <a:pt x="738142" y="2984567"/>
                    <a:pt x="736648" y="2977099"/>
                  </a:cubicBezTo>
                  <a:lnTo>
                    <a:pt x="286" y="18210"/>
                  </a:lnTo>
                  <a:cubicBezTo>
                    <a:pt x="-1207" y="10742"/>
                    <a:pt x="3273" y="1780"/>
                    <a:pt x="10742" y="286"/>
                  </a:cubicBezTo>
                  <a:cubicBezTo>
                    <a:pt x="18210" y="-1208"/>
                    <a:pt x="27172" y="3273"/>
                    <a:pt x="28665" y="10742"/>
                  </a:cubicBezTo>
                  <a:lnTo>
                    <a:pt x="765027" y="2969631"/>
                  </a:lnTo>
                  <a:cubicBezTo>
                    <a:pt x="766521" y="2977099"/>
                    <a:pt x="762040" y="2986061"/>
                    <a:pt x="754572" y="2987555"/>
                  </a:cubicBezTo>
                  <a:cubicBezTo>
                    <a:pt x="753078" y="2989049"/>
                    <a:pt x="751584" y="2989049"/>
                    <a:pt x="751584" y="2989049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0" name="任意多边形: 形状 649"/>
            <p:cNvSpPr/>
            <p:nvPr/>
          </p:nvSpPr>
          <p:spPr>
            <a:xfrm>
              <a:off x="3062918" y="2879040"/>
              <a:ext cx="149969" cy="95434"/>
            </a:xfrm>
            <a:custGeom>
              <a:avLst/>
              <a:gdLst>
                <a:gd name="connsiteX0" fmla="*/ 15548 w 164299"/>
                <a:gd name="connsiteY0" fmla="*/ 115622 h 104554"/>
                <a:gd name="connsiteX1" fmla="*/ 2105 w 164299"/>
                <a:gd name="connsiteY1" fmla="*/ 108153 h 104554"/>
                <a:gd name="connsiteX2" fmla="*/ 8080 w 164299"/>
                <a:gd name="connsiteY2" fmla="*/ 87243 h 104554"/>
                <a:gd name="connsiteX3" fmla="*/ 154456 w 164299"/>
                <a:gd name="connsiteY3" fmla="*/ 2105 h 104554"/>
                <a:gd name="connsiteX4" fmla="*/ 175367 w 164299"/>
                <a:gd name="connsiteY4" fmla="*/ 8080 h 104554"/>
                <a:gd name="connsiteX5" fmla="*/ 169392 w 164299"/>
                <a:gd name="connsiteY5" fmla="*/ 28991 h 104554"/>
                <a:gd name="connsiteX6" fmla="*/ 23016 w 164299"/>
                <a:gd name="connsiteY6" fmla="*/ 114128 h 104554"/>
                <a:gd name="connsiteX7" fmla="*/ 15548 w 164299"/>
                <a:gd name="connsiteY7" fmla="*/ 115622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299" h="104554">
                  <a:moveTo>
                    <a:pt x="15548" y="115622"/>
                  </a:moveTo>
                  <a:cubicBezTo>
                    <a:pt x="11067" y="115622"/>
                    <a:pt x="5093" y="112634"/>
                    <a:pt x="2105" y="108153"/>
                  </a:cubicBezTo>
                  <a:cubicBezTo>
                    <a:pt x="-2376" y="100685"/>
                    <a:pt x="612" y="91723"/>
                    <a:pt x="8080" y="87243"/>
                  </a:cubicBezTo>
                  <a:lnTo>
                    <a:pt x="154456" y="2105"/>
                  </a:lnTo>
                  <a:cubicBezTo>
                    <a:pt x="161924" y="-2375"/>
                    <a:pt x="170886" y="612"/>
                    <a:pt x="175367" y="8080"/>
                  </a:cubicBezTo>
                  <a:cubicBezTo>
                    <a:pt x="179848" y="15548"/>
                    <a:pt x="176861" y="24510"/>
                    <a:pt x="169392" y="28991"/>
                  </a:cubicBezTo>
                  <a:lnTo>
                    <a:pt x="23016" y="114128"/>
                  </a:lnTo>
                  <a:cubicBezTo>
                    <a:pt x="21523" y="114128"/>
                    <a:pt x="18535" y="115622"/>
                    <a:pt x="15548" y="115622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1" name="任意多边形: 形状 650"/>
            <p:cNvSpPr/>
            <p:nvPr/>
          </p:nvSpPr>
          <p:spPr>
            <a:xfrm>
              <a:off x="3090184" y="2986745"/>
              <a:ext cx="149969" cy="95434"/>
            </a:xfrm>
            <a:custGeom>
              <a:avLst/>
              <a:gdLst>
                <a:gd name="connsiteX0" fmla="*/ 15548 w 164299"/>
                <a:gd name="connsiteY0" fmla="*/ 115621 h 104554"/>
                <a:gd name="connsiteX1" fmla="*/ 2105 w 164299"/>
                <a:gd name="connsiteY1" fmla="*/ 108153 h 104554"/>
                <a:gd name="connsiteX2" fmla="*/ 8080 w 164299"/>
                <a:gd name="connsiteY2" fmla="*/ 87242 h 104554"/>
                <a:gd name="connsiteX3" fmla="*/ 155950 w 164299"/>
                <a:gd name="connsiteY3" fmla="*/ 2105 h 104554"/>
                <a:gd name="connsiteX4" fmla="*/ 176861 w 164299"/>
                <a:gd name="connsiteY4" fmla="*/ 8080 h 104554"/>
                <a:gd name="connsiteX5" fmla="*/ 170886 w 164299"/>
                <a:gd name="connsiteY5" fmla="*/ 28991 h 104554"/>
                <a:gd name="connsiteX6" fmla="*/ 23016 w 164299"/>
                <a:gd name="connsiteY6" fmla="*/ 114128 h 104554"/>
                <a:gd name="connsiteX7" fmla="*/ 15548 w 164299"/>
                <a:gd name="connsiteY7" fmla="*/ 115621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299" h="104554">
                  <a:moveTo>
                    <a:pt x="15548" y="115621"/>
                  </a:moveTo>
                  <a:cubicBezTo>
                    <a:pt x="11067" y="115621"/>
                    <a:pt x="5093" y="112634"/>
                    <a:pt x="2105" y="108153"/>
                  </a:cubicBezTo>
                  <a:cubicBezTo>
                    <a:pt x="-2376" y="100685"/>
                    <a:pt x="612" y="91723"/>
                    <a:pt x="8080" y="87242"/>
                  </a:cubicBezTo>
                  <a:lnTo>
                    <a:pt x="155950" y="2105"/>
                  </a:lnTo>
                  <a:cubicBezTo>
                    <a:pt x="163418" y="-2376"/>
                    <a:pt x="172380" y="612"/>
                    <a:pt x="176861" y="8080"/>
                  </a:cubicBezTo>
                  <a:cubicBezTo>
                    <a:pt x="181342" y="15548"/>
                    <a:pt x="178354" y="24510"/>
                    <a:pt x="170886" y="28991"/>
                  </a:cubicBezTo>
                  <a:lnTo>
                    <a:pt x="23016" y="114128"/>
                  </a:lnTo>
                  <a:cubicBezTo>
                    <a:pt x="20029" y="115621"/>
                    <a:pt x="18535" y="115621"/>
                    <a:pt x="15548" y="115621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2" name="任意多边形: 形状 651"/>
            <p:cNvSpPr/>
            <p:nvPr/>
          </p:nvSpPr>
          <p:spPr>
            <a:xfrm>
              <a:off x="3117451" y="3094450"/>
              <a:ext cx="149969" cy="95434"/>
            </a:xfrm>
            <a:custGeom>
              <a:avLst/>
              <a:gdLst>
                <a:gd name="connsiteX0" fmla="*/ 15548 w 164299"/>
                <a:gd name="connsiteY0" fmla="*/ 115622 h 104554"/>
                <a:gd name="connsiteX1" fmla="*/ 2105 w 164299"/>
                <a:gd name="connsiteY1" fmla="*/ 108153 h 104554"/>
                <a:gd name="connsiteX2" fmla="*/ 8080 w 164299"/>
                <a:gd name="connsiteY2" fmla="*/ 87242 h 104554"/>
                <a:gd name="connsiteX3" fmla="*/ 155950 w 164299"/>
                <a:gd name="connsiteY3" fmla="*/ 2105 h 104554"/>
                <a:gd name="connsiteX4" fmla="*/ 176861 w 164299"/>
                <a:gd name="connsiteY4" fmla="*/ 8080 h 104554"/>
                <a:gd name="connsiteX5" fmla="*/ 170886 w 164299"/>
                <a:gd name="connsiteY5" fmla="*/ 28991 h 104554"/>
                <a:gd name="connsiteX6" fmla="*/ 23016 w 164299"/>
                <a:gd name="connsiteY6" fmla="*/ 114128 h 104554"/>
                <a:gd name="connsiteX7" fmla="*/ 15548 w 164299"/>
                <a:gd name="connsiteY7" fmla="*/ 115622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299" h="104554">
                  <a:moveTo>
                    <a:pt x="15548" y="115622"/>
                  </a:moveTo>
                  <a:cubicBezTo>
                    <a:pt x="11067" y="115622"/>
                    <a:pt x="5093" y="112634"/>
                    <a:pt x="2105" y="108153"/>
                  </a:cubicBezTo>
                  <a:cubicBezTo>
                    <a:pt x="-2376" y="100685"/>
                    <a:pt x="612" y="91723"/>
                    <a:pt x="8080" y="87242"/>
                  </a:cubicBezTo>
                  <a:lnTo>
                    <a:pt x="155950" y="2105"/>
                  </a:lnTo>
                  <a:cubicBezTo>
                    <a:pt x="163418" y="-2376"/>
                    <a:pt x="172380" y="612"/>
                    <a:pt x="176861" y="8080"/>
                  </a:cubicBezTo>
                  <a:cubicBezTo>
                    <a:pt x="181342" y="15548"/>
                    <a:pt x="178354" y="24510"/>
                    <a:pt x="170886" y="28991"/>
                  </a:cubicBezTo>
                  <a:lnTo>
                    <a:pt x="23016" y="114128"/>
                  </a:lnTo>
                  <a:cubicBezTo>
                    <a:pt x="20029" y="115622"/>
                    <a:pt x="17042" y="115622"/>
                    <a:pt x="15548" y="115622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3" name="任意多边形: 形状 652"/>
            <p:cNvSpPr/>
            <p:nvPr/>
          </p:nvSpPr>
          <p:spPr>
            <a:xfrm>
              <a:off x="3143355" y="3203517"/>
              <a:ext cx="149969" cy="95434"/>
            </a:xfrm>
            <a:custGeom>
              <a:avLst/>
              <a:gdLst>
                <a:gd name="connsiteX0" fmla="*/ 15548 w 164299"/>
                <a:gd name="connsiteY0" fmla="*/ 115622 h 104554"/>
                <a:gd name="connsiteX1" fmla="*/ 2105 w 164299"/>
                <a:gd name="connsiteY1" fmla="*/ 108153 h 104554"/>
                <a:gd name="connsiteX2" fmla="*/ 8080 w 164299"/>
                <a:gd name="connsiteY2" fmla="*/ 87242 h 104554"/>
                <a:gd name="connsiteX3" fmla="*/ 155950 w 164299"/>
                <a:gd name="connsiteY3" fmla="*/ 2105 h 104554"/>
                <a:gd name="connsiteX4" fmla="*/ 176861 w 164299"/>
                <a:gd name="connsiteY4" fmla="*/ 8080 h 104554"/>
                <a:gd name="connsiteX5" fmla="*/ 170886 w 164299"/>
                <a:gd name="connsiteY5" fmla="*/ 28991 h 104554"/>
                <a:gd name="connsiteX6" fmla="*/ 23016 w 164299"/>
                <a:gd name="connsiteY6" fmla="*/ 114128 h 104554"/>
                <a:gd name="connsiteX7" fmla="*/ 15548 w 164299"/>
                <a:gd name="connsiteY7" fmla="*/ 115622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299" h="104554">
                  <a:moveTo>
                    <a:pt x="15548" y="115622"/>
                  </a:moveTo>
                  <a:cubicBezTo>
                    <a:pt x="11067" y="115622"/>
                    <a:pt x="5093" y="112634"/>
                    <a:pt x="2105" y="108153"/>
                  </a:cubicBezTo>
                  <a:cubicBezTo>
                    <a:pt x="-2376" y="100685"/>
                    <a:pt x="612" y="91723"/>
                    <a:pt x="8080" y="87242"/>
                  </a:cubicBezTo>
                  <a:lnTo>
                    <a:pt x="155950" y="2105"/>
                  </a:lnTo>
                  <a:cubicBezTo>
                    <a:pt x="163418" y="-2376"/>
                    <a:pt x="172380" y="612"/>
                    <a:pt x="176861" y="8080"/>
                  </a:cubicBezTo>
                  <a:cubicBezTo>
                    <a:pt x="181341" y="15548"/>
                    <a:pt x="178354" y="24510"/>
                    <a:pt x="170886" y="28991"/>
                  </a:cubicBezTo>
                  <a:lnTo>
                    <a:pt x="23016" y="114128"/>
                  </a:lnTo>
                  <a:cubicBezTo>
                    <a:pt x="21523" y="114128"/>
                    <a:pt x="18535" y="115622"/>
                    <a:pt x="15548" y="115622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4" name="任意多边形: 形状 653"/>
            <p:cNvSpPr/>
            <p:nvPr/>
          </p:nvSpPr>
          <p:spPr>
            <a:xfrm>
              <a:off x="3170622" y="3311222"/>
              <a:ext cx="149969" cy="95434"/>
            </a:xfrm>
            <a:custGeom>
              <a:avLst/>
              <a:gdLst>
                <a:gd name="connsiteX0" fmla="*/ 15548 w 164299"/>
                <a:gd name="connsiteY0" fmla="*/ 115621 h 104554"/>
                <a:gd name="connsiteX1" fmla="*/ 2105 w 164299"/>
                <a:gd name="connsiteY1" fmla="*/ 108153 h 104554"/>
                <a:gd name="connsiteX2" fmla="*/ 8080 w 164299"/>
                <a:gd name="connsiteY2" fmla="*/ 87242 h 104554"/>
                <a:gd name="connsiteX3" fmla="*/ 155950 w 164299"/>
                <a:gd name="connsiteY3" fmla="*/ 2105 h 104554"/>
                <a:gd name="connsiteX4" fmla="*/ 176861 w 164299"/>
                <a:gd name="connsiteY4" fmla="*/ 8080 h 104554"/>
                <a:gd name="connsiteX5" fmla="*/ 170886 w 164299"/>
                <a:gd name="connsiteY5" fmla="*/ 28991 h 104554"/>
                <a:gd name="connsiteX6" fmla="*/ 23016 w 164299"/>
                <a:gd name="connsiteY6" fmla="*/ 114128 h 104554"/>
                <a:gd name="connsiteX7" fmla="*/ 15548 w 164299"/>
                <a:gd name="connsiteY7" fmla="*/ 115621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299" h="104554">
                  <a:moveTo>
                    <a:pt x="15548" y="115621"/>
                  </a:moveTo>
                  <a:cubicBezTo>
                    <a:pt x="11067" y="115621"/>
                    <a:pt x="5093" y="112634"/>
                    <a:pt x="2105" y="108153"/>
                  </a:cubicBezTo>
                  <a:cubicBezTo>
                    <a:pt x="-2376" y="100685"/>
                    <a:pt x="612" y="91723"/>
                    <a:pt x="8080" y="87242"/>
                  </a:cubicBezTo>
                  <a:lnTo>
                    <a:pt x="155950" y="2105"/>
                  </a:lnTo>
                  <a:cubicBezTo>
                    <a:pt x="163418" y="-2376"/>
                    <a:pt x="172380" y="612"/>
                    <a:pt x="176861" y="8080"/>
                  </a:cubicBezTo>
                  <a:cubicBezTo>
                    <a:pt x="181341" y="15548"/>
                    <a:pt x="178354" y="24510"/>
                    <a:pt x="170886" y="28991"/>
                  </a:cubicBezTo>
                  <a:lnTo>
                    <a:pt x="23016" y="114128"/>
                  </a:lnTo>
                  <a:cubicBezTo>
                    <a:pt x="20029" y="115621"/>
                    <a:pt x="18535" y="115621"/>
                    <a:pt x="15548" y="115621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5" name="任意多边形: 形状 654"/>
            <p:cNvSpPr/>
            <p:nvPr/>
          </p:nvSpPr>
          <p:spPr>
            <a:xfrm>
              <a:off x="3197888" y="3418926"/>
              <a:ext cx="149969" cy="95434"/>
            </a:xfrm>
            <a:custGeom>
              <a:avLst/>
              <a:gdLst>
                <a:gd name="connsiteX0" fmla="*/ 15548 w 164299"/>
                <a:gd name="connsiteY0" fmla="*/ 115622 h 104554"/>
                <a:gd name="connsiteX1" fmla="*/ 2105 w 164299"/>
                <a:gd name="connsiteY1" fmla="*/ 108154 h 104554"/>
                <a:gd name="connsiteX2" fmla="*/ 8080 w 164299"/>
                <a:gd name="connsiteY2" fmla="*/ 87242 h 104554"/>
                <a:gd name="connsiteX3" fmla="*/ 155950 w 164299"/>
                <a:gd name="connsiteY3" fmla="*/ 2105 h 104554"/>
                <a:gd name="connsiteX4" fmla="*/ 176861 w 164299"/>
                <a:gd name="connsiteY4" fmla="*/ 8080 h 104554"/>
                <a:gd name="connsiteX5" fmla="*/ 170886 w 164299"/>
                <a:gd name="connsiteY5" fmla="*/ 28991 h 104554"/>
                <a:gd name="connsiteX6" fmla="*/ 23016 w 164299"/>
                <a:gd name="connsiteY6" fmla="*/ 114128 h 104554"/>
                <a:gd name="connsiteX7" fmla="*/ 15548 w 164299"/>
                <a:gd name="connsiteY7" fmla="*/ 115622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299" h="104554">
                  <a:moveTo>
                    <a:pt x="15548" y="115622"/>
                  </a:moveTo>
                  <a:cubicBezTo>
                    <a:pt x="11067" y="115622"/>
                    <a:pt x="5093" y="112634"/>
                    <a:pt x="2105" y="108154"/>
                  </a:cubicBezTo>
                  <a:cubicBezTo>
                    <a:pt x="-2376" y="100685"/>
                    <a:pt x="612" y="91723"/>
                    <a:pt x="8080" y="87242"/>
                  </a:cubicBezTo>
                  <a:lnTo>
                    <a:pt x="155950" y="2105"/>
                  </a:lnTo>
                  <a:cubicBezTo>
                    <a:pt x="163418" y="-2376"/>
                    <a:pt x="172380" y="612"/>
                    <a:pt x="176861" y="8080"/>
                  </a:cubicBezTo>
                  <a:cubicBezTo>
                    <a:pt x="181341" y="15548"/>
                    <a:pt x="178354" y="24510"/>
                    <a:pt x="170886" y="28991"/>
                  </a:cubicBezTo>
                  <a:lnTo>
                    <a:pt x="23016" y="114128"/>
                  </a:lnTo>
                  <a:cubicBezTo>
                    <a:pt x="20029" y="115622"/>
                    <a:pt x="17042" y="115622"/>
                    <a:pt x="15548" y="115622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6" name="任意多边形: 形状 655"/>
            <p:cNvSpPr/>
            <p:nvPr/>
          </p:nvSpPr>
          <p:spPr>
            <a:xfrm>
              <a:off x="3223793" y="3526631"/>
              <a:ext cx="163602" cy="95434"/>
            </a:xfrm>
            <a:custGeom>
              <a:avLst/>
              <a:gdLst>
                <a:gd name="connsiteX0" fmla="*/ 15548 w 179236"/>
                <a:gd name="connsiteY0" fmla="*/ 117115 h 104554"/>
                <a:gd name="connsiteX1" fmla="*/ 2105 w 179236"/>
                <a:gd name="connsiteY1" fmla="*/ 109647 h 104554"/>
                <a:gd name="connsiteX2" fmla="*/ 8080 w 179236"/>
                <a:gd name="connsiteY2" fmla="*/ 88736 h 104554"/>
                <a:gd name="connsiteX3" fmla="*/ 157443 w 179236"/>
                <a:gd name="connsiteY3" fmla="*/ 2105 h 104554"/>
                <a:gd name="connsiteX4" fmla="*/ 178354 w 179236"/>
                <a:gd name="connsiteY4" fmla="*/ 8080 h 104554"/>
                <a:gd name="connsiteX5" fmla="*/ 172380 w 179236"/>
                <a:gd name="connsiteY5" fmla="*/ 28991 h 104554"/>
                <a:gd name="connsiteX6" fmla="*/ 23016 w 179236"/>
                <a:gd name="connsiteY6" fmla="*/ 115622 h 104554"/>
                <a:gd name="connsiteX7" fmla="*/ 15548 w 179236"/>
                <a:gd name="connsiteY7" fmla="*/ 11711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7115"/>
                  </a:moveTo>
                  <a:cubicBezTo>
                    <a:pt x="11067" y="117115"/>
                    <a:pt x="5093" y="114128"/>
                    <a:pt x="2105" y="109647"/>
                  </a:cubicBezTo>
                  <a:cubicBezTo>
                    <a:pt x="-2376" y="102179"/>
                    <a:pt x="612" y="93217"/>
                    <a:pt x="8080" y="88736"/>
                  </a:cubicBezTo>
                  <a:lnTo>
                    <a:pt x="157443" y="2105"/>
                  </a:lnTo>
                  <a:cubicBezTo>
                    <a:pt x="164911" y="-2375"/>
                    <a:pt x="173873" y="612"/>
                    <a:pt x="178354" y="8080"/>
                  </a:cubicBezTo>
                  <a:cubicBezTo>
                    <a:pt x="182835" y="15548"/>
                    <a:pt x="179848" y="24510"/>
                    <a:pt x="172380" y="28991"/>
                  </a:cubicBezTo>
                  <a:lnTo>
                    <a:pt x="23016" y="115622"/>
                  </a:lnTo>
                  <a:cubicBezTo>
                    <a:pt x="21522" y="115622"/>
                    <a:pt x="18535" y="117115"/>
                    <a:pt x="15548" y="117115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7" name="任意多边形: 形状 656"/>
            <p:cNvSpPr/>
            <p:nvPr/>
          </p:nvSpPr>
          <p:spPr>
            <a:xfrm>
              <a:off x="3251059" y="3634336"/>
              <a:ext cx="163602" cy="95434"/>
            </a:xfrm>
            <a:custGeom>
              <a:avLst/>
              <a:gdLst>
                <a:gd name="connsiteX0" fmla="*/ 15548 w 179236"/>
                <a:gd name="connsiteY0" fmla="*/ 117115 h 104554"/>
                <a:gd name="connsiteX1" fmla="*/ 2105 w 179236"/>
                <a:gd name="connsiteY1" fmla="*/ 109647 h 104554"/>
                <a:gd name="connsiteX2" fmla="*/ 8080 w 179236"/>
                <a:gd name="connsiteY2" fmla="*/ 88736 h 104554"/>
                <a:gd name="connsiteX3" fmla="*/ 157443 w 179236"/>
                <a:gd name="connsiteY3" fmla="*/ 2105 h 104554"/>
                <a:gd name="connsiteX4" fmla="*/ 178354 w 179236"/>
                <a:gd name="connsiteY4" fmla="*/ 8080 h 104554"/>
                <a:gd name="connsiteX5" fmla="*/ 172380 w 179236"/>
                <a:gd name="connsiteY5" fmla="*/ 28991 h 104554"/>
                <a:gd name="connsiteX6" fmla="*/ 23016 w 179236"/>
                <a:gd name="connsiteY6" fmla="*/ 115621 h 104554"/>
                <a:gd name="connsiteX7" fmla="*/ 15548 w 179236"/>
                <a:gd name="connsiteY7" fmla="*/ 11711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7115"/>
                  </a:moveTo>
                  <a:cubicBezTo>
                    <a:pt x="11067" y="117115"/>
                    <a:pt x="5093" y="114128"/>
                    <a:pt x="2105" y="109647"/>
                  </a:cubicBezTo>
                  <a:cubicBezTo>
                    <a:pt x="-2376" y="102179"/>
                    <a:pt x="612" y="93217"/>
                    <a:pt x="8080" y="88736"/>
                  </a:cubicBezTo>
                  <a:lnTo>
                    <a:pt x="157443" y="2105"/>
                  </a:lnTo>
                  <a:cubicBezTo>
                    <a:pt x="164911" y="-2376"/>
                    <a:pt x="173873" y="612"/>
                    <a:pt x="178354" y="8080"/>
                  </a:cubicBezTo>
                  <a:cubicBezTo>
                    <a:pt x="182835" y="15548"/>
                    <a:pt x="179848" y="24510"/>
                    <a:pt x="172380" y="28991"/>
                  </a:cubicBezTo>
                  <a:lnTo>
                    <a:pt x="23016" y="115621"/>
                  </a:lnTo>
                  <a:cubicBezTo>
                    <a:pt x="21522" y="117115"/>
                    <a:pt x="18535" y="117115"/>
                    <a:pt x="15548" y="117115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8" name="任意多边形: 形状 657"/>
            <p:cNvSpPr/>
            <p:nvPr/>
          </p:nvSpPr>
          <p:spPr>
            <a:xfrm>
              <a:off x="3278326" y="3742040"/>
              <a:ext cx="163602" cy="95434"/>
            </a:xfrm>
            <a:custGeom>
              <a:avLst/>
              <a:gdLst>
                <a:gd name="connsiteX0" fmla="*/ 15548 w 179236"/>
                <a:gd name="connsiteY0" fmla="*/ 117115 h 104554"/>
                <a:gd name="connsiteX1" fmla="*/ 2105 w 179236"/>
                <a:gd name="connsiteY1" fmla="*/ 109647 h 104554"/>
                <a:gd name="connsiteX2" fmla="*/ 8080 w 179236"/>
                <a:gd name="connsiteY2" fmla="*/ 88736 h 104554"/>
                <a:gd name="connsiteX3" fmla="*/ 157443 w 179236"/>
                <a:gd name="connsiteY3" fmla="*/ 2105 h 104554"/>
                <a:gd name="connsiteX4" fmla="*/ 178354 w 179236"/>
                <a:gd name="connsiteY4" fmla="*/ 8080 h 104554"/>
                <a:gd name="connsiteX5" fmla="*/ 172380 w 179236"/>
                <a:gd name="connsiteY5" fmla="*/ 28991 h 104554"/>
                <a:gd name="connsiteX6" fmla="*/ 23016 w 179236"/>
                <a:gd name="connsiteY6" fmla="*/ 115622 h 104554"/>
                <a:gd name="connsiteX7" fmla="*/ 15548 w 179236"/>
                <a:gd name="connsiteY7" fmla="*/ 11711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7115"/>
                  </a:moveTo>
                  <a:cubicBezTo>
                    <a:pt x="11067" y="117115"/>
                    <a:pt x="5093" y="114128"/>
                    <a:pt x="2105" y="109647"/>
                  </a:cubicBezTo>
                  <a:cubicBezTo>
                    <a:pt x="-2376" y="102179"/>
                    <a:pt x="612" y="93217"/>
                    <a:pt x="8080" y="88736"/>
                  </a:cubicBezTo>
                  <a:lnTo>
                    <a:pt x="157443" y="2105"/>
                  </a:lnTo>
                  <a:cubicBezTo>
                    <a:pt x="164911" y="-2376"/>
                    <a:pt x="173873" y="612"/>
                    <a:pt x="178354" y="8080"/>
                  </a:cubicBezTo>
                  <a:cubicBezTo>
                    <a:pt x="182835" y="15548"/>
                    <a:pt x="179848" y="24510"/>
                    <a:pt x="172380" y="28991"/>
                  </a:cubicBezTo>
                  <a:lnTo>
                    <a:pt x="23016" y="115622"/>
                  </a:lnTo>
                  <a:cubicBezTo>
                    <a:pt x="20029" y="117115"/>
                    <a:pt x="18535" y="117115"/>
                    <a:pt x="15548" y="117115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9" name="任意多边形: 形状 658"/>
            <p:cNvSpPr/>
            <p:nvPr/>
          </p:nvSpPr>
          <p:spPr>
            <a:xfrm>
              <a:off x="3305594" y="3851107"/>
              <a:ext cx="163602" cy="95434"/>
            </a:xfrm>
            <a:custGeom>
              <a:avLst/>
              <a:gdLst>
                <a:gd name="connsiteX0" fmla="*/ 15548 w 179236"/>
                <a:gd name="connsiteY0" fmla="*/ 117115 h 104554"/>
                <a:gd name="connsiteX1" fmla="*/ 2105 w 179236"/>
                <a:gd name="connsiteY1" fmla="*/ 109647 h 104554"/>
                <a:gd name="connsiteX2" fmla="*/ 8080 w 179236"/>
                <a:gd name="connsiteY2" fmla="*/ 88736 h 104554"/>
                <a:gd name="connsiteX3" fmla="*/ 157443 w 179236"/>
                <a:gd name="connsiteY3" fmla="*/ 2105 h 104554"/>
                <a:gd name="connsiteX4" fmla="*/ 178354 w 179236"/>
                <a:gd name="connsiteY4" fmla="*/ 8080 h 104554"/>
                <a:gd name="connsiteX5" fmla="*/ 172380 w 179236"/>
                <a:gd name="connsiteY5" fmla="*/ 28991 h 104554"/>
                <a:gd name="connsiteX6" fmla="*/ 23016 w 179236"/>
                <a:gd name="connsiteY6" fmla="*/ 115622 h 104554"/>
                <a:gd name="connsiteX7" fmla="*/ 15548 w 179236"/>
                <a:gd name="connsiteY7" fmla="*/ 11711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7115"/>
                  </a:moveTo>
                  <a:cubicBezTo>
                    <a:pt x="11067" y="117115"/>
                    <a:pt x="5093" y="114128"/>
                    <a:pt x="2105" y="109647"/>
                  </a:cubicBezTo>
                  <a:cubicBezTo>
                    <a:pt x="-2376" y="102179"/>
                    <a:pt x="612" y="93217"/>
                    <a:pt x="8080" y="88736"/>
                  </a:cubicBezTo>
                  <a:lnTo>
                    <a:pt x="157443" y="2105"/>
                  </a:lnTo>
                  <a:cubicBezTo>
                    <a:pt x="164911" y="-2376"/>
                    <a:pt x="173873" y="612"/>
                    <a:pt x="178354" y="8080"/>
                  </a:cubicBezTo>
                  <a:cubicBezTo>
                    <a:pt x="182835" y="15548"/>
                    <a:pt x="179848" y="24510"/>
                    <a:pt x="172380" y="28991"/>
                  </a:cubicBezTo>
                  <a:lnTo>
                    <a:pt x="23016" y="115622"/>
                  </a:lnTo>
                  <a:cubicBezTo>
                    <a:pt x="20029" y="115622"/>
                    <a:pt x="17042" y="117115"/>
                    <a:pt x="15548" y="117115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0" name="任意多边形: 形状 659"/>
            <p:cNvSpPr/>
            <p:nvPr/>
          </p:nvSpPr>
          <p:spPr>
            <a:xfrm>
              <a:off x="3331497" y="3958813"/>
              <a:ext cx="163602" cy="95434"/>
            </a:xfrm>
            <a:custGeom>
              <a:avLst/>
              <a:gdLst>
                <a:gd name="connsiteX0" fmla="*/ 15548 w 179236"/>
                <a:gd name="connsiteY0" fmla="*/ 117115 h 104554"/>
                <a:gd name="connsiteX1" fmla="*/ 2105 w 179236"/>
                <a:gd name="connsiteY1" fmla="*/ 109647 h 104554"/>
                <a:gd name="connsiteX2" fmla="*/ 8080 w 179236"/>
                <a:gd name="connsiteY2" fmla="*/ 88736 h 104554"/>
                <a:gd name="connsiteX3" fmla="*/ 158937 w 179236"/>
                <a:gd name="connsiteY3" fmla="*/ 2105 h 104554"/>
                <a:gd name="connsiteX4" fmla="*/ 179848 w 179236"/>
                <a:gd name="connsiteY4" fmla="*/ 8080 h 104554"/>
                <a:gd name="connsiteX5" fmla="*/ 173873 w 179236"/>
                <a:gd name="connsiteY5" fmla="*/ 28991 h 104554"/>
                <a:gd name="connsiteX6" fmla="*/ 23016 w 179236"/>
                <a:gd name="connsiteY6" fmla="*/ 115621 h 104554"/>
                <a:gd name="connsiteX7" fmla="*/ 15548 w 179236"/>
                <a:gd name="connsiteY7" fmla="*/ 11711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7115"/>
                  </a:moveTo>
                  <a:cubicBezTo>
                    <a:pt x="11067" y="117115"/>
                    <a:pt x="5093" y="114128"/>
                    <a:pt x="2105" y="109647"/>
                  </a:cubicBezTo>
                  <a:cubicBezTo>
                    <a:pt x="-2376" y="102179"/>
                    <a:pt x="612" y="93217"/>
                    <a:pt x="8080" y="88736"/>
                  </a:cubicBezTo>
                  <a:lnTo>
                    <a:pt x="158937" y="2105"/>
                  </a:lnTo>
                  <a:cubicBezTo>
                    <a:pt x="166405" y="-2376"/>
                    <a:pt x="175367" y="612"/>
                    <a:pt x="179848" y="8080"/>
                  </a:cubicBezTo>
                  <a:cubicBezTo>
                    <a:pt x="184329" y="15548"/>
                    <a:pt x="181342" y="24510"/>
                    <a:pt x="173873" y="28991"/>
                  </a:cubicBezTo>
                  <a:lnTo>
                    <a:pt x="23016" y="115621"/>
                  </a:lnTo>
                  <a:cubicBezTo>
                    <a:pt x="21523" y="117115"/>
                    <a:pt x="18535" y="117115"/>
                    <a:pt x="15548" y="117115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1" name="任意多边形: 形状 660"/>
            <p:cNvSpPr/>
            <p:nvPr/>
          </p:nvSpPr>
          <p:spPr>
            <a:xfrm>
              <a:off x="3358764" y="4067880"/>
              <a:ext cx="163602" cy="95434"/>
            </a:xfrm>
            <a:custGeom>
              <a:avLst/>
              <a:gdLst>
                <a:gd name="connsiteX0" fmla="*/ 15548 w 179236"/>
                <a:gd name="connsiteY0" fmla="*/ 117115 h 104554"/>
                <a:gd name="connsiteX1" fmla="*/ 2105 w 179236"/>
                <a:gd name="connsiteY1" fmla="*/ 109647 h 104554"/>
                <a:gd name="connsiteX2" fmla="*/ 8080 w 179236"/>
                <a:gd name="connsiteY2" fmla="*/ 88736 h 104554"/>
                <a:gd name="connsiteX3" fmla="*/ 158937 w 179236"/>
                <a:gd name="connsiteY3" fmla="*/ 2105 h 104554"/>
                <a:gd name="connsiteX4" fmla="*/ 179848 w 179236"/>
                <a:gd name="connsiteY4" fmla="*/ 8080 h 104554"/>
                <a:gd name="connsiteX5" fmla="*/ 173873 w 179236"/>
                <a:gd name="connsiteY5" fmla="*/ 28991 h 104554"/>
                <a:gd name="connsiteX6" fmla="*/ 23016 w 179236"/>
                <a:gd name="connsiteY6" fmla="*/ 115622 h 104554"/>
                <a:gd name="connsiteX7" fmla="*/ 15548 w 179236"/>
                <a:gd name="connsiteY7" fmla="*/ 11711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7115"/>
                  </a:moveTo>
                  <a:cubicBezTo>
                    <a:pt x="11067" y="117115"/>
                    <a:pt x="5093" y="114128"/>
                    <a:pt x="2105" y="109647"/>
                  </a:cubicBezTo>
                  <a:cubicBezTo>
                    <a:pt x="-2376" y="102179"/>
                    <a:pt x="612" y="93217"/>
                    <a:pt x="8080" y="88736"/>
                  </a:cubicBezTo>
                  <a:lnTo>
                    <a:pt x="158937" y="2105"/>
                  </a:lnTo>
                  <a:cubicBezTo>
                    <a:pt x="166405" y="-2376"/>
                    <a:pt x="175367" y="612"/>
                    <a:pt x="179848" y="8080"/>
                  </a:cubicBezTo>
                  <a:cubicBezTo>
                    <a:pt x="184329" y="15548"/>
                    <a:pt x="181342" y="24510"/>
                    <a:pt x="173873" y="28991"/>
                  </a:cubicBezTo>
                  <a:lnTo>
                    <a:pt x="23016" y="115622"/>
                  </a:lnTo>
                  <a:cubicBezTo>
                    <a:pt x="20029" y="115622"/>
                    <a:pt x="18535" y="117115"/>
                    <a:pt x="15548" y="117115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2" name="任意多边形: 形状 661"/>
            <p:cNvSpPr/>
            <p:nvPr/>
          </p:nvSpPr>
          <p:spPr>
            <a:xfrm>
              <a:off x="3386031" y="4175585"/>
              <a:ext cx="163602" cy="95434"/>
            </a:xfrm>
            <a:custGeom>
              <a:avLst/>
              <a:gdLst>
                <a:gd name="connsiteX0" fmla="*/ 15548 w 179236"/>
                <a:gd name="connsiteY0" fmla="*/ 117115 h 104554"/>
                <a:gd name="connsiteX1" fmla="*/ 2105 w 179236"/>
                <a:gd name="connsiteY1" fmla="*/ 109647 h 104554"/>
                <a:gd name="connsiteX2" fmla="*/ 8080 w 179236"/>
                <a:gd name="connsiteY2" fmla="*/ 88736 h 104554"/>
                <a:gd name="connsiteX3" fmla="*/ 158937 w 179236"/>
                <a:gd name="connsiteY3" fmla="*/ 2105 h 104554"/>
                <a:gd name="connsiteX4" fmla="*/ 179848 w 179236"/>
                <a:gd name="connsiteY4" fmla="*/ 8080 h 104554"/>
                <a:gd name="connsiteX5" fmla="*/ 173873 w 179236"/>
                <a:gd name="connsiteY5" fmla="*/ 28991 h 104554"/>
                <a:gd name="connsiteX6" fmla="*/ 23016 w 179236"/>
                <a:gd name="connsiteY6" fmla="*/ 115622 h 104554"/>
                <a:gd name="connsiteX7" fmla="*/ 15548 w 179236"/>
                <a:gd name="connsiteY7" fmla="*/ 117115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7115"/>
                  </a:moveTo>
                  <a:cubicBezTo>
                    <a:pt x="11067" y="117115"/>
                    <a:pt x="5093" y="114128"/>
                    <a:pt x="2105" y="109647"/>
                  </a:cubicBezTo>
                  <a:cubicBezTo>
                    <a:pt x="-2376" y="102179"/>
                    <a:pt x="612" y="93217"/>
                    <a:pt x="8080" y="88736"/>
                  </a:cubicBezTo>
                  <a:lnTo>
                    <a:pt x="158937" y="2105"/>
                  </a:lnTo>
                  <a:cubicBezTo>
                    <a:pt x="166405" y="-2375"/>
                    <a:pt x="175367" y="612"/>
                    <a:pt x="179848" y="8080"/>
                  </a:cubicBezTo>
                  <a:cubicBezTo>
                    <a:pt x="184329" y="15548"/>
                    <a:pt x="181342" y="24510"/>
                    <a:pt x="173873" y="28991"/>
                  </a:cubicBezTo>
                  <a:lnTo>
                    <a:pt x="23016" y="115622"/>
                  </a:lnTo>
                  <a:cubicBezTo>
                    <a:pt x="20029" y="117115"/>
                    <a:pt x="17042" y="117115"/>
                    <a:pt x="15548" y="117115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3" name="任意多边形: 形状 662"/>
            <p:cNvSpPr/>
            <p:nvPr/>
          </p:nvSpPr>
          <p:spPr>
            <a:xfrm>
              <a:off x="3411934" y="4281926"/>
              <a:ext cx="163602" cy="95434"/>
            </a:xfrm>
            <a:custGeom>
              <a:avLst/>
              <a:gdLst>
                <a:gd name="connsiteX0" fmla="*/ 15548 w 179236"/>
                <a:gd name="connsiteY0" fmla="*/ 118609 h 104554"/>
                <a:gd name="connsiteX1" fmla="*/ 2105 w 179236"/>
                <a:gd name="connsiteY1" fmla="*/ 111141 h 104554"/>
                <a:gd name="connsiteX2" fmla="*/ 8080 w 179236"/>
                <a:gd name="connsiteY2" fmla="*/ 90230 h 104554"/>
                <a:gd name="connsiteX3" fmla="*/ 158937 w 179236"/>
                <a:gd name="connsiteY3" fmla="*/ 2105 h 104554"/>
                <a:gd name="connsiteX4" fmla="*/ 179848 w 179236"/>
                <a:gd name="connsiteY4" fmla="*/ 8080 h 104554"/>
                <a:gd name="connsiteX5" fmla="*/ 173873 w 179236"/>
                <a:gd name="connsiteY5" fmla="*/ 28991 h 104554"/>
                <a:gd name="connsiteX6" fmla="*/ 23016 w 179236"/>
                <a:gd name="connsiteY6" fmla="*/ 117115 h 104554"/>
                <a:gd name="connsiteX7" fmla="*/ 15548 w 179236"/>
                <a:gd name="connsiteY7" fmla="*/ 11860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8609"/>
                  </a:moveTo>
                  <a:cubicBezTo>
                    <a:pt x="11067" y="118609"/>
                    <a:pt x="5093" y="115621"/>
                    <a:pt x="2105" y="111141"/>
                  </a:cubicBezTo>
                  <a:cubicBezTo>
                    <a:pt x="-2375" y="103673"/>
                    <a:pt x="612" y="94711"/>
                    <a:pt x="8080" y="90230"/>
                  </a:cubicBezTo>
                  <a:lnTo>
                    <a:pt x="158937" y="2105"/>
                  </a:lnTo>
                  <a:cubicBezTo>
                    <a:pt x="166405" y="-2376"/>
                    <a:pt x="175367" y="612"/>
                    <a:pt x="179848" y="8080"/>
                  </a:cubicBezTo>
                  <a:cubicBezTo>
                    <a:pt x="184329" y="15548"/>
                    <a:pt x="181341" y="24510"/>
                    <a:pt x="173873" y="28991"/>
                  </a:cubicBezTo>
                  <a:lnTo>
                    <a:pt x="23016" y="117115"/>
                  </a:lnTo>
                  <a:cubicBezTo>
                    <a:pt x="21523" y="118609"/>
                    <a:pt x="18535" y="118609"/>
                    <a:pt x="15548" y="118609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4" name="任意多边形: 形状 663"/>
            <p:cNvSpPr/>
            <p:nvPr/>
          </p:nvSpPr>
          <p:spPr>
            <a:xfrm>
              <a:off x="3439202" y="4390994"/>
              <a:ext cx="163602" cy="95434"/>
            </a:xfrm>
            <a:custGeom>
              <a:avLst/>
              <a:gdLst>
                <a:gd name="connsiteX0" fmla="*/ 15548 w 179236"/>
                <a:gd name="connsiteY0" fmla="*/ 118609 h 104554"/>
                <a:gd name="connsiteX1" fmla="*/ 2105 w 179236"/>
                <a:gd name="connsiteY1" fmla="*/ 111141 h 104554"/>
                <a:gd name="connsiteX2" fmla="*/ 8080 w 179236"/>
                <a:gd name="connsiteY2" fmla="*/ 90230 h 104554"/>
                <a:gd name="connsiteX3" fmla="*/ 160431 w 179236"/>
                <a:gd name="connsiteY3" fmla="*/ 2105 h 104554"/>
                <a:gd name="connsiteX4" fmla="*/ 181341 w 179236"/>
                <a:gd name="connsiteY4" fmla="*/ 8080 h 104554"/>
                <a:gd name="connsiteX5" fmla="*/ 175367 w 179236"/>
                <a:gd name="connsiteY5" fmla="*/ 28991 h 104554"/>
                <a:gd name="connsiteX6" fmla="*/ 23016 w 179236"/>
                <a:gd name="connsiteY6" fmla="*/ 117115 h 104554"/>
                <a:gd name="connsiteX7" fmla="*/ 15548 w 179236"/>
                <a:gd name="connsiteY7" fmla="*/ 11860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8609"/>
                  </a:moveTo>
                  <a:cubicBezTo>
                    <a:pt x="11067" y="118609"/>
                    <a:pt x="5093" y="115621"/>
                    <a:pt x="2105" y="111141"/>
                  </a:cubicBezTo>
                  <a:cubicBezTo>
                    <a:pt x="-2375" y="103673"/>
                    <a:pt x="612" y="94711"/>
                    <a:pt x="8080" y="90230"/>
                  </a:cubicBezTo>
                  <a:lnTo>
                    <a:pt x="160431" y="2105"/>
                  </a:lnTo>
                  <a:cubicBezTo>
                    <a:pt x="167899" y="-2376"/>
                    <a:pt x="176861" y="612"/>
                    <a:pt x="181341" y="8080"/>
                  </a:cubicBezTo>
                  <a:cubicBezTo>
                    <a:pt x="185823" y="15548"/>
                    <a:pt x="182835" y="24510"/>
                    <a:pt x="175367" y="28991"/>
                  </a:cubicBezTo>
                  <a:lnTo>
                    <a:pt x="23016" y="117115"/>
                  </a:lnTo>
                  <a:cubicBezTo>
                    <a:pt x="21523" y="117115"/>
                    <a:pt x="18535" y="118609"/>
                    <a:pt x="15548" y="118609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5" name="任意多边形: 形状 664"/>
            <p:cNvSpPr/>
            <p:nvPr/>
          </p:nvSpPr>
          <p:spPr>
            <a:xfrm>
              <a:off x="3466468" y="4498699"/>
              <a:ext cx="163602" cy="95434"/>
            </a:xfrm>
            <a:custGeom>
              <a:avLst/>
              <a:gdLst>
                <a:gd name="connsiteX0" fmla="*/ 15548 w 179236"/>
                <a:gd name="connsiteY0" fmla="*/ 118609 h 104554"/>
                <a:gd name="connsiteX1" fmla="*/ 2105 w 179236"/>
                <a:gd name="connsiteY1" fmla="*/ 111141 h 104554"/>
                <a:gd name="connsiteX2" fmla="*/ 8080 w 179236"/>
                <a:gd name="connsiteY2" fmla="*/ 90230 h 104554"/>
                <a:gd name="connsiteX3" fmla="*/ 160431 w 179236"/>
                <a:gd name="connsiteY3" fmla="*/ 2105 h 104554"/>
                <a:gd name="connsiteX4" fmla="*/ 181341 w 179236"/>
                <a:gd name="connsiteY4" fmla="*/ 8080 h 104554"/>
                <a:gd name="connsiteX5" fmla="*/ 175367 w 179236"/>
                <a:gd name="connsiteY5" fmla="*/ 28991 h 104554"/>
                <a:gd name="connsiteX6" fmla="*/ 23016 w 179236"/>
                <a:gd name="connsiteY6" fmla="*/ 117115 h 104554"/>
                <a:gd name="connsiteX7" fmla="*/ 15548 w 179236"/>
                <a:gd name="connsiteY7" fmla="*/ 11860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8609"/>
                  </a:moveTo>
                  <a:cubicBezTo>
                    <a:pt x="11067" y="118609"/>
                    <a:pt x="5093" y="115621"/>
                    <a:pt x="2105" y="111141"/>
                  </a:cubicBezTo>
                  <a:cubicBezTo>
                    <a:pt x="-2375" y="103672"/>
                    <a:pt x="612" y="94711"/>
                    <a:pt x="8080" y="90230"/>
                  </a:cubicBezTo>
                  <a:lnTo>
                    <a:pt x="160431" y="2105"/>
                  </a:lnTo>
                  <a:cubicBezTo>
                    <a:pt x="167899" y="-2376"/>
                    <a:pt x="176861" y="612"/>
                    <a:pt x="181341" y="8080"/>
                  </a:cubicBezTo>
                  <a:cubicBezTo>
                    <a:pt x="185823" y="15548"/>
                    <a:pt x="182835" y="24510"/>
                    <a:pt x="175367" y="28991"/>
                  </a:cubicBezTo>
                  <a:lnTo>
                    <a:pt x="23016" y="117115"/>
                  </a:lnTo>
                  <a:cubicBezTo>
                    <a:pt x="20029" y="118609"/>
                    <a:pt x="18535" y="118609"/>
                    <a:pt x="15548" y="118609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6" name="任意多边形: 形状 665"/>
            <p:cNvSpPr/>
            <p:nvPr/>
          </p:nvSpPr>
          <p:spPr>
            <a:xfrm>
              <a:off x="3493735" y="4606403"/>
              <a:ext cx="163602" cy="95434"/>
            </a:xfrm>
            <a:custGeom>
              <a:avLst/>
              <a:gdLst>
                <a:gd name="connsiteX0" fmla="*/ 15548 w 179236"/>
                <a:gd name="connsiteY0" fmla="*/ 118609 h 104554"/>
                <a:gd name="connsiteX1" fmla="*/ 2105 w 179236"/>
                <a:gd name="connsiteY1" fmla="*/ 111141 h 104554"/>
                <a:gd name="connsiteX2" fmla="*/ 8080 w 179236"/>
                <a:gd name="connsiteY2" fmla="*/ 90230 h 104554"/>
                <a:gd name="connsiteX3" fmla="*/ 160431 w 179236"/>
                <a:gd name="connsiteY3" fmla="*/ 2105 h 104554"/>
                <a:gd name="connsiteX4" fmla="*/ 181341 w 179236"/>
                <a:gd name="connsiteY4" fmla="*/ 8080 h 104554"/>
                <a:gd name="connsiteX5" fmla="*/ 175367 w 179236"/>
                <a:gd name="connsiteY5" fmla="*/ 28991 h 104554"/>
                <a:gd name="connsiteX6" fmla="*/ 23016 w 179236"/>
                <a:gd name="connsiteY6" fmla="*/ 117115 h 104554"/>
                <a:gd name="connsiteX7" fmla="*/ 15548 w 179236"/>
                <a:gd name="connsiteY7" fmla="*/ 11860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8609"/>
                  </a:moveTo>
                  <a:cubicBezTo>
                    <a:pt x="11067" y="118609"/>
                    <a:pt x="5093" y="115622"/>
                    <a:pt x="2105" y="111141"/>
                  </a:cubicBezTo>
                  <a:cubicBezTo>
                    <a:pt x="-2375" y="103672"/>
                    <a:pt x="612" y="94711"/>
                    <a:pt x="8080" y="90230"/>
                  </a:cubicBezTo>
                  <a:lnTo>
                    <a:pt x="160431" y="2105"/>
                  </a:lnTo>
                  <a:cubicBezTo>
                    <a:pt x="167899" y="-2376"/>
                    <a:pt x="176861" y="612"/>
                    <a:pt x="181341" y="8080"/>
                  </a:cubicBezTo>
                  <a:cubicBezTo>
                    <a:pt x="185823" y="15548"/>
                    <a:pt x="182835" y="24510"/>
                    <a:pt x="175367" y="28991"/>
                  </a:cubicBezTo>
                  <a:lnTo>
                    <a:pt x="23016" y="117115"/>
                  </a:lnTo>
                  <a:cubicBezTo>
                    <a:pt x="20029" y="118609"/>
                    <a:pt x="17042" y="118609"/>
                    <a:pt x="15548" y="118609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7" name="任意多边形: 形状 666"/>
            <p:cNvSpPr/>
            <p:nvPr/>
          </p:nvSpPr>
          <p:spPr>
            <a:xfrm>
              <a:off x="3519639" y="4715471"/>
              <a:ext cx="163602" cy="95434"/>
            </a:xfrm>
            <a:custGeom>
              <a:avLst/>
              <a:gdLst>
                <a:gd name="connsiteX0" fmla="*/ 15548 w 179236"/>
                <a:gd name="connsiteY0" fmla="*/ 118609 h 104554"/>
                <a:gd name="connsiteX1" fmla="*/ 2105 w 179236"/>
                <a:gd name="connsiteY1" fmla="*/ 111141 h 104554"/>
                <a:gd name="connsiteX2" fmla="*/ 8080 w 179236"/>
                <a:gd name="connsiteY2" fmla="*/ 90230 h 104554"/>
                <a:gd name="connsiteX3" fmla="*/ 160431 w 179236"/>
                <a:gd name="connsiteY3" fmla="*/ 2105 h 104554"/>
                <a:gd name="connsiteX4" fmla="*/ 181341 w 179236"/>
                <a:gd name="connsiteY4" fmla="*/ 8080 h 104554"/>
                <a:gd name="connsiteX5" fmla="*/ 175367 w 179236"/>
                <a:gd name="connsiteY5" fmla="*/ 28991 h 104554"/>
                <a:gd name="connsiteX6" fmla="*/ 23016 w 179236"/>
                <a:gd name="connsiteY6" fmla="*/ 117115 h 104554"/>
                <a:gd name="connsiteX7" fmla="*/ 15548 w 179236"/>
                <a:gd name="connsiteY7" fmla="*/ 11860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8609"/>
                  </a:moveTo>
                  <a:cubicBezTo>
                    <a:pt x="11067" y="118609"/>
                    <a:pt x="5093" y="115622"/>
                    <a:pt x="2105" y="111141"/>
                  </a:cubicBezTo>
                  <a:cubicBezTo>
                    <a:pt x="-2376" y="103672"/>
                    <a:pt x="612" y="94711"/>
                    <a:pt x="8080" y="90230"/>
                  </a:cubicBezTo>
                  <a:lnTo>
                    <a:pt x="160431" y="2105"/>
                  </a:lnTo>
                  <a:cubicBezTo>
                    <a:pt x="167899" y="-2376"/>
                    <a:pt x="176861" y="612"/>
                    <a:pt x="181341" y="8080"/>
                  </a:cubicBezTo>
                  <a:cubicBezTo>
                    <a:pt x="185822" y="15548"/>
                    <a:pt x="182835" y="24510"/>
                    <a:pt x="175367" y="28991"/>
                  </a:cubicBezTo>
                  <a:lnTo>
                    <a:pt x="23016" y="117115"/>
                  </a:lnTo>
                  <a:cubicBezTo>
                    <a:pt x="21523" y="117115"/>
                    <a:pt x="18535" y="118609"/>
                    <a:pt x="15548" y="118609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8" name="任意多边形: 形状 667"/>
            <p:cNvSpPr/>
            <p:nvPr/>
          </p:nvSpPr>
          <p:spPr>
            <a:xfrm>
              <a:off x="3546906" y="4823176"/>
              <a:ext cx="163602" cy="95434"/>
            </a:xfrm>
            <a:custGeom>
              <a:avLst/>
              <a:gdLst>
                <a:gd name="connsiteX0" fmla="*/ 15548 w 179236"/>
                <a:gd name="connsiteY0" fmla="*/ 118609 h 104554"/>
                <a:gd name="connsiteX1" fmla="*/ 2105 w 179236"/>
                <a:gd name="connsiteY1" fmla="*/ 111140 h 104554"/>
                <a:gd name="connsiteX2" fmla="*/ 8080 w 179236"/>
                <a:gd name="connsiteY2" fmla="*/ 90230 h 104554"/>
                <a:gd name="connsiteX3" fmla="*/ 161924 w 179236"/>
                <a:gd name="connsiteY3" fmla="*/ 2105 h 104554"/>
                <a:gd name="connsiteX4" fmla="*/ 182835 w 179236"/>
                <a:gd name="connsiteY4" fmla="*/ 8080 h 104554"/>
                <a:gd name="connsiteX5" fmla="*/ 176861 w 179236"/>
                <a:gd name="connsiteY5" fmla="*/ 28991 h 104554"/>
                <a:gd name="connsiteX6" fmla="*/ 23016 w 179236"/>
                <a:gd name="connsiteY6" fmla="*/ 117115 h 104554"/>
                <a:gd name="connsiteX7" fmla="*/ 15548 w 179236"/>
                <a:gd name="connsiteY7" fmla="*/ 11860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8609"/>
                  </a:moveTo>
                  <a:cubicBezTo>
                    <a:pt x="11067" y="118609"/>
                    <a:pt x="5093" y="115622"/>
                    <a:pt x="2105" y="111140"/>
                  </a:cubicBezTo>
                  <a:cubicBezTo>
                    <a:pt x="-2376" y="103672"/>
                    <a:pt x="612" y="94711"/>
                    <a:pt x="8080" y="90230"/>
                  </a:cubicBezTo>
                  <a:lnTo>
                    <a:pt x="161924" y="2105"/>
                  </a:lnTo>
                  <a:cubicBezTo>
                    <a:pt x="169392" y="-2375"/>
                    <a:pt x="178354" y="612"/>
                    <a:pt x="182835" y="8080"/>
                  </a:cubicBezTo>
                  <a:cubicBezTo>
                    <a:pt x="187316" y="15548"/>
                    <a:pt x="184329" y="24510"/>
                    <a:pt x="176861" y="28991"/>
                  </a:cubicBezTo>
                  <a:lnTo>
                    <a:pt x="23016" y="117115"/>
                  </a:lnTo>
                  <a:cubicBezTo>
                    <a:pt x="20029" y="118609"/>
                    <a:pt x="18535" y="118609"/>
                    <a:pt x="15548" y="118609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9" name="任意多边形: 形状 668"/>
            <p:cNvSpPr/>
            <p:nvPr/>
          </p:nvSpPr>
          <p:spPr>
            <a:xfrm>
              <a:off x="3574173" y="4930880"/>
              <a:ext cx="163602" cy="95434"/>
            </a:xfrm>
            <a:custGeom>
              <a:avLst/>
              <a:gdLst>
                <a:gd name="connsiteX0" fmla="*/ 15548 w 179236"/>
                <a:gd name="connsiteY0" fmla="*/ 118609 h 104554"/>
                <a:gd name="connsiteX1" fmla="*/ 2105 w 179236"/>
                <a:gd name="connsiteY1" fmla="*/ 111141 h 104554"/>
                <a:gd name="connsiteX2" fmla="*/ 8080 w 179236"/>
                <a:gd name="connsiteY2" fmla="*/ 90230 h 104554"/>
                <a:gd name="connsiteX3" fmla="*/ 161924 w 179236"/>
                <a:gd name="connsiteY3" fmla="*/ 2105 h 104554"/>
                <a:gd name="connsiteX4" fmla="*/ 182835 w 179236"/>
                <a:gd name="connsiteY4" fmla="*/ 8080 h 104554"/>
                <a:gd name="connsiteX5" fmla="*/ 176861 w 179236"/>
                <a:gd name="connsiteY5" fmla="*/ 28991 h 104554"/>
                <a:gd name="connsiteX6" fmla="*/ 23016 w 179236"/>
                <a:gd name="connsiteY6" fmla="*/ 117115 h 104554"/>
                <a:gd name="connsiteX7" fmla="*/ 15548 w 179236"/>
                <a:gd name="connsiteY7" fmla="*/ 11860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04554">
                  <a:moveTo>
                    <a:pt x="15548" y="118609"/>
                  </a:moveTo>
                  <a:cubicBezTo>
                    <a:pt x="11067" y="118609"/>
                    <a:pt x="5093" y="115622"/>
                    <a:pt x="2105" y="111141"/>
                  </a:cubicBezTo>
                  <a:cubicBezTo>
                    <a:pt x="-2376" y="103673"/>
                    <a:pt x="612" y="94711"/>
                    <a:pt x="8080" y="90230"/>
                  </a:cubicBezTo>
                  <a:lnTo>
                    <a:pt x="161924" y="2105"/>
                  </a:lnTo>
                  <a:cubicBezTo>
                    <a:pt x="169392" y="-2375"/>
                    <a:pt x="178354" y="612"/>
                    <a:pt x="182835" y="8080"/>
                  </a:cubicBezTo>
                  <a:cubicBezTo>
                    <a:pt x="187316" y="15548"/>
                    <a:pt x="184329" y="24510"/>
                    <a:pt x="176861" y="28991"/>
                  </a:cubicBezTo>
                  <a:lnTo>
                    <a:pt x="23016" y="117115"/>
                  </a:lnTo>
                  <a:cubicBezTo>
                    <a:pt x="20029" y="118609"/>
                    <a:pt x="17042" y="118609"/>
                    <a:pt x="15548" y="118609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0" name="任意多边形: 形状 669"/>
            <p:cNvSpPr/>
            <p:nvPr/>
          </p:nvSpPr>
          <p:spPr>
            <a:xfrm>
              <a:off x="3600077" y="5038585"/>
              <a:ext cx="163602" cy="109068"/>
            </a:xfrm>
            <a:custGeom>
              <a:avLst/>
              <a:gdLst>
                <a:gd name="connsiteX0" fmla="*/ 15548 w 179236"/>
                <a:gd name="connsiteY0" fmla="*/ 120103 h 119490"/>
                <a:gd name="connsiteX1" fmla="*/ 2105 w 179236"/>
                <a:gd name="connsiteY1" fmla="*/ 112634 h 119490"/>
                <a:gd name="connsiteX2" fmla="*/ 8080 w 179236"/>
                <a:gd name="connsiteY2" fmla="*/ 91723 h 119490"/>
                <a:gd name="connsiteX3" fmla="*/ 161924 w 179236"/>
                <a:gd name="connsiteY3" fmla="*/ 2105 h 119490"/>
                <a:gd name="connsiteX4" fmla="*/ 182835 w 179236"/>
                <a:gd name="connsiteY4" fmla="*/ 8080 h 119490"/>
                <a:gd name="connsiteX5" fmla="*/ 176860 w 179236"/>
                <a:gd name="connsiteY5" fmla="*/ 28991 h 119490"/>
                <a:gd name="connsiteX6" fmla="*/ 23016 w 179236"/>
                <a:gd name="connsiteY6" fmla="*/ 118609 h 119490"/>
                <a:gd name="connsiteX7" fmla="*/ 15548 w 179236"/>
                <a:gd name="connsiteY7" fmla="*/ 120103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19490">
                  <a:moveTo>
                    <a:pt x="15548" y="120103"/>
                  </a:moveTo>
                  <a:cubicBezTo>
                    <a:pt x="11067" y="120103"/>
                    <a:pt x="5092" y="117115"/>
                    <a:pt x="2105" y="112634"/>
                  </a:cubicBezTo>
                  <a:cubicBezTo>
                    <a:pt x="-2376" y="105166"/>
                    <a:pt x="612" y="96204"/>
                    <a:pt x="8080" y="91723"/>
                  </a:cubicBezTo>
                  <a:lnTo>
                    <a:pt x="161924" y="2105"/>
                  </a:lnTo>
                  <a:cubicBezTo>
                    <a:pt x="169392" y="-2376"/>
                    <a:pt x="178354" y="612"/>
                    <a:pt x="182835" y="8080"/>
                  </a:cubicBezTo>
                  <a:cubicBezTo>
                    <a:pt x="187316" y="15548"/>
                    <a:pt x="184329" y="24510"/>
                    <a:pt x="176860" y="28991"/>
                  </a:cubicBezTo>
                  <a:lnTo>
                    <a:pt x="23016" y="118609"/>
                  </a:lnTo>
                  <a:cubicBezTo>
                    <a:pt x="21523" y="118609"/>
                    <a:pt x="18535" y="120103"/>
                    <a:pt x="15548" y="120103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1" name="任意多边形: 形状 670"/>
            <p:cNvSpPr/>
            <p:nvPr/>
          </p:nvSpPr>
          <p:spPr>
            <a:xfrm>
              <a:off x="3627343" y="5146289"/>
              <a:ext cx="163602" cy="109068"/>
            </a:xfrm>
            <a:custGeom>
              <a:avLst/>
              <a:gdLst>
                <a:gd name="connsiteX0" fmla="*/ 15548 w 179236"/>
                <a:gd name="connsiteY0" fmla="*/ 120102 h 119490"/>
                <a:gd name="connsiteX1" fmla="*/ 2105 w 179236"/>
                <a:gd name="connsiteY1" fmla="*/ 112634 h 119490"/>
                <a:gd name="connsiteX2" fmla="*/ 8080 w 179236"/>
                <a:gd name="connsiteY2" fmla="*/ 91724 h 119490"/>
                <a:gd name="connsiteX3" fmla="*/ 161924 w 179236"/>
                <a:gd name="connsiteY3" fmla="*/ 2105 h 119490"/>
                <a:gd name="connsiteX4" fmla="*/ 182835 w 179236"/>
                <a:gd name="connsiteY4" fmla="*/ 8080 h 119490"/>
                <a:gd name="connsiteX5" fmla="*/ 176860 w 179236"/>
                <a:gd name="connsiteY5" fmla="*/ 28991 h 119490"/>
                <a:gd name="connsiteX6" fmla="*/ 23016 w 179236"/>
                <a:gd name="connsiteY6" fmla="*/ 118609 h 119490"/>
                <a:gd name="connsiteX7" fmla="*/ 15548 w 179236"/>
                <a:gd name="connsiteY7" fmla="*/ 120102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19490">
                  <a:moveTo>
                    <a:pt x="15548" y="120102"/>
                  </a:moveTo>
                  <a:cubicBezTo>
                    <a:pt x="11067" y="120102"/>
                    <a:pt x="5092" y="117115"/>
                    <a:pt x="2105" y="112634"/>
                  </a:cubicBezTo>
                  <a:cubicBezTo>
                    <a:pt x="-2376" y="105166"/>
                    <a:pt x="612" y="96204"/>
                    <a:pt x="8080" y="91724"/>
                  </a:cubicBezTo>
                  <a:lnTo>
                    <a:pt x="161924" y="2105"/>
                  </a:lnTo>
                  <a:cubicBezTo>
                    <a:pt x="169392" y="-2376"/>
                    <a:pt x="178354" y="612"/>
                    <a:pt x="182835" y="8080"/>
                  </a:cubicBezTo>
                  <a:cubicBezTo>
                    <a:pt x="187316" y="15548"/>
                    <a:pt x="184329" y="24510"/>
                    <a:pt x="176860" y="28991"/>
                  </a:cubicBezTo>
                  <a:lnTo>
                    <a:pt x="23016" y="118609"/>
                  </a:lnTo>
                  <a:cubicBezTo>
                    <a:pt x="21523" y="120102"/>
                    <a:pt x="18535" y="120102"/>
                    <a:pt x="15548" y="120102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2" name="任意多边形: 形状 671"/>
            <p:cNvSpPr/>
            <p:nvPr/>
          </p:nvSpPr>
          <p:spPr>
            <a:xfrm>
              <a:off x="3654611" y="5255357"/>
              <a:ext cx="163602" cy="109068"/>
            </a:xfrm>
            <a:custGeom>
              <a:avLst/>
              <a:gdLst>
                <a:gd name="connsiteX0" fmla="*/ 15548 w 179236"/>
                <a:gd name="connsiteY0" fmla="*/ 120102 h 119490"/>
                <a:gd name="connsiteX1" fmla="*/ 2105 w 179236"/>
                <a:gd name="connsiteY1" fmla="*/ 112634 h 119490"/>
                <a:gd name="connsiteX2" fmla="*/ 8080 w 179236"/>
                <a:gd name="connsiteY2" fmla="*/ 91724 h 119490"/>
                <a:gd name="connsiteX3" fmla="*/ 163418 w 179236"/>
                <a:gd name="connsiteY3" fmla="*/ 2105 h 119490"/>
                <a:gd name="connsiteX4" fmla="*/ 184329 w 179236"/>
                <a:gd name="connsiteY4" fmla="*/ 8080 h 119490"/>
                <a:gd name="connsiteX5" fmla="*/ 178354 w 179236"/>
                <a:gd name="connsiteY5" fmla="*/ 28991 h 119490"/>
                <a:gd name="connsiteX6" fmla="*/ 23016 w 179236"/>
                <a:gd name="connsiteY6" fmla="*/ 118609 h 119490"/>
                <a:gd name="connsiteX7" fmla="*/ 15548 w 179236"/>
                <a:gd name="connsiteY7" fmla="*/ 120102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19490">
                  <a:moveTo>
                    <a:pt x="15548" y="120102"/>
                  </a:moveTo>
                  <a:cubicBezTo>
                    <a:pt x="11067" y="120102"/>
                    <a:pt x="5092" y="117115"/>
                    <a:pt x="2105" y="112634"/>
                  </a:cubicBezTo>
                  <a:cubicBezTo>
                    <a:pt x="-2376" y="105166"/>
                    <a:pt x="612" y="96204"/>
                    <a:pt x="8080" y="91724"/>
                  </a:cubicBezTo>
                  <a:lnTo>
                    <a:pt x="163418" y="2105"/>
                  </a:lnTo>
                  <a:cubicBezTo>
                    <a:pt x="170886" y="-2376"/>
                    <a:pt x="179848" y="612"/>
                    <a:pt x="184329" y="8080"/>
                  </a:cubicBezTo>
                  <a:cubicBezTo>
                    <a:pt x="188810" y="15548"/>
                    <a:pt x="185822" y="24510"/>
                    <a:pt x="178354" y="28991"/>
                  </a:cubicBezTo>
                  <a:lnTo>
                    <a:pt x="23016" y="118609"/>
                  </a:lnTo>
                  <a:cubicBezTo>
                    <a:pt x="20029" y="118609"/>
                    <a:pt x="17042" y="120102"/>
                    <a:pt x="15548" y="120102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3" name="任意多边形: 形状 672"/>
            <p:cNvSpPr/>
            <p:nvPr/>
          </p:nvSpPr>
          <p:spPr>
            <a:xfrm>
              <a:off x="3681878" y="5363062"/>
              <a:ext cx="163602" cy="109068"/>
            </a:xfrm>
            <a:custGeom>
              <a:avLst/>
              <a:gdLst>
                <a:gd name="connsiteX0" fmla="*/ 15548 w 179236"/>
                <a:gd name="connsiteY0" fmla="*/ 120102 h 119490"/>
                <a:gd name="connsiteX1" fmla="*/ 2105 w 179236"/>
                <a:gd name="connsiteY1" fmla="*/ 112634 h 119490"/>
                <a:gd name="connsiteX2" fmla="*/ 8080 w 179236"/>
                <a:gd name="connsiteY2" fmla="*/ 91724 h 119490"/>
                <a:gd name="connsiteX3" fmla="*/ 163418 w 179236"/>
                <a:gd name="connsiteY3" fmla="*/ 2105 h 119490"/>
                <a:gd name="connsiteX4" fmla="*/ 184329 w 179236"/>
                <a:gd name="connsiteY4" fmla="*/ 8080 h 119490"/>
                <a:gd name="connsiteX5" fmla="*/ 178354 w 179236"/>
                <a:gd name="connsiteY5" fmla="*/ 28991 h 119490"/>
                <a:gd name="connsiteX6" fmla="*/ 23016 w 179236"/>
                <a:gd name="connsiteY6" fmla="*/ 118609 h 119490"/>
                <a:gd name="connsiteX7" fmla="*/ 15548 w 179236"/>
                <a:gd name="connsiteY7" fmla="*/ 120102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6" h="119490">
                  <a:moveTo>
                    <a:pt x="15548" y="120102"/>
                  </a:moveTo>
                  <a:cubicBezTo>
                    <a:pt x="11067" y="120102"/>
                    <a:pt x="5092" y="117115"/>
                    <a:pt x="2105" y="112634"/>
                  </a:cubicBezTo>
                  <a:cubicBezTo>
                    <a:pt x="-2376" y="105166"/>
                    <a:pt x="612" y="96204"/>
                    <a:pt x="8080" y="91724"/>
                  </a:cubicBezTo>
                  <a:lnTo>
                    <a:pt x="163418" y="2105"/>
                  </a:lnTo>
                  <a:cubicBezTo>
                    <a:pt x="170886" y="-2376"/>
                    <a:pt x="179848" y="612"/>
                    <a:pt x="184329" y="8080"/>
                  </a:cubicBezTo>
                  <a:cubicBezTo>
                    <a:pt x="188810" y="15548"/>
                    <a:pt x="185822" y="24510"/>
                    <a:pt x="178354" y="28991"/>
                  </a:cubicBezTo>
                  <a:lnTo>
                    <a:pt x="23016" y="118609"/>
                  </a:lnTo>
                  <a:cubicBezTo>
                    <a:pt x="20029" y="118609"/>
                    <a:pt x="17042" y="120102"/>
                    <a:pt x="15548" y="120102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4" name="任意多边形: 形状 673"/>
            <p:cNvSpPr/>
            <p:nvPr/>
          </p:nvSpPr>
          <p:spPr>
            <a:xfrm>
              <a:off x="3402267" y="4223671"/>
              <a:ext cx="81801" cy="40900"/>
            </a:xfrm>
            <a:custGeom>
              <a:avLst/>
              <a:gdLst>
                <a:gd name="connsiteX0" fmla="*/ 6721 w 89618"/>
                <a:gd name="connsiteY0" fmla="*/ 4688 h 44809"/>
                <a:gd name="connsiteX1" fmla="*/ 6721 w 89618"/>
                <a:gd name="connsiteY1" fmla="*/ 24105 h 44809"/>
                <a:gd name="connsiteX2" fmla="*/ 61986 w 89618"/>
                <a:gd name="connsiteY2" fmla="*/ 53978 h 44809"/>
                <a:gd name="connsiteX3" fmla="*/ 96339 w 89618"/>
                <a:gd name="connsiteY3" fmla="*/ 52484 h 44809"/>
                <a:gd name="connsiteX4" fmla="*/ 96339 w 89618"/>
                <a:gd name="connsiteY4" fmla="*/ 52484 h 44809"/>
                <a:gd name="connsiteX5" fmla="*/ 96339 w 89618"/>
                <a:gd name="connsiteY5" fmla="*/ 33067 h 44809"/>
                <a:gd name="connsiteX6" fmla="*/ 41075 w 89618"/>
                <a:gd name="connsiteY6" fmla="*/ 3194 h 44809"/>
                <a:gd name="connsiteX7" fmla="*/ 6721 w 89618"/>
                <a:gd name="connsiteY7" fmla="*/ 4688 h 44809"/>
                <a:gd name="connsiteX8" fmla="*/ 6721 w 89618"/>
                <a:gd name="connsiteY8" fmla="*/ 4688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4688"/>
                  </a:moveTo>
                  <a:cubicBezTo>
                    <a:pt x="-2240" y="10662"/>
                    <a:pt x="-2240" y="19624"/>
                    <a:pt x="6721" y="24105"/>
                  </a:cubicBezTo>
                  <a:lnTo>
                    <a:pt x="61986" y="53978"/>
                  </a:lnTo>
                  <a:cubicBezTo>
                    <a:pt x="70948" y="58458"/>
                    <a:pt x="87378" y="58458"/>
                    <a:pt x="96339" y="52484"/>
                  </a:cubicBezTo>
                  <a:lnTo>
                    <a:pt x="96339" y="52484"/>
                  </a:lnTo>
                  <a:cubicBezTo>
                    <a:pt x="105301" y="46510"/>
                    <a:pt x="105301" y="37548"/>
                    <a:pt x="96339" y="33067"/>
                  </a:cubicBezTo>
                  <a:lnTo>
                    <a:pt x="41075" y="3194"/>
                  </a:lnTo>
                  <a:cubicBezTo>
                    <a:pt x="32113" y="-1287"/>
                    <a:pt x="15683" y="-1287"/>
                    <a:pt x="6721" y="4688"/>
                  </a:cubicBezTo>
                  <a:lnTo>
                    <a:pt x="6721" y="4688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5" name="任意多边形: 形状 674"/>
            <p:cNvSpPr/>
            <p:nvPr/>
          </p:nvSpPr>
          <p:spPr>
            <a:xfrm>
              <a:off x="3401586" y="4206137"/>
              <a:ext cx="81801" cy="54534"/>
            </a:xfrm>
            <a:custGeom>
              <a:avLst/>
              <a:gdLst>
                <a:gd name="connsiteX0" fmla="*/ 101567 w 89618"/>
                <a:gd name="connsiteY0" fmla="*/ 0 h 59745"/>
                <a:gd name="connsiteX1" fmla="*/ 50783 w 89618"/>
                <a:gd name="connsiteY1" fmla="*/ 13443 h 59745"/>
                <a:gd name="connsiteX2" fmla="*/ 0 w 89618"/>
                <a:gd name="connsiteY2" fmla="*/ 34353 h 59745"/>
                <a:gd name="connsiteX3" fmla="*/ 103061 w 89618"/>
                <a:gd name="connsiteY3" fmla="*/ 61239 h 59745"/>
                <a:gd name="connsiteX4" fmla="*/ 101567 w 89618"/>
                <a:gd name="connsiteY4" fmla="*/ 0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18" h="59745">
                  <a:moveTo>
                    <a:pt x="101567" y="0"/>
                  </a:moveTo>
                  <a:lnTo>
                    <a:pt x="50783" y="13443"/>
                  </a:lnTo>
                  <a:cubicBezTo>
                    <a:pt x="19417" y="5974"/>
                    <a:pt x="0" y="16430"/>
                    <a:pt x="0" y="34353"/>
                  </a:cubicBezTo>
                  <a:lnTo>
                    <a:pt x="103061" y="61239"/>
                  </a:lnTo>
                  <a:lnTo>
                    <a:pt x="101567" y="0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6" name="任意多边形: 形状 675"/>
            <p:cNvSpPr/>
            <p:nvPr/>
          </p:nvSpPr>
          <p:spPr>
            <a:xfrm>
              <a:off x="3408351" y="3859782"/>
              <a:ext cx="95434" cy="204502"/>
            </a:xfrm>
            <a:custGeom>
              <a:avLst/>
              <a:gdLst>
                <a:gd name="connsiteX0" fmla="*/ 113573 w 104554"/>
                <a:gd name="connsiteY0" fmla="*/ 215154 h 224045"/>
                <a:gd name="connsiteX1" fmla="*/ 113573 w 104554"/>
                <a:gd name="connsiteY1" fmla="*/ 213661 h 224045"/>
                <a:gd name="connsiteX2" fmla="*/ 113573 w 104554"/>
                <a:gd name="connsiteY2" fmla="*/ 215154 h 224045"/>
                <a:gd name="connsiteX3" fmla="*/ 85194 w 104554"/>
                <a:gd name="connsiteY3" fmla="*/ 44880 h 224045"/>
                <a:gd name="connsiteX4" fmla="*/ 62790 w 104554"/>
                <a:gd name="connsiteY4" fmla="*/ 9033 h 224045"/>
                <a:gd name="connsiteX5" fmla="*/ 26942 w 104554"/>
                <a:gd name="connsiteY5" fmla="*/ 1565 h 224045"/>
                <a:gd name="connsiteX6" fmla="*/ 57 w 104554"/>
                <a:gd name="connsiteY6" fmla="*/ 46374 h 224045"/>
                <a:gd name="connsiteX7" fmla="*/ 29930 w 104554"/>
                <a:gd name="connsiteY7" fmla="*/ 224116 h 224045"/>
                <a:gd name="connsiteX8" fmla="*/ 29930 w 104554"/>
                <a:gd name="connsiteY8" fmla="*/ 224116 h 224045"/>
                <a:gd name="connsiteX9" fmla="*/ 46360 w 104554"/>
                <a:gd name="connsiteY9" fmla="*/ 234571 h 224045"/>
                <a:gd name="connsiteX10" fmla="*/ 56815 w 104554"/>
                <a:gd name="connsiteY10" fmla="*/ 236065 h 224045"/>
                <a:gd name="connsiteX11" fmla="*/ 98637 w 104554"/>
                <a:gd name="connsiteY11" fmla="*/ 228597 h 224045"/>
                <a:gd name="connsiteX12" fmla="*/ 104611 w 104554"/>
                <a:gd name="connsiteY12" fmla="*/ 225610 h 224045"/>
                <a:gd name="connsiteX13" fmla="*/ 107599 w 104554"/>
                <a:gd name="connsiteY13" fmla="*/ 224116 h 224045"/>
                <a:gd name="connsiteX14" fmla="*/ 113573 w 104554"/>
                <a:gd name="connsiteY14" fmla="*/ 215154 h 224045"/>
                <a:gd name="connsiteX15" fmla="*/ 113573 w 104554"/>
                <a:gd name="connsiteY15" fmla="*/ 210673 h 224045"/>
                <a:gd name="connsiteX16" fmla="*/ 113573 w 104554"/>
                <a:gd name="connsiteY16" fmla="*/ 210673 h 224045"/>
                <a:gd name="connsiteX17" fmla="*/ 113573 w 104554"/>
                <a:gd name="connsiteY17" fmla="*/ 210673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4554" h="224045">
                  <a:moveTo>
                    <a:pt x="113573" y="215154"/>
                  </a:moveTo>
                  <a:cubicBezTo>
                    <a:pt x="113573" y="215154"/>
                    <a:pt x="113573" y="213661"/>
                    <a:pt x="113573" y="213661"/>
                  </a:cubicBezTo>
                  <a:cubicBezTo>
                    <a:pt x="113573" y="213661"/>
                    <a:pt x="113573" y="213661"/>
                    <a:pt x="113573" y="215154"/>
                  </a:cubicBezTo>
                  <a:cubicBezTo>
                    <a:pt x="109092" y="152421"/>
                    <a:pt x="89675" y="52348"/>
                    <a:pt x="85194" y="44880"/>
                  </a:cubicBezTo>
                  <a:cubicBezTo>
                    <a:pt x="80713" y="37412"/>
                    <a:pt x="71751" y="13514"/>
                    <a:pt x="62790" y="9033"/>
                  </a:cubicBezTo>
                  <a:cubicBezTo>
                    <a:pt x="52334" y="3058"/>
                    <a:pt x="38891" y="-2916"/>
                    <a:pt x="26942" y="1565"/>
                  </a:cubicBezTo>
                  <a:cubicBezTo>
                    <a:pt x="12006" y="6045"/>
                    <a:pt x="1551" y="31437"/>
                    <a:pt x="57" y="46374"/>
                  </a:cubicBezTo>
                  <a:cubicBezTo>
                    <a:pt x="-1437" y="61310"/>
                    <a:pt x="26942" y="221129"/>
                    <a:pt x="29930" y="224116"/>
                  </a:cubicBezTo>
                  <a:lnTo>
                    <a:pt x="29930" y="224116"/>
                  </a:lnTo>
                  <a:cubicBezTo>
                    <a:pt x="31423" y="230091"/>
                    <a:pt x="38891" y="233078"/>
                    <a:pt x="46360" y="234571"/>
                  </a:cubicBezTo>
                  <a:cubicBezTo>
                    <a:pt x="49347" y="234571"/>
                    <a:pt x="53828" y="236065"/>
                    <a:pt x="56815" y="236065"/>
                  </a:cubicBezTo>
                  <a:cubicBezTo>
                    <a:pt x="71751" y="236065"/>
                    <a:pt x="85194" y="233078"/>
                    <a:pt x="98637" y="228597"/>
                  </a:cubicBezTo>
                  <a:cubicBezTo>
                    <a:pt x="100131" y="227103"/>
                    <a:pt x="103118" y="227103"/>
                    <a:pt x="104611" y="225610"/>
                  </a:cubicBezTo>
                  <a:cubicBezTo>
                    <a:pt x="106105" y="225610"/>
                    <a:pt x="106105" y="224116"/>
                    <a:pt x="107599" y="224116"/>
                  </a:cubicBezTo>
                  <a:cubicBezTo>
                    <a:pt x="112079" y="219635"/>
                    <a:pt x="113573" y="218141"/>
                    <a:pt x="113573" y="215154"/>
                  </a:cubicBezTo>
                  <a:close/>
                  <a:moveTo>
                    <a:pt x="113573" y="210673"/>
                  </a:moveTo>
                  <a:cubicBezTo>
                    <a:pt x="113573" y="210673"/>
                    <a:pt x="113573" y="210673"/>
                    <a:pt x="113573" y="210673"/>
                  </a:cubicBezTo>
                  <a:cubicBezTo>
                    <a:pt x="113573" y="210673"/>
                    <a:pt x="113573" y="210673"/>
                    <a:pt x="113573" y="210673"/>
                  </a:cubicBezTo>
                  <a:close/>
                </a:path>
              </a:pathLst>
            </a:custGeom>
            <a:solidFill>
              <a:srgbClr val="30303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7" name="任意多边形: 形状 676"/>
            <p:cNvSpPr/>
            <p:nvPr/>
          </p:nvSpPr>
          <p:spPr>
            <a:xfrm>
              <a:off x="3426208" y="4075302"/>
              <a:ext cx="95434" cy="40900"/>
            </a:xfrm>
            <a:custGeom>
              <a:avLst/>
              <a:gdLst>
                <a:gd name="connsiteX0" fmla="*/ 5884 w 104554"/>
                <a:gd name="connsiteY0" fmla="*/ 7417 h 44809"/>
                <a:gd name="connsiteX1" fmla="*/ 8872 w 104554"/>
                <a:gd name="connsiteY1" fmla="*/ 26834 h 44809"/>
                <a:gd name="connsiteX2" fmla="*/ 67124 w 104554"/>
                <a:gd name="connsiteY2" fmla="*/ 47745 h 44809"/>
                <a:gd name="connsiteX3" fmla="*/ 101477 w 104554"/>
                <a:gd name="connsiteY3" fmla="*/ 41771 h 44809"/>
                <a:gd name="connsiteX4" fmla="*/ 101477 w 104554"/>
                <a:gd name="connsiteY4" fmla="*/ 41771 h 44809"/>
                <a:gd name="connsiteX5" fmla="*/ 98490 w 104554"/>
                <a:gd name="connsiteY5" fmla="*/ 22353 h 44809"/>
                <a:gd name="connsiteX6" fmla="*/ 40238 w 104554"/>
                <a:gd name="connsiteY6" fmla="*/ 1443 h 44809"/>
                <a:gd name="connsiteX7" fmla="*/ 5884 w 104554"/>
                <a:gd name="connsiteY7" fmla="*/ 7417 h 44809"/>
                <a:gd name="connsiteX8" fmla="*/ 5884 w 104554"/>
                <a:gd name="connsiteY8" fmla="*/ 7417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554" h="44809">
                  <a:moveTo>
                    <a:pt x="5884" y="7417"/>
                  </a:moveTo>
                  <a:cubicBezTo>
                    <a:pt x="-3077" y="14885"/>
                    <a:pt x="-1584" y="23847"/>
                    <a:pt x="8872" y="26834"/>
                  </a:cubicBezTo>
                  <a:lnTo>
                    <a:pt x="67124" y="47745"/>
                  </a:lnTo>
                  <a:cubicBezTo>
                    <a:pt x="77579" y="50732"/>
                    <a:pt x="92515" y="49239"/>
                    <a:pt x="101477" y="41771"/>
                  </a:cubicBezTo>
                  <a:lnTo>
                    <a:pt x="101477" y="41771"/>
                  </a:lnTo>
                  <a:cubicBezTo>
                    <a:pt x="110439" y="34302"/>
                    <a:pt x="108945" y="25341"/>
                    <a:pt x="98490" y="22353"/>
                  </a:cubicBezTo>
                  <a:lnTo>
                    <a:pt x="40238" y="1443"/>
                  </a:lnTo>
                  <a:cubicBezTo>
                    <a:pt x="29783" y="-1545"/>
                    <a:pt x="14846" y="-51"/>
                    <a:pt x="5884" y="7417"/>
                  </a:cubicBezTo>
                  <a:lnTo>
                    <a:pt x="5884" y="7417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8" name="任意多边形: 形状 677"/>
            <p:cNvSpPr/>
            <p:nvPr/>
          </p:nvSpPr>
          <p:spPr>
            <a:xfrm>
              <a:off x="3427195" y="4047989"/>
              <a:ext cx="95434" cy="54534"/>
            </a:xfrm>
            <a:custGeom>
              <a:avLst/>
              <a:gdLst>
                <a:gd name="connsiteX0" fmla="*/ 94422 w 104554"/>
                <a:gd name="connsiteY0" fmla="*/ 0 h 59745"/>
                <a:gd name="connsiteX1" fmla="*/ 46626 w 104554"/>
                <a:gd name="connsiteY1" fmla="*/ 20911 h 59745"/>
                <a:gd name="connsiteX2" fmla="*/ 323 w 104554"/>
                <a:gd name="connsiteY2" fmla="*/ 47796 h 59745"/>
                <a:gd name="connsiteX3" fmla="*/ 106371 w 104554"/>
                <a:gd name="connsiteY3" fmla="*/ 59745 h 59745"/>
                <a:gd name="connsiteX4" fmla="*/ 94422 w 104554"/>
                <a:gd name="connsiteY4" fmla="*/ 0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54" h="59745">
                  <a:moveTo>
                    <a:pt x="94422" y="0"/>
                  </a:moveTo>
                  <a:lnTo>
                    <a:pt x="46626" y="20911"/>
                  </a:lnTo>
                  <a:cubicBezTo>
                    <a:pt x="15259" y="17924"/>
                    <a:pt x="-2664" y="31366"/>
                    <a:pt x="323" y="47796"/>
                  </a:cubicBezTo>
                  <a:lnTo>
                    <a:pt x="106371" y="59745"/>
                  </a:lnTo>
                  <a:lnTo>
                    <a:pt x="94422" y="0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9" name="任意多边形: 形状 678"/>
            <p:cNvSpPr/>
            <p:nvPr/>
          </p:nvSpPr>
          <p:spPr>
            <a:xfrm>
              <a:off x="3441123" y="3831216"/>
              <a:ext cx="149969" cy="204502"/>
            </a:xfrm>
            <a:custGeom>
              <a:avLst/>
              <a:gdLst>
                <a:gd name="connsiteX0" fmla="*/ 144883 w 164299"/>
                <a:gd name="connsiteY0" fmla="*/ 132933 h 224045"/>
                <a:gd name="connsiteX1" fmla="*/ 135921 w 164299"/>
                <a:gd name="connsiteY1" fmla="*/ 138908 h 224045"/>
                <a:gd name="connsiteX2" fmla="*/ 79163 w 164299"/>
                <a:gd name="connsiteY2" fmla="*/ 235994 h 224045"/>
                <a:gd name="connsiteX3" fmla="*/ 0 w 164299"/>
                <a:gd name="connsiteY3" fmla="*/ 209109 h 224045"/>
                <a:gd name="connsiteX4" fmla="*/ 0 w 164299"/>
                <a:gd name="connsiteY4" fmla="*/ 209109 h 224045"/>
                <a:gd name="connsiteX5" fmla="*/ 37341 w 164299"/>
                <a:gd name="connsiteY5" fmla="*/ 98580 h 224045"/>
                <a:gd name="connsiteX6" fmla="*/ 34354 w 164299"/>
                <a:gd name="connsiteY6" fmla="*/ 89618 h 224045"/>
                <a:gd name="connsiteX7" fmla="*/ 25392 w 164299"/>
                <a:gd name="connsiteY7" fmla="*/ 56758 h 224045"/>
                <a:gd name="connsiteX8" fmla="*/ 28379 w 164299"/>
                <a:gd name="connsiteY8" fmla="*/ 53771 h 224045"/>
                <a:gd name="connsiteX9" fmla="*/ 70201 w 164299"/>
                <a:gd name="connsiteY9" fmla="*/ 0 h 224045"/>
                <a:gd name="connsiteX10" fmla="*/ 116504 w 164299"/>
                <a:gd name="connsiteY10" fmla="*/ 32860 h 224045"/>
                <a:gd name="connsiteX11" fmla="*/ 162806 w 164299"/>
                <a:gd name="connsiteY11" fmla="*/ 26885 h 224045"/>
                <a:gd name="connsiteX12" fmla="*/ 144883 w 164299"/>
                <a:gd name="connsiteY12" fmla="*/ 132933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4299" h="224045">
                  <a:moveTo>
                    <a:pt x="144883" y="132933"/>
                  </a:moveTo>
                  <a:lnTo>
                    <a:pt x="135921" y="138908"/>
                  </a:lnTo>
                  <a:lnTo>
                    <a:pt x="79163" y="235994"/>
                  </a:lnTo>
                  <a:lnTo>
                    <a:pt x="0" y="209109"/>
                  </a:lnTo>
                  <a:lnTo>
                    <a:pt x="0" y="209109"/>
                  </a:lnTo>
                  <a:lnTo>
                    <a:pt x="37341" y="98580"/>
                  </a:lnTo>
                  <a:lnTo>
                    <a:pt x="34354" y="89618"/>
                  </a:lnTo>
                  <a:lnTo>
                    <a:pt x="25392" y="56758"/>
                  </a:lnTo>
                  <a:lnTo>
                    <a:pt x="28379" y="53771"/>
                  </a:lnTo>
                  <a:lnTo>
                    <a:pt x="70201" y="0"/>
                  </a:lnTo>
                  <a:lnTo>
                    <a:pt x="116504" y="32860"/>
                  </a:lnTo>
                  <a:lnTo>
                    <a:pt x="162806" y="26885"/>
                  </a:lnTo>
                  <a:cubicBezTo>
                    <a:pt x="162806" y="25392"/>
                    <a:pt x="192679" y="101567"/>
                    <a:pt x="144883" y="132933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0" name="任意多边形: 形状 679"/>
            <p:cNvSpPr/>
            <p:nvPr/>
          </p:nvSpPr>
          <p:spPr>
            <a:xfrm>
              <a:off x="3424214" y="4199907"/>
              <a:ext cx="68168" cy="40900"/>
            </a:xfrm>
            <a:custGeom>
              <a:avLst/>
              <a:gdLst>
                <a:gd name="connsiteX0" fmla="*/ 15538 w 74681"/>
                <a:gd name="connsiteY0" fmla="*/ 2344 h 44809"/>
                <a:gd name="connsiteX1" fmla="*/ 9563 w 74681"/>
                <a:gd name="connsiteY1" fmla="*/ 35204 h 44809"/>
                <a:gd name="connsiteX2" fmla="*/ 67815 w 74681"/>
                <a:gd name="connsiteY2" fmla="*/ 47153 h 44809"/>
                <a:gd name="connsiteX3" fmla="*/ 73790 w 74681"/>
                <a:gd name="connsiteY3" fmla="*/ 14293 h 44809"/>
                <a:gd name="connsiteX4" fmla="*/ 15538 w 74681"/>
                <a:gd name="connsiteY4" fmla="*/ 2344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15538" y="2344"/>
                  </a:moveTo>
                  <a:cubicBezTo>
                    <a:pt x="-2386" y="8319"/>
                    <a:pt x="-5373" y="23255"/>
                    <a:pt x="9563" y="35204"/>
                  </a:cubicBezTo>
                  <a:cubicBezTo>
                    <a:pt x="23006" y="47153"/>
                    <a:pt x="49892" y="53128"/>
                    <a:pt x="67815" y="47153"/>
                  </a:cubicBezTo>
                  <a:cubicBezTo>
                    <a:pt x="85739" y="41178"/>
                    <a:pt x="88726" y="26242"/>
                    <a:pt x="73790" y="14293"/>
                  </a:cubicBezTo>
                  <a:cubicBezTo>
                    <a:pt x="58853" y="2344"/>
                    <a:pt x="31968" y="-3631"/>
                    <a:pt x="15538" y="2344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1" name="任意多边形: 形状 680"/>
            <p:cNvSpPr/>
            <p:nvPr/>
          </p:nvSpPr>
          <p:spPr>
            <a:xfrm>
              <a:off x="3424658" y="4002998"/>
              <a:ext cx="81801" cy="218135"/>
            </a:xfrm>
            <a:custGeom>
              <a:avLst/>
              <a:gdLst>
                <a:gd name="connsiteX0" fmla="*/ 80772 w 89618"/>
                <a:gd name="connsiteY0" fmla="*/ 249437 h 238981"/>
                <a:gd name="connsiteX1" fmla="*/ 98695 w 89618"/>
                <a:gd name="connsiteY1" fmla="*/ 43316 h 238981"/>
                <a:gd name="connsiteX2" fmla="*/ 83759 w 89618"/>
                <a:gd name="connsiteY2" fmla="*/ 16430 h 238981"/>
                <a:gd name="connsiteX3" fmla="*/ 50899 w 89618"/>
                <a:gd name="connsiteY3" fmla="*/ 0 h 238981"/>
                <a:gd name="connsiteX4" fmla="*/ 16545 w 89618"/>
                <a:gd name="connsiteY4" fmla="*/ 23898 h 238981"/>
                <a:gd name="connsiteX5" fmla="*/ 115 w 89618"/>
                <a:gd name="connsiteY5" fmla="*/ 231514 h 238981"/>
                <a:gd name="connsiteX6" fmla="*/ 9077 w 89618"/>
                <a:gd name="connsiteY6" fmla="*/ 243462 h 238981"/>
                <a:gd name="connsiteX7" fmla="*/ 80772 w 89618"/>
                <a:gd name="connsiteY7" fmla="*/ 249437 h 23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618" h="238981">
                  <a:moveTo>
                    <a:pt x="80772" y="249437"/>
                  </a:moveTo>
                  <a:cubicBezTo>
                    <a:pt x="91227" y="188198"/>
                    <a:pt x="101682" y="50784"/>
                    <a:pt x="98695" y="43316"/>
                  </a:cubicBezTo>
                  <a:cubicBezTo>
                    <a:pt x="95708" y="34354"/>
                    <a:pt x="89733" y="22405"/>
                    <a:pt x="83759" y="16430"/>
                  </a:cubicBezTo>
                  <a:cubicBezTo>
                    <a:pt x="74797" y="7468"/>
                    <a:pt x="62848" y="0"/>
                    <a:pt x="50899" y="0"/>
                  </a:cubicBezTo>
                  <a:cubicBezTo>
                    <a:pt x="35963" y="0"/>
                    <a:pt x="22520" y="10455"/>
                    <a:pt x="16545" y="23898"/>
                  </a:cubicBezTo>
                  <a:cubicBezTo>
                    <a:pt x="12064" y="38835"/>
                    <a:pt x="-1378" y="222552"/>
                    <a:pt x="115" y="231514"/>
                  </a:cubicBezTo>
                  <a:cubicBezTo>
                    <a:pt x="1609" y="240475"/>
                    <a:pt x="1609" y="240475"/>
                    <a:pt x="9077" y="243462"/>
                  </a:cubicBezTo>
                  <a:lnTo>
                    <a:pt x="80772" y="249437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2" name="任意多边形: 形状 681"/>
            <p:cNvSpPr/>
            <p:nvPr/>
          </p:nvSpPr>
          <p:spPr>
            <a:xfrm>
              <a:off x="3457484" y="3824400"/>
              <a:ext cx="122701" cy="68168"/>
            </a:xfrm>
            <a:custGeom>
              <a:avLst/>
              <a:gdLst>
                <a:gd name="connsiteX0" fmla="*/ 144882 w 134427"/>
                <a:gd name="connsiteY0" fmla="*/ 32860 h 74681"/>
                <a:gd name="connsiteX1" fmla="*/ 11949 w 134427"/>
                <a:gd name="connsiteY1" fmla="*/ 77669 h 74681"/>
                <a:gd name="connsiteX2" fmla="*/ 0 w 134427"/>
                <a:gd name="connsiteY2" fmla="*/ 37341 h 74681"/>
                <a:gd name="connsiteX3" fmla="*/ 2987 w 134427"/>
                <a:gd name="connsiteY3" fmla="*/ 34353 h 74681"/>
                <a:gd name="connsiteX4" fmla="*/ 38835 w 134427"/>
                <a:gd name="connsiteY4" fmla="*/ 29873 h 74681"/>
                <a:gd name="connsiteX5" fmla="*/ 65720 w 134427"/>
                <a:gd name="connsiteY5" fmla="*/ 23898 h 74681"/>
                <a:gd name="connsiteX6" fmla="*/ 91112 w 134427"/>
                <a:gd name="connsiteY6" fmla="*/ 11949 h 74681"/>
                <a:gd name="connsiteX7" fmla="*/ 97086 w 134427"/>
                <a:gd name="connsiteY7" fmla="*/ 16430 h 74681"/>
                <a:gd name="connsiteX8" fmla="*/ 137414 w 134427"/>
                <a:gd name="connsiteY8" fmla="*/ 0 h 74681"/>
                <a:gd name="connsiteX9" fmla="*/ 144882 w 134427"/>
                <a:gd name="connsiteY9" fmla="*/ 32860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4427" h="74681">
                  <a:moveTo>
                    <a:pt x="144882" y="32860"/>
                  </a:moveTo>
                  <a:cubicBezTo>
                    <a:pt x="143389" y="52277"/>
                    <a:pt x="49290" y="103061"/>
                    <a:pt x="11949" y="77669"/>
                  </a:cubicBezTo>
                  <a:lnTo>
                    <a:pt x="0" y="37341"/>
                  </a:lnTo>
                  <a:lnTo>
                    <a:pt x="2987" y="34353"/>
                  </a:lnTo>
                  <a:cubicBezTo>
                    <a:pt x="14936" y="32860"/>
                    <a:pt x="26885" y="31366"/>
                    <a:pt x="38835" y="29873"/>
                  </a:cubicBezTo>
                  <a:cubicBezTo>
                    <a:pt x="47796" y="28379"/>
                    <a:pt x="56758" y="26885"/>
                    <a:pt x="65720" y="23898"/>
                  </a:cubicBezTo>
                  <a:cubicBezTo>
                    <a:pt x="74682" y="20911"/>
                    <a:pt x="83644" y="16430"/>
                    <a:pt x="91112" y="11949"/>
                  </a:cubicBezTo>
                  <a:lnTo>
                    <a:pt x="97086" y="16430"/>
                  </a:lnTo>
                  <a:lnTo>
                    <a:pt x="137414" y="0"/>
                  </a:lnTo>
                  <a:lnTo>
                    <a:pt x="144882" y="32860"/>
                  </a:ln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3" name="任意多边形: 形状 682"/>
            <p:cNvSpPr/>
            <p:nvPr/>
          </p:nvSpPr>
          <p:spPr>
            <a:xfrm>
              <a:off x="3287064" y="3644437"/>
              <a:ext cx="163602" cy="54534"/>
            </a:xfrm>
            <a:custGeom>
              <a:avLst/>
              <a:gdLst>
                <a:gd name="connsiteX0" fmla="*/ 150857 w 179236"/>
                <a:gd name="connsiteY0" fmla="*/ 70201 h 59745"/>
                <a:gd name="connsiteX1" fmla="*/ 131440 w 179236"/>
                <a:gd name="connsiteY1" fmla="*/ 68707 h 59745"/>
                <a:gd name="connsiteX2" fmla="*/ 29873 w 179236"/>
                <a:gd name="connsiteY2" fmla="*/ 62733 h 59745"/>
                <a:gd name="connsiteX3" fmla="*/ 17924 w 179236"/>
                <a:gd name="connsiteY3" fmla="*/ 59745 h 59745"/>
                <a:gd name="connsiteX4" fmla="*/ 0 w 179236"/>
                <a:gd name="connsiteY4" fmla="*/ 35847 h 59745"/>
                <a:gd name="connsiteX5" fmla="*/ 0 w 179236"/>
                <a:gd name="connsiteY5" fmla="*/ 29873 h 59745"/>
                <a:gd name="connsiteX6" fmla="*/ 11949 w 179236"/>
                <a:gd name="connsiteY6" fmla="*/ 7468 h 59745"/>
                <a:gd name="connsiteX7" fmla="*/ 32860 w 179236"/>
                <a:gd name="connsiteY7" fmla="*/ 1494 h 59745"/>
                <a:gd name="connsiteX8" fmla="*/ 37341 w 179236"/>
                <a:gd name="connsiteY8" fmla="*/ 1494 h 59745"/>
                <a:gd name="connsiteX9" fmla="*/ 43315 w 179236"/>
                <a:gd name="connsiteY9" fmla="*/ 1494 h 59745"/>
                <a:gd name="connsiteX10" fmla="*/ 128452 w 179236"/>
                <a:gd name="connsiteY10" fmla="*/ 0 h 59745"/>
                <a:gd name="connsiteX11" fmla="*/ 158325 w 179236"/>
                <a:gd name="connsiteY11" fmla="*/ 1494 h 59745"/>
                <a:gd name="connsiteX12" fmla="*/ 180730 w 179236"/>
                <a:gd name="connsiteY12" fmla="*/ 35847 h 59745"/>
                <a:gd name="connsiteX13" fmla="*/ 180730 w 179236"/>
                <a:gd name="connsiteY13" fmla="*/ 41822 h 59745"/>
                <a:gd name="connsiteX14" fmla="*/ 150857 w 179236"/>
                <a:gd name="connsiteY14" fmla="*/ 70201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9236" h="59745">
                  <a:moveTo>
                    <a:pt x="150857" y="70201"/>
                  </a:moveTo>
                  <a:lnTo>
                    <a:pt x="131440" y="68707"/>
                  </a:lnTo>
                  <a:lnTo>
                    <a:pt x="29873" y="62733"/>
                  </a:lnTo>
                  <a:cubicBezTo>
                    <a:pt x="25392" y="62733"/>
                    <a:pt x="20911" y="61239"/>
                    <a:pt x="17924" y="59745"/>
                  </a:cubicBezTo>
                  <a:cubicBezTo>
                    <a:pt x="8962" y="55265"/>
                    <a:pt x="1493" y="46303"/>
                    <a:pt x="0" y="35847"/>
                  </a:cubicBezTo>
                  <a:cubicBezTo>
                    <a:pt x="0" y="34354"/>
                    <a:pt x="0" y="31366"/>
                    <a:pt x="0" y="29873"/>
                  </a:cubicBezTo>
                  <a:cubicBezTo>
                    <a:pt x="0" y="20911"/>
                    <a:pt x="4481" y="11949"/>
                    <a:pt x="11949" y="7468"/>
                  </a:cubicBezTo>
                  <a:cubicBezTo>
                    <a:pt x="17924" y="2987"/>
                    <a:pt x="25392" y="0"/>
                    <a:pt x="32860" y="1494"/>
                  </a:cubicBezTo>
                  <a:lnTo>
                    <a:pt x="37341" y="1494"/>
                  </a:lnTo>
                  <a:lnTo>
                    <a:pt x="43315" y="1494"/>
                  </a:lnTo>
                  <a:lnTo>
                    <a:pt x="128452" y="0"/>
                  </a:lnTo>
                  <a:lnTo>
                    <a:pt x="158325" y="1494"/>
                  </a:lnTo>
                  <a:cubicBezTo>
                    <a:pt x="173261" y="2987"/>
                    <a:pt x="179236" y="20911"/>
                    <a:pt x="180730" y="35847"/>
                  </a:cubicBezTo>
                  <a:cubicBezTo>
                    <a:pt x="180730" y="37341"/>
                    <a:pt x="180730" y="38835"/>
                    <a:pt x="180730" y="41822"/>
                  </a:cubicBezTo>
                  <a:cubicBezTo>
                    <a:pt x="183717" y="58252"/>
                    <a:pt x="168781" y="71694"/>
                    <a:pt x="150857" y="70201"/>
                  </a:cubicBez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4" name="任意多边形: 形状 683"/>
            <p:cNvSpPr/>
            <p:nvPr/>
          </p:nvSpPr>
          <p:spPr>
            <a:xfrm>
              <a:off x="3405676" y="3603515"/>
              <a:ext cx="177235" cy="272670"/>
            </a:xfrm>
            <a:custGeom>
              <a:avLst/>
              <a:gdLst>
                <a:gd name="connsiteX0" fmla="*/ 207615 w 194172"/>
                <a:gd name="connsiteY0" fmla="*/ 240499 h 298726"/>
                <a:gd name="connsiteX1" fmla="*/ 200147 w 194172"/>
                <a:gd name="connsiteY1" fmla="*/ 259916 h 298726"/>
                <a:gd name="connsiteX2" fmla="*/ 159819 w 194172"/>
                <a:gd name="connsiteY2" fmla="*/ 292776 h 298726"/>
                <a:gd name="connsiteX3" fmla="*/ 109035 w 194172"/>
                <a:gd name="connsiteY3" fmla="*/ 310699 h 298726"/>
                <a:gd name="connsiteX4" fmla="*/ 62733 w 194172"/>
                <a:gd name="connsiteY4" fmla="*/ 307712 h 298726"/>
                <a:gd name="connsiteX5" fmla="*/ 40328 w 194172"/>
                <a:gd name="connsiteY5" fmla="*/ 279333 h 298726"/>
                <a:gd name="connsiteX6" fmla="*/ 23898 w 194172"/>
                <a:gd name="connsiteY6" fmla="*/ 201664 h 298726"/>
                <a:gd name="connsiteX7" fmla="*/ 13443 w 194172"/>
                <a:gd name="connsiteY7" fmla="*/ 152374 h 298726"/>
                <a:gd name="connsiteX8" fmla="*/ 1493 w 194172"/>
                <a:gd name="connsiteY8" fmla="*/ 97110 h 298726"/>
                <a:gd name="connsiteX9" fmla="*/ 0 w 194172"/>
                <a:gd name="connsiteY9" fmla="*/ 85161 h 298726"/>
                <a:gd name="connsiteX10" fmla="*/ 19417 w 194172"/>
                <a:gd name="connsiteY10" fmla="*/ 53794 h 298726"/>
                <a:gd name="connsiteX11" fmla="*/ 59745 w 194172"/>
                <a:gd name="connsiteY11" fmla="*/ 19441 h 298726"/>
                <a:gd name="connsiteX12" fmla="*/ 128452 w 194172"/>
                <a:gd name="connsiteY12" fmla="*/ 23 h 298726"/>
                <a:gd name="connsiteX13" fmla="*/ 168781 w 194172"/>
                <a:gd name="connsiteY13" fmla="*/ 47820 h 298726"/>
                <a:gd name="connsiteX14" fmla="*/ 201640 w 194172"/>
                <a:gd name="connsiteY14" fmla="*/ 209132 h 298726"/>
                <a:gd name="connsiteX15" fmla="*/ 207615 w 194172"/>
                <a:gd name="connsiteY15" fmla="*/ 240499 h 29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4172" h="298726">
                  <a:moveTo>
                    <a:pt x="207615" y="240499"/>
                  </a:moveTo>
                  <a:cubicBezTo>
                    <a:pt x="207615" y="247967"/>
                    <a:pt x="204628" y="253941"/>
                    <a:pt x="200147" y="259916"/>
                  </a:cubicBezTo>
                  <a:cubicBezTo>
                    <a:pt x="188198" y="273358"/>
                    <a:pt x="174755" y="283814"/>
                    <a:pt x="159819" y="292776"/>
                  </a:cubicBezTo>
                  <a:cubicBezTo>
                    <a:pt x="144882" y="301738"/>
                    <a:pt x="126959" y="307712"/>
                    <a:pt x="109035" y="310699"/>
                  </a:cubicBezTo>
                  <a:cubicBezTo>
                    <a:pt x="94099" y="313687"/>
                    <a:pt x="77669" y="315180"/>
                    <a:pt x="62733" y="307712"/>
                  </a:cubicBezTo>
                  <a:cubicBezTo>
                    <a:pt x="52277" y="301738"/>
                    <a:pt x="44809" y="291282"/>
                    <a:pt x="40328" y="279333"/>
                  </a:cubicBezTo>
                  <a:cubicBezTo>
                    <a:pt x="26885" y="249460"/>
                    <a:pt x="31366" y="237511"/>
                    <a:pt x="23898" y="201664"/>
                  </a:cubicBezTo>
                  <a:cubicBezTo>
                    <a:pt x="20911" y="185234"/>
                    <a:pt x="16430" y="168804"/>
                    <a:pt x="13443" y="152374"/>
                  </a:cubicBezTo>
                  <a:cubicBezTo>
                    <a:pt x="8962" y="134450"/>
                    <a:pt x="5974" y="115033"/>
                    <a:pt x="1493" y="97110"/>
                  </a:cubicBezTo>
                  <a:cubicBezTo>
                    <a:pt x="0" y="92629"/>
                    <a:pt x="0" y="89641"/>
                    <a:pt x="0" y="85161"/>
                  </a:cubicBezTo>
                  <a:cubicBezTo>
                    <a:pt x="0" y="74705"/>
                    <a:pt x="11949" y="61262"/>
                    <a:pt x="19417" y="53794"/>
                  </a:cubicBezTo>
                  <a:cubicBezTo>
                    <a:pt x="31366" y="40352"/>
                    <a:pt x="46303" y="29896"/>
                    <a:pt x="59745" y="19441"/>
                  </a:cubicBezTo>
                  <a:cubicBezTo>
                    <a:pt x="88124" y="-1470"/>
                    <a:pt x="109035" y="23"/>
                    <a:pt x="128452" y="23"/>
                  </a:cubicBezTo>
                  <a:cubicBezTo>
                    <a:pt x="153844" y="1517"/>
                    <a:pt x="164300" y="26909"/>
                    <a:pt x="168781" y="47820"/>
                  </a:cubicBezTo>
                  <a:cubicBezTo>
                    <a:pt x="182223" y="106071"/>
                    <a:pt x="186704" y="150880"/>
                    <a:pt x="201640" y="209132"/>
                  </a:cubicBezTo>
                  <a:cubicBezTo>
                    <a:pt x="206122" y="218094"/>
                    <a:pt x="207615" y="230043"/>
                    <a:pt x="207615" y="240499"/>
                  </a:cubicBez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5" name="任意多边形: 形状 684"/>
            <p:cNvSpPr/>
            <p:nvPr/>
          </p:nvSpPr>
          <p:spPr>
            <a:xfrm>
              <a:off x="3403707" y="3501163"/>
              <a:ext cx="68168" cy="109068"/>
            </a:xfrm>
            <a:custGeom>
              <a:avLst/>
              <a:gdLst>
                <a:gd name="connsiteX0" fmla="*/ 84307 w 74681"/>
                <a:gd name="connsiteY0" fmla="*/ 53906 h 119490"/>
                <a:gd name="connsiteX1" fmla="*/ 85801 w 74681"/>
                <a:gd name="connsiteY1" fmla="*/ 82284 h 119490"/>
                <a:gd name="connsiteX2" fmla="*/ 78333 w 74681"/>
                <a:gd name="connsiteY2" fmla="*/ 109170 h 119490"/>
                <a:gd name="connsiteX3" fmla="*/ 52941 w 74681"/>
                <a:gd name="connsiteY3" fmla="*/ 127094 h 119490"/>
                <a:gd name="connsiteX4" fmla="*/ 42486 w 74681"/>
                <a:gd name="connsiteY4" fmla="*/ 128587 h 119490"/>
                <a:gd name="connsiteX5" fmla="*/ 33524 w 74681"/>
                <a:gd name="connsiteY5" fmla="*/ 127094 h 119490"/>
                <a:gd name="connsiteX6" fmla="*/ 23068 w 74681"/>
                <a:gd name="connsiteY6" fmla="*/ 116638 h 119490"/>
                <a:gd name="connsiteX7" fmla="*/ 23068 w 74681"/>
                <a:gd name="connsiteY7" fmla="*/ 116638 h 119490"/>
                <a:gd name="connsiteX8" fmla="*/ 21575 w 74681"/>
                <a:gd name="connsiteY8" fmla="*/ 113651 h 119490"/>
                <a:gd name="connsiteX9" fmla="*/ 664 w 74681"/>
                <a:gd name="connsiteY9" fmla="*/ 37475 h 119490"/>
                <a:gd name="connsiteX10" fmla="*/ 664 w 74681"/>
                <a:gd name="connsiteY10" fmla="*/ 25527 h 119490"/>
                <a:gd name="connsiteX11" fmla="*/ 23068 w 74681"/>
                <a:gd name="connsiteY11" fmla="*/ 1628 h 119490"/>
                <a:gd name="connsiteX12" fmla="*/ 57422 w 74681"/>
                <a:gd name="connsiteY12" fmla="*/ 3122 h 119490"/>
                <a:gd name="connsiteX13" fmla="*/ 66384 w 74681"/>
                <a:gd name="connsiteY13" fmla="*/ 6109 h 119490"/>
                <a:gd name="connsiteX14" fmla="*/ 73852 w 74681"/>
                <a:gd name="connsiteY14" fmla="*/ 12084 h 119490"/>
                <a:gd name="connsiteX15" fmla="*/ 84307 w 74681"/>
                <a:gd name="connsiteY15" fmla="*/ 53906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4681" h="119490">
                  <a:moveTo>
                    <a:pt x="84307" y="53906"/>
                  </a:moveTo>
                  <a:cubicBezTo>
                    <a:pt x="85801" y="62867"/>
                    <a:pt x="85801" y="71829"/>
                    <a:pt x="85801" y="82284"/>
                  </a:cubicBezTo>
                  <a:cubicBezTo>
                    <a:pt x="85801" y="91246"/>
                    <a:pt x="82814" y="100208"/>
                    <a:pt x="78333" y="109170"/>
                  </a:cubicBezTo>
                  <a:cubicBezTo>
                    <a:pt x="72358" y="118132"/>
                    <a:pt x="63396" y="124106"/>
                    <a:pt x="52941" y="127094"/>
                  </a:cubicBezTo>
                  <a:cubicBezTo>
                    <a:pt x="49954" y="128587"/>
                    <a:pt x="46967" y="128587"/>
                    <a:pt x="42486" y="128587"/>
                  </a:cubicBezTo>
                  <a:cubicBezTo>
                    <a:pt x="39498" y="128587"/>
                    <a:pt x="36511" y="128587"/>
                    <a:pt x="33524" y="127094"/>
                  </a:cubicBezTo>
                  <a:cubicBezTo>
                    <a:pt x="29043" y="125600"/>
                    <a:pt x="26056" y="121119"/>
                    <a:pt x="23068" y="116638"/>
                  </a:cubicBezTo>
                  <a:cubicBezTo>
                    <a:pt x="23068" y="116638"/>
                    <a:pt x="23068" y="116638"/>
                    <a:pt x="23068" y="116638"/>
                  </a:cubicBezTo>
                  <a:cubicBezTo>
                    <a:pt x="23068" y="115145"/>
                    <a:pt x="21575" y="115145"/>
                    <a:pt x="21575" y="113651"/>
                  </a:cubicBezTo>
                  <a:cubicBezTo>
                    <a:pt x="9626" y="89753"/>
                    <a:pt x="3651" y="64361"/>
                    <a:pt x="664" y="37475"/>
                  </a:cubicBezTo>
                  <a:cubicBezTo>
                    <a:pt x="664" y="32995"/>
                    <a:pt x="-830" y="30007"/>
                    <a:pt x="664" y="25527"/>
                  </a:cubicBezTo>
                  <a:cubicBezTo>
                    <a:pt x="2158" y="13577"/>
                    <a:pt x="12613" y="4616"/>
                    <a:pt x="23068" y="1628"/>
                  </a:cubicBezTo>
                  <a:cubicBezTo>
                    <a:pt x="33524" y="-1359"/>
                    <a:pt x="45473" y="135"/>
                    <a:pt x="57422" y="3122"/>
                  </a:cubicBezTo>
                  <a:cubicBezTo>
                    <a:pt x="60409" y="4616"/>
                    <a:pt x="63396" y="4616"/>
                    <a:pt x="66384" y="6109"/>
                  </a:cubicBezTo>
                  <a:cubicBezTo>
                    <a:pt x="69371" y="7603"/>
                    <a:pt x="70865" y="10590"/>
                    <a:pt x="73852" y="12084"/>
                  </a:cubicBezTo>
                  <a:cubicBezTo>
                    <a:pt x="76839" y="12084"/>
                    <a:pt x="81320" y="40463"/>
                    <a:pt x="84307" y="53906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6" name="任意多边形: 形状 685"/>
            <p:cNvSpPr/>
            <p:nvPr/>
          </p:nvSpPr>
          <p:spPr>
            <a:xfrm>
              <a:off x="3435670" y="3619898"/>
              <a:ext cx="13633" cy="13633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7" name="任意多边形: 形状 686"/>
            <p:cNvSpPr/>
            <p:nvPr/>
          </p:nvSpPr>
          <p:spPr>
            <a:xfrm>
              <a:off x="3424763" y="3576270"/>
              <a:ext cx="27267" cy="27267"/>
            </a:xfrm>
            <a:custGeom>
              <a:avLst/>
              <a:gdLst>
                <a:gd name="connsiteX0" fmla="*/ 28379 w 29872"/>
                <a:gd name="connsiteY0" fmla="*/ 20911 h 29872"/>
                <a:gd name="connsiteX1" fmla="*/ 31366 w 29872"/>
                <a:gd name="connsiteY1" fmla="*/ 37341 h 29872"/>
                <a:gd name="connsiteX2" fmla="*/ 31366 w 29872"/>
                <a:gd name="connsiteY2" fmla="*/ 40328 h 29872"/>
                <a:gd name="connsiteX3" fmla="*/ 29873 w 29872"/>
                <a:gd name="connsiteY3" fmla="*/ 41822 h 29872"/>
                <a:gd name="connsiteX4" fmla="*/ 19417 w 29872"/>
                <a:gd name="connsiteY4" fmla="*/ 43316 h 29872"/>
                <a:gd name="connsiteX5" fmla="*/ 10455 w 29872"/>
                <a:gd name="connsiteY5" fmla="*/ 41822 h 29872"/>
                <a:gd name="connsiteX6" fmla="*/ 0 w 29872"/>
                <a:gd name="connsiteY6" fmla="*/ 31366 h 29872"/>
                <a:gd name="connsiteX7" fmla="*/ 0 w 29872"/>
                <a:gd name="connsiteY7" fmla="*/ 31366 h 29872"/>
                <a:gd name="connsiteX8" fmla="*/ 14936 w 29872"/>
                <a:gd name="connsiteY8" fmla="*/ 0 h 29872"/>
                <a:gd name="connsiteX9" fmla="*/ 28379 w 29872"/>
                <a:gd name="connsiteY9" fmla="*/ 20911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872" h="29872">
                  <a:moveTo>
                    <a:pt x="28379" y="20911"/>
                  </a:moveTo>
                  <a:cubicBezTo>
                    <a:pt x="29873" y="26885"/>
                    <a:pt x="29873" y="31366"/>
                    <a:pt x="31366" y="37341"/>
                  </a:cubicBezTo>
                  <a:cubicBezTo>
                    <a:pt x="31366" y="38835"/>
                    <a:pt x="31366" y="40328"/>
                    <a:pt x="31366" y="40328"/>
                  </a:cubicBezTo>
                  <a:cubicBezTo>
                    <a:pt x="31366" y="40328"/>
                    <a:pt x="31366" y="41822"/>
                    <a:pt x="29873" y="41822"/>
                  </a:cubicBezTo>
                  <a:cubicBezTo>
                    <a:pt x="26885" y="43316"/>
                    <a:pt x="23898" y="43316"/>
                    <a:pt x="19417" y="43316"/>
                  </a:cubicBezTo>
                  <a:cubicBezTo>
                    <a:pt x="16430" y="43316"/>
                    <a:pt x="13443" y="43316"/>
                    <a:pt x="10455" y="41822"/>
                  </a:cubicBezTo>
                  <a:cubicBezTo>
                    <a:pt x="5975" y="40328"/>
                    <a:pt x="2987" y="35847"/>
                    <a:pt x="0" y="31366"/>
                  </a:cubicBezTo>
                  <a:cubicBezTo>
                    <a:pt x="0" y="31366"/>
                    <a:pt x="0" y="31366"/>
                    <a:pt x="0" y="31366"/>
                  </a:cubicBezTo>
                  <a:cubicBezTo>
                    <a:pt x="11949" y="40328"/>
                    <a:pt x="17924" y="29873"/>
                    <a:pt x="14936" y="0"/>
                  </a:cubicBezTo>
                  <a:cubicBezTo>
                    <a:pt x="19417" y="13443"/>
                    <a:pt x="25392" y="7468"/>
                    <a:pt x="28379" y="20911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8" name="任意多边形: 形状 687"/>
            <p:cNvSpPr/>
            <p:nvPr/>
          </p:nvSpPr>
          <p:spPr>
            <a:xfrm>
              <a:off x="3434789" y="3542931"/>
              <a:ext cx="68168" cy="81801"/>
            </a:xfrm>
            <a:custGeom>
              <a:avLst/>
              <a:gdLst>
                <a:gd name="connsiteX0" fmla="*/ 0 w 74681"/>
                <a:gd name="connsiteY0" fmla="*/ 11182 h 89618"/>
                <a:gd name="connsiteX1" fmla="*/ 63243 w 74681"/>
                <a:gd name="connsiteY1" fmla="*/ 0 h 89618"/>
                <a:gd name="connsiteX2" fmla="*/ 77806 w 74681"/>
                <a:gd name="connsiteY2" fmla="*/ 82364 h 89618"/>
                <a:gd name="connsiteX3" fmla="*/ 14562 w 74681"/>
                <a:gd name="connsiteY3" fmla="*/ 93546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89618">
                  <a:moveTo>
                    <a:pt x="0" y="11182"/>
                  </a:moveTo>
                  <a:lnTo>
                    <a:pt x="63243" y="0"/>
                  </a:lnTo>
                  <a:lnTo>
                    <a:pt x="77806" y="82364"/>
                  </a:lnTo>
                  <a:lnTo>
                    <a:pt x="14562" y="93546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9" name="任意多边形: 形状 688"/>
            <p:cNvSpPr/>
            <p:nvPr/>
          </p:nvSpPr>
          <p:spPr>
            <a:xfrm>
              <a:off x="3447924" y="3604384"/>
              <a:ext cx="54534" cy="27267"/>
            </a:xfrm>
            <a:custGeom>
              <a:avLst/>
              <a:gdLst>
                <a:gd name="connsiteX0" fmla="*/ 52295 w 59745"/>
                <a:gd name="connsiteY0" fmla="*/ 2059 h 29872"/>
                <a:gd name="connsiteX1" fmla="*/ 56776 w 59745"/>
                <a:gd name="connsiteY1" fmla="*/ 27450 h 29872"/>
                <a:gd name="connsiteX2" fmla="*/ 11966 w 59745"/>
                <a:gd name="connsiteY2" fmla="*/ 34919 h 29872"/>
                <a:gd name="connsiteX3" fmla="*/ 7486 w 59745"/>
                <a:gd name="connsiteY3" fmla="*/ 9527 h 29872"/>
                <a:gd name="connsiteX4" fmla="*/ 52295 w 59745"/>
                <a:gd name="connsiteY4" fmla="*/ 2059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45" h="29872">
                  <a:moveTo>
                    <a:pt x="52295" y="2059"/>
                  </a:moveTo>
                  <a:cubicBezTo>
                    <a:pt x="65737" y="6539"/>
                    <a:pt x="68725" y="18489"/>
                    <a:pt x="56776" y="27450"/>
                  </a:cubicBezTo>
                  <a:cubicBezTo>
                    <a:pt x="44826" y="36412"/>
                    <a:pt x="25409" y="40893"/>
                    <a:pt x="11966" y="34919"/>
                  </a:cubicBezTo>
                  <a:cubicBezTo>
                    <a:pt x="-1476" y="30438"/>
                    <a:pt x="-4463" y="18489"/>
                    <a:pt x="7486" y="9527"/>
                  </a:cubicBezTo>
                  <a:cubicBezTo>
                    <a:pt x="17941" y="565"/>
                    <a:pt x="38852" y="-2422"/>
                    <a:pt x="52295" y="205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0" name="任意多边形: 形状 689"/>
            <p:cNvSpPr/>
            <p:nvPr/>
          </p:nvSpPr>
          <p:spPr>
            <a:xfrm>
              <a:off x="3399165" y="3485831"/>
              <a:ext cx="95434" cy="122701"/>
            </a:xfrm>
            <a:custGeom>
              <a:avLst/>
              <a:gdLst>
                <a:gd name="connsiteX0" fmla="*/ 20577 w 104554"/>
                <a:gd name="connsiteY0" fmla="*/ 57260 h 134427"/>
                <a:gd name="connsiteX1" fmla="*/ 39994 w 104554"/>
                <a:gd name="connsiteY1" fmla="*/ 81158 h 134427"/>
                <a:gd name="connsiteX2" fmla="*/ 45968 w 104554"/>
                <a:gd name="connsiteY2" fmla="*/ 114018 h 134427"/>
                <a:gd name="connsiteX3" fmla="*/ 65386 w 104554"/>
                <a:gd name="connsiteY3" fmla="*/ 139410 h 134427"/>
                <a:gd name="connsiteX4" fmla="*/ 87790 w 104554"/>
                <a:gd name="connsiteY4" fmla="*/ 139410 h 134427"/>
                <a:gd name="connsiteX5" fmla="*/ 113182 w 104554"/>
                <a:gd name="connsiteY5" fmla="*/ 124473 h 134427"/>
                <a:gd name="connsiteX6" fmla="*/ 53436 w 104554"/>
                <a:gd name="connsiteY6" fmla="*/ 502 h 134427"/>
                <a:gd name="connsiteX7" fmla="*/ 5640 w 104554"/>
                <a:gd name="connsiteY7" fmla="*/ 52779 h 134427"/>
                <a:gd name="connsiteX8" fmla="*/ 20577 w 104554"/>
                <a:gd name="connsiteY8" fmla="*/ 57260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554" h="134427">
                  <a:moveTo>
                    <a:pt x="20577" y="57260"/>
                  </a:moveTo>
                  <a:cubicBezTo>
                    <a:pt x="31032" y="61740"/>
                    <a:pt x="37007" y="70702"/>
                    <a:pt x="39994" y="81158"/>
                  </a:cubicBezTo>
                  <a:cubicBezTo>
                    <a:pt x="42981" y="91613"/>
                    <a:pt x="42981" y="103562"/>
                    <a:pt x="45968" y="114018"/>
                  </a:cubicBezTo>
                  <a:cubicBezTo>
                    <a:pt x="48956" y="124473"/>
                    <a:pt x="54930" y="134929"/>
                    <a:pt x="65386" y="139410"/>
                  </a:cubicBezTo>
                  <a:cubicBezTo>
                    <a:pt x="72854" y="142397"/>
                    <a:pt x="80322" y="140903"/>
                    <a:pt x="87790" y="139410"/>
                  </a:cubicBezTo>
                  <a:cubicBezTo>
                    <a:pt x="98246" y="137916"/>
                    <a:pt x="110195" y="134929"/>
                    <a:pt x="113182" y="124473"/>
                  </a:cubicBezTo>
                  <a:cubicBezTo>
                    <a:pt x="141561" y="-6967"/>
                    <a:pt x="63892" y="-992"/>
                    <a:pt x="53436" y="502"/>
                  </a:cubicBezTo>
                  <a:cubicBezTo>
                    <a:pt x="20577" y="3489"/>
                    <a:pt x="-13777" y="30374"/>
                    <a:pt x="5640" y="52779"/>
                  </a:cubicBezTo>
                  <a:cubicBezTo>
                    <a:pt x="10121" y="55766"/>
                    <a:pt x="17589" y="55766"/>
                    <a:pt x="20577" y="57260"/>
                  </a:cubicBezTo>
                  <a:close/>
                </a:path>
              </a:pathLst>
            </a:custGeom>
            <a:solidFill>
              <a:srgbClr val="936037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1" name="任意多边形: 形状 690"/>
            <p:cNvSpPr/>
            <p:nvPr/>
          </p:nvSpPr>
          <p:spPr>
            <a:xfrm>
              <a:off x="3431580" y="3553093"/>
              <a:ext cx="13633" cy="27267"/>
            </a:xfrm>
            <a:custGeom>
              <a:avLst/>
              <a:gdLst>
                <a:gd name="connsiteX0" fmla="*/ 5975 w 14936"/>
                <a:gd name="connsiteY0" fmla="*/ 0 h 29872"/>
                <a:gd name="connsiteX1" fmla="*/ 0 w 14936"/>
                <a:gd name="connsiteY1" fmla="*/ 7468 h 29872"/>
                <a:gd name="connsiteX2" fmla="*/ 1494 w 14936"/>
                <a:gd name="connsiteY2" fmla="*/ 19417 h 29872"/>
                <a:gd name="connsiteX3" fmla="*/ 7468 w 14936"/>
                <a:gd name="connsiteY3" fmla="*/ 34354 h 29872"/>
                <a:gd name="connsiteX4" fmla="*/ 10455 w 14936"/>
                <a:gd name="connsiteY4" fmla="*/ 37341 h 29872"/>
                <a:gd name="connsiteX5" fmla="*/ 16430 w 14936"/>
                <a:gd name="connsiteY5" fmla="*/ 34354 h 29872"/>
                <a:gd name="connsiteX6" fmla="*/ 17924 w 14936"/>
                <a:gd name="connsiteY6" fmla="*/ 28379 h 29872"/>
                <a:gd name="connsiteX7" fmla="*/ 16430 w 14936"/>
                <a:gd name="connsiteY7" fmla="*/ 10455 h 29872"/>
                <a:gd name="connsiteX8" fmla="*/ 13443 w 14936"/>
                <a:gd name="connsiteY8" fmla="*/ 4481 h 29872"/>
                <a:gd name="connsiteX9" fmla="*/ 5975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5975" y="0"/>
                  </a:moveTo>
                  <a:cubicBezTo>
                    <a:pt x="2987" y="0"/>
                    <a:pt x="0" y="4481"/>
                    <a:pt x="0" y="7468"/>
                  </a:cubicBezTo>
                  <a:cubicBezTo>
                    <a:pt x="0" y="11949"/>
                    <a:pt x="0" y="14936"/>
                    <a:pt x="1494" y="19417"/>
                  </a:cubicBezTo>
                  <a:cubicBezTo>
                    <a:pt x="2987" y="23898"/>
                    <a:pt x="2987" y="29873"/>
                    <a:pt x="7468" y="34354"/>
                  </a:cubicBezTo>
                  <a:cubicBezTo>
                    <a:pt x="8962" y="35847"/>
                    <a:pt x="8962" y="35847"/>
                    <a:pt x="10455" y="37341"/>
                  </a:cubicBezTo>
                  <a:cubicBezTo>
                    <a:pt x="11949" y="37341"/>
                    <a:pt x="14936" y="35847"/>
                    <a:pt x="16430" y="34354"/>
                  </a:cubicBezTo>
                  <a:cubicBezTo>
                    <a:pt x="17924" y="32860"/>
                    <a:pt x="17924" y="29873"/>
                    <a:pt x="17924" y="28379"/>
                  </a:cubicBezTo>
                  <a:cubicBezTo>
                    <a:pt x="17924" y="22405"/>
                    <a:pt x="17924" y="16430"/>
                    <a:pt x="16430" y="10455"/>
                  </a:cubicBezTo>
                  <a:cubicBezTo>
                    <a:pt x="16430" y="7468"/>
                    <a:pt x="14936" y="5975"/>
                    <a:pt x="13443" y="4481"/>
                  </a:cubicBezTo>
                  <a:cubicBezTo>
                    <a:pt x="11949" y="1494"/>
                    <a:pt x="8962" y="0"/>
                    <a:pt x="5975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2" name="任意多边形: 形状 691"/>
            <p:cNvSpPr/>
            <p:nvPr/>
          </p:nvSpPr>
          <p:spPr>
            <a:xfrm>
              <a:off x="3188904" y="3510829"/>
              <a:ext cx="54534" cy="81801"/>
            </a:xfrm>
            <a:custGeom>
              <a:avLst/>
              <a:gdLst>
                <a:gd name="connsiteX0" fmla="*/ 58252 w 59745"/>
                <a:gd name="connsiteY0" fmla="*/ 29873 h 89618"/>
                <a:gd name="connsiteX1" fmla="*/ 52277 w 59745"/>
                <a:gd name="connsiteY1" fmla="*/ 17924 h 89618"/>
                <a:gd name="connsiteX2" fmla="*/ 40328 w 59745"/>
                <a:gd name="connsiteY2" fmla="*/ 8962 h 89618"/>
                <a:gd name="connsiteX3" fmla="*/ 40328 w 59745"/>
                <a:gd name="connsiteY3" fmla="*/ 23898 h 89618"/>
                <a:gd name="connsiteX4" fmla="*/ 26885 w 59745"/>
                <a:gd name="connsiteY4" fmla="*/ 26885 h 89618"/>
                <a:gd name="connsiteX5" fmla="*/ 7468 w 59745"/>
                <a:gd name="connsiteY5" fmla="*/ 0 h 89618"/>
                <a:gd name="connsiteX6" fmla="*/ 0 w 59745"/>
                <a:gd name="connsiteY6" fmla="*/ 16430 h 89618"/>
                <a:gd name="connsiteX7" fmla="*/ 1494 w 59745"/>
                <a:gd name="connsiteY7" fmla="*/ 52277 h 89618"/>
                <a:gd name="connsiteX8" fmla="*/ 14936 w 59745"/>
                <a:gd name="connsiteY8" fmla="*/ 73188 h 89618"/>
                <a:gd name="connsiteX9" fmla="*/ 34354 w 59745"/>
                <a:gd name="connsiteY9" fmla="*/ 89618 h 89618"/>
                <a:gd name="connsiteX10" fmla="*/ 35847 w 59745"/>
                <a:gd name="connsiteY10" fmla="*/ 91112 h 89618"/>
                <a:gd name="connsiteX11" fmla="*/ 64226 w 59745"/>
                <a:gd name="connsiteY11" fmla="*/ 58252 h 89618"/>
                <a:gd name="connsiteX12" fmla="*/ 58252 w 59745"/>
                <a:gd name="connsiteY12" fmla="*/ 29873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745" h="89618">
                  <a:moveTo>
                    <a:pt x="58252" y="29873"/>
                  </a:moveTo>
                  <a:cubicBezTo>
                    <a:pt x="56758" y="25392"/>
                    <a:pt x="55265" y="20911"/>
                    <a:pt x="52277" y="17924"/>
                  </a:cubicBezTo>
                  <a:cubicBezTo>
                    <a:pt x="49290" y="14936"/>
                    <a:pt x="46303" y="5974"/>
                    <a:pt x="40328" y="8962"/>
                  </a:cubicBezTo>
                  <a:cubicBezTo>
                    <a:pt x="41822" y="17924"/>
                    <a:pt x="44809" y="20911"/>
                    <a:pt x="40328" y="23898"/>
                  </a:cubicBezTo>
                  <a:cubicBezTo>
                    <a:pt x="35847" y="26885"/>
                    <a:pt x="31366" y="29873"/>
                    <a:pt x="26885" y="26885"/>
                  </a:cubicBezTo>
                  <a:cubicBezTo>
                    <a:pt x="17924" y="22405"/>
                    <a:pt x="14936" y="20911"/>
                    <a:pt x="7468" y="0"/>
                  </a:cubicBezTo>
                  <a:cubicBezTo>
                    <a:pt x="7468" y="0"/>
                    <a:pt x="0" y="8962"/>
                    <a:pt x="0" y="16430"/>
                  </a:cubicBezTo>
                  <a:cubicBezTo>
                    <a:pt x="0" y="23898"/>
                    <a:pt x="0" y="46303"/>
                    <a:pt x="1494" y="52277"/>
                  </a:cubicBezTo>
                  <a:cubicBezTo>
                    <a:pt x="4481" y="61239"/>
                    <a:pt x="7468" y="65720"/>
                    <a:pt x="14936" y="73188"/>
                  </a:cubicBezTo>
                  <a:cubicBezTo>
                    <a:pt x="23898" y="80656"/>
                    <a:pt x="23898" y="85137"/>
                    <a:pt x="34354" y="89618"/>
                  </a:cubicBezTo>
                  <a:cubicBezTo>
                    <a:pt x="34354" y="89618"/>
                    <a:pt x="35847" y="91112"/>
                    <a:pt x="35847" y="91112"/>
                  </a:cubicBezTo>
                  <a:cubicBezTo>
                    <a:pt x="50784" y="88124"/>
                    <a:pt x="64226" y="73188"/>
                    <a:pt x="64226" y="58252"/>
                  </a:cubicBezTo>
                  <a:cubicBezTo>
                    <a:pt x="64226" y="46303"/>
                    <a:pt x="61239" y="38834"/>
                    <a:pt x="58252" y="29873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3" name="任意多边形: 形状 692"/>
            <p:cNvSpPr/>
            <p:nvPr/>
          </p:nvSpPr>
          <p:spPr>
            <a:xfrm>
              <a:off x="3220260" y="3565363"/>
              <a:ext cx="109068" cy="136334"/>
            </a:xfrm>
            <a:custGeom>
              <a:avLst/>
              <a:gdLst>
                <a:gd name="connsiteX0" fmla="*/ 79163 w 119490"/>
                <a:gd name="connsiteY0" fmla="*/ 138908 h 149363"/>
                <a:gd name="connsiteX1" fmla="*/ 79163 w 119490"/>
                <a:gd name="connsiteY1" fmla="*/ 138908 h 149363"/>
                <a:gd name="connsiteX2" fmla="*/ 0 w 119490"/>
                <a:gd name="connsiteY2" fmla="*/ 28379 h 149363"/>
                <a:gd name="connsiteX3" fmla="*/ 29873 w 119490"/>
                <a:gd name="connsiteY3" fmla="*/ 0 h 149363"/>
                <a:gd name="connsiteX4" fmla="*/ 125465 w 119490"/>
                <a:gd name="connsiteY4" fmla="*/ 95593 h 149363"/>
                <a:gd name="connsiteX5" fmla="*/ 126959 w 119490"/>
                <a:gd name="connsiteY5" fmla="*/ 97086 h 149363"/>
                <a:gd name="connsiteX6" fmla="*/ 126959 w 119490"/>
                <a:gd name="connsiteY6" fmla="*/ 97086 h 149363"/>
                <a:gd name="connsiteX7" fmla="*/ 131440 w 119490"/>
                <a:gd name="connsiteY7" fmla="*/ 129946 h 149363"/>
                <a:gd name="connsiteX8" fmla="*/ 122478 w 119490"/>
                <a:gd name="connsiteY8" fmla="*/ 141895 h 149363"/>
                <a:gd name="connsiteX9" fmla="*/ 79163 w 119490"/>
                <a:gd name="connsiteY9" fmla="*/ 138908 h 14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490" h="149363">
                  <a:moveTo>
                    <a:pt x="79163" y="138908"/>
                  </a:moveTo>
                  <a:lnTo>
                    <a:pt x="79163" y="138908"/>
                  </a:lnTo>
                  <a:cubicBezTo>
                    <a:pt x="77669" y="137414"/>
                    <a:pt x="7468" y="47796"/>
                    <a:pt x="0" y="28379"/>
                  </a:cubicBezTo>
                  <a:cubicBezTo>
                    <a:pt x="0" y="28379"/>
                    <a:pt x="17924" y="1493"/>
                    <a:pt x="29873" y="0"/>
                  </a:cubicBezTo>
                  <a:cubicBezTo>
                    <a:pt x="52277" y="11949"/>
                    <a:pt x="91112" y="59745"/>
                    <a:pt x="125465" y="95593"/>
                  </a:cubicBezTo>
                  <a:lnTo>
                    <a:pt x="126959" y="97086"/>
                  </a:lnTo>
                  <a:lnTo>
                    <a:pt x="126959" y="97086"/>
                  </a:lnTo>
                  <a:cubicBezTo>
                    <a:pt x="134427" y="106048"/>
                    <a:pt x="135921" y="119491"/>
                    <a:pt x="131440" y="129946"/>
                  </a:cubicBezTo>
                  <a:cubicBezTo>
                    <a:pt x="129946" y="134427"/>
                    <a:pt x="126959" y="138908"/>
                    <a:pt x="122478" y="141895"/>
                  </a:cubicBezTo>
                  <a:cubicBezTo>
                    <a:pt x="109035" y="153844"/>
                    <a:pt x="89618" y="152351"/>
                    <a:pt x="79163" y="138908"/>
                  </a:cubicBez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4" name="任意多边形: 形状 693"/>
            <p:cNvSpPr/>
            <p:nvPr/>
          </p:nvSpPr>
          <p:spPr>
            <a:xfrm>
              <a:off x="3342398" y="3423575"/>
              <a:ext cx="40900" cy="54534"/>
            </a:xfrm>
            <a:custGeom>
              <a:avLst/>
              <a:gdLst>
                <a:gd name="connsiteX0" fmla="*/ 40947 w 44809"/>
                <a:gd name="connsiteY0" fmla="*/ 61239 h 59745"/>
                <a:gd name="connsiteX1" fmla="*/ 52896 w 44809"/>
                <a:gd name="connsiteY1" fmla="*/ 53771 h 59745"/>
                <a:gd name="connsiteX2" fmla="*/ 49909 w 44809"/>
                <a:gd name="connsiteY2" fmla="*/ 38835 h 59745"/>
                <a:gd name="connsiteX3" fmla="*/ 40947 w 44809"/>
                <a:gd name="connsiteY3" fmla="*/ 16430 h 59745"/>
                <a:gd name="connsiteX4" fmla="*/ 24517 w 44809"/>
                <a:gd name="connsiteY4" fmla="*/ 0 h 59745"/>
                <a:gd name="connsiteX5" fmla="*/ 31985 w 44809"/>
                <a:gd name="connsiteY5" fmla="*/ 29873 h 59745"/>
                <a:gd name="connsiteX6" fmla="*/ 11074 w 44809"/>
                <a:gd name="connsiteY6" fmla="*/ 16430 h 59745"/>
                <a:gd name="connsiteX7" fmla="*/ 619 w 44809"/>
                <a:gd name="connsiteY7" fmla="*/ 13443 h 59745"/>
                <a:gd name="connsiteX8" fmla="*/ 2112 w 44809"/>
                <a:gd name="connsiteY8" fmla="*/ 22405 h 59745"/>
                <a:gd name="connsiteX9" fmla="*/ 9581 w 44809"/>
                <a:gd name="connsiteY9" fmla="*/ 29873 h 59745"/>
                <a:gd name="connsiteX10" fmla="*/ 26010 w 44809"/>
                <a:gd name="connsiteY10" fmla="*/ 50784 h 59745"/>
                <a:gd name="connsiteX11" fmla="*/ 40947 w 44809"/>
                <a:gd name="connsiteY11" fmla="*/ 61239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809" h="59745">
                  <a:moveTo>
                    <a:pt x="40947" y="61239"/>
                  </a:moveTo>
                  <a:cubicBezTo>
                    <a:pt x="51402" y="59745"/>
                    <a:pt x="51402" y="56758"/>
                    <a:pt x="52896" y="53771"/>
                  </a:cubicBezTo>
                  <a:cubicBezTo>
                    <a:pt x="52896" y="49290"/>
                    <a:pt x="51402" y="44809"/>
                    <a:pt x="49909" y="38835"/>
                  </a:cubicBezTo>
                  <a:cubicBezTo>
                    <a:pt x="46921" y="31366"/>
                    <a:pt x="43934" y="22405"/>
                    <a:pt x="40947" y="16430"/>
                  </a:cubicBezTo>
                  <a:cubicBezTo>
                    <a:pt x="36466" y="8962"/>
                    <a:pt x="33479" y="2987"/>
                    <a:pt x="24517" y="0"/>
                  </a:cubicBezTo>
                  <a:cubicBezTo>
                    <a:pt x="27504" y="10455"/>
                    <a:pt x="28998" y="17924"/>
                    <a:pt x="31985" y="29873"/>
                  </a:cubicBezTo>
                  <a:cubicBezTo>
                    <a:pt x="24517" y="23898"/>
                    <a:pt x="18542" y="20911"/>
                    <a:pt x="11074" y="16430"/>
                  </a:cubicBezTo>
                  <a:cubicBezTo>
                    <a:pt x="8087" y="13443"/>
                    <a:pt x="3606" y="11949"/>
                    <a:pt x="619" y="13443"/>
                  </a:cubicBezTo>
                  <a:cubicBezTo>
                    <a:pt x="-875" y="16430"/>
                    <a:pt x="619" y="20911"/>
                    <a:pt x="2112" y="22405"/>
                  </a:cubicBezTo>
                  <a:cubicBezTo>
                    <a:pt x="5100" y="25392"/>
                    <a:pt x="8087" y="26885"/>
                    <a:pt x="9581" y="29873"/>
                  </a:cubicBezTo>
                  <a:cubicBezTo>
                    <a:pt x="17049" y="37341"/>
                    <a:pt x="18542" y="43316"/>
                    <a:pt x="26010" y="50784"/>
                  </a:cubicBezTo>
                  <a:cubicBezTo>
                    <a:pt x="30491" y="55264"/>
                    <a:pt x="37959" y="61239"/>
                    <a:pt x="40947" y="6123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5" name="任意多边形: 形状 694"/>
            <p:cNvSpPr/>
            <p:nvPr/>
          </p:nvSpPr>
          <p:spPr>
            <a:xfrm>
              <a:off x="3438397" y="3607627"/>
              <a:ext cx="68168" cy="27267"/>
            </a:xfrm>
            <a:custGeom>
              <a:avLst/>
              <a:gdLst>
                <a:gd name="connsiteX0" fmla="*/ 71694 w 74681"/>
                <a:gd name="connsiteY0" fmla="*/ 0 h 29872"/>
                <a:gd name="connsiteX1" fmla="*/ 79163 w 74681"/>
                <a:gd name="connsiteY1" fmla="*/ 8962 h 29872"/>
                <a:gd name="connsiteX2" fmla="*/ 79163 w 74681"/>
                <a:gd name="connsiteY2" fmla="*/ 16430 h 29872"/>
                <a:gd name="connsiteX3" fmla="*/ 74682 w 74681"/>
                <a:gd name="connsiteY3" fmla="*/ 23898 h 29872"/>
                <a:gd name="connsiteX4" fmla="*/ 34354 w 74681"/>
                <a:gd name="connsiteY4" fmla="*/ 37341 h 29872"/>
                <a:gd name="connsiteX5" fmla="*/ 0 w 74681"/>
                <a:gd name="connsiteY5" fmla="*/ 31366 h 29872"/>
                <a:gd name="connsiteX6" fmla="*/ 7468 w 74681"/>
                <a:gd name="connsiteY6" fmla="*/ 19417 h 29872"/>
                <a:gd name="connsiteX7" fmla="*/ 59746 w 74681"/>
                <a:gd name="connsiteY7" fmla="*/ 13443 h 29872"/>
                <a:gd name="connsiteX8" fmla="*/ 71694 w 74681"/>
                <a:gd name="connsiteY8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681" h="29872">
                  <a:moveTo>
                    <a:pt x="71694" y="0"/>
                  </a:moveTo>
                  <a:cubicBezTo>
                    <a:pt x="74682" y="2987"/>
                    <a:pt x="79163" y="8962"/>
                    <a:pt x="79163" y="8962"/>
                  </a:cubicBezTo>
                  <a:cubicBezTo>
                    <a:pt x="79163" y="8962"/>
                    <a:pt x="80656" y="11949"/>
                    <a:pt x="79163" y="16430"/>
                  </a:cubicBezTo>
                  <a:cubicBezTo>
                    <a:pt x="79163" y="19417"/>
                    <a:pt x="77669" y="22405"/>
                    <a:pt x="74682" y="23898"/>
                  </a:cubicBezTo>
                  <a:cubicBezTo>
                    <a:pt x="64226" y="32860"/>
                    <a:pt x="49290" y="35847"/>
                    <a:pt x="34354" y="37341"/>
                  </a:cubicBezTo>
                  <a:cubicBezTo>
                    <a:pt x="20911" y="38835"/>
                    <a:pt x="13443" y="35847"/>
                    <a:pt x="0" y="31366"/>
                  </a:cubicBezTo>
                  <a:cubicBezTo>
                    <a:pt x="2987" y="26885"/>
                    <a:pt x="4481" y="25392"/>
                    <a:pt x="7468" y="19417"/>
                  </a:cubicBezTo>
                  <a:cubicBezTo>
                    <a:pt x="8962" y="17924"/>
                    <a:pt x="29873" y="23898"/>
                    <a:pt x="59746" y="13443"/>
                  </a:cubicBezTo>
                  <a:cubicBezTo>
                    <a:pt x="68707" y="10455"/>
                    <a:pt x="73188" y="5975"/>
                    <a:pt x="71694" y="0"/>
                  </a:cubicBezTo>
                  <a:close/>
                </a:path>
              </a:pathLst>
            </a:custGeom>
            <a:solidFill>
              <a:srgbClr val="1774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6" name="任意多边形: 形状 695"/>
            <p:cNvSpPr/>
            <p:nvPr/>
          </p:nvSpPr>
          <p:spPr>
            <a:xfrm>
              <a:off x="2563127" y="3337257"/>
              <a:ext cx="40900" cy="40900"/>
            </a:xfrm>
            <a:custGeom>
              <a:avLst/>
              <a:gdLst>
                <a:gd name="connsiteX0" fmla="*/ 0 w 44809"/>
                <a:gd name="connsiteY0" fmla="*/ 4949 h 44809"/>
                <a:gd name="connsiteX1" fmla="*/ 22405 w 44809"/>
                <a:gd name="connsiteY1" fmla="*/ 1962 h 44809"/>
                <a:gd name="connsiteX2" fmla="*/ 37341 w 44809"/>
                <a:gd name="connsiteY2" fmla="*/ 19886 h 44809"/>
                <a:gd name="connsiteX3" fmla="*/ 43315 w 44809"/>
                <a:gd name="connsiteY3" fmla="*/ 31835 h 44809"/>
                <a:gd name="connsiteX4" fmla="*/ 55264 w 44809"/>
                <a:gd name="connsiteY4" fmla="*/ 43784 h 44809"/>
                <a:gd name="connsiteX5" fmla="*/ 46303 w 44809"/>
                <a:gd name="connsiteY5" fmla="*/ 49758 h 44809"/>
                <a:gd name="connsiteX6" fmla="*/ 32860 w 44809"/>
                <a:gd name="connsiteY6" fmla="*/ 39303 h 44809"/>
                <a:gd name="connsiteX7" fmla="*/ 19417 w 44809"/>
                <a:gd name="connsiteY7" fmla="*/ 34822 h 44809"/>
                <a:gd name="connsiteX8" fmla="*/ 8962 w 44809"/>
                <a:gd name="connsiteY8" fmla="*/ 21379 h 44809"/>
                <a:gd name="connsiteX9" fmla="*/ 0 w 44809"/>
                <a:gd name="connsiteY9" fmla="*/ 4949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09" h="44809">
                  <a:moveTo>
                    <a:pt x="0" y="4949"/>
                  </a:moveTo>
                  <a:cubicBezTo>
                    <a:pt x="7468" y="-1025"/>
                    <a:pt x="14936" y="-1025"/>
                    <a:pt x="22405" y="1962"/>
                  </a:cubicBezTo>
                  <a:cubicBezTo>
                    <a:pt x="29873" y="4949"/>
                    <a:pt x="34354" y="12418"/>
                    <a:pt x="37341" y="19886"/>
                  </a:cubicBezTo>
                  <a:cubicBezTo>
                    <a:pt x="38835" y="24367"/>
                    <a:pt x="40328" y="28848"/>
                    <a:pt x="43315" y="31835"/>
                  </a:cubicBezTo>
                  <a:cubicBezTo>
                    <a:pt x="46303" y="36316"/>
                    <a:pt x="53771" y="37809"/>
                    <a:pt x="55264" y="43784"/>
                  </a:cubicBezTo>
                  <a:cubicBezTo>
                    <a:pt x="56758" y="49758"/>
                    <a:pt x="50783" y="52746"/>
                    <a:pt x="46303" y="49758"/>
                  </a:cubicBezTo>
                  <a:cubicBezTo>
                    <a:pt x="35847" y="45277"/>
                    <a:pt x="34354" y="40797"/>
                    <a:pt x="32860" y="39303"/>
                  </a:cubicBezTo>
                  <a:cubicBezTo>
                    <a:pt x="29873" y="36316"/>
                    <a:pt x="23898" y="37809"/>
                    <a:pt x="19417" y="34822"/>
                  </a:cubicBezTo>
                  <a:cubicBezTo>
                    <a:pt x="14936" y="31835"/>
                    <a:pt x="10455" y="25860"/>
                    <a:pt x="8962" y="21379"/>
                  </a:cubicBezTo>
                  <a:lnTo>
                    <a:pt x="0" y="4949"/>
                  </a:ln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7" name="任意多边形: 形状 696"/>
            <p:cNvSpPr/>
            <p:nvPr/>
          </p:nvSpPr>
          <p:spPr>
            <a:xfrm>
              <a:off x="2552486" y="3339047"/>
              <a:ext cx="40900" cy="68168"/>
            </a:xfrm>
            <a:custGeom>
              <a:avLst/>
              <a:gdLst>
                <a:gd name="connsiteX0" fmla="*/ 20620 w 44809"/>
                <a:gd name="connsiteY0" fmla="*/ 70201 h 74681"/>
                <a:gd name="connsiteX1" fmla="*/ 31075 w 44809"/>
                <a:gd name="connsiteY1" fmla="*/ 80656 h 74681"/>
                <a:gd name="connsiteX2" fmla="*/ 43024 w 44809"/>
                <a:gd name="connsiteY2" fmla="*/ 83644 h 74681"/>
                <a:gd name="connsiteX3" fmla="*/ 53480 w 44809"/>
                <a:gd name="connsiteY3" fmla="*/ 74682 h 74681"/>
                <a:gd name="connsiteX4" fmla="*/ 53480 w 44809"/>
                <a:gd name="connsiteY4" fmla="*/ 62733 h 74681"/>
                <a:gd name="connsiteX5" fmla="*/ 50492 w 44809"/>
                <a:gd name="connsiteY5" fmla="*/ 46303 h 74681"/>
                <a:gd name="connsiteX6" fmla="*/ 44518 w 44809"/>
                <a:gd name="connsiteY6" fmla="*/ 31366 h 74681"/>
                <a:gd name="connsiteX7" fmla="*/ 16139 w 44809"/>
                <a:gd name="connsiteY7" fmla="*/ 0 h 74681"/>
                <a:gd name="connsiteX8" fmla="*/ 1202 w 44809"/>
                <a:gd name="connsiteY8" fmla="*/ 17924 h 74681"/>
                <a:gd name="connsiteX9" fmla="*/ 5683 w 44809"/>
                <a:gd name="connsiteY9" fmla="*/ 40328 h 74681"/>
                <a:gd name="connsiteX10" fmla="*/ 10164 w 44809"/>
                <a:gd name="connsiteY10" fmla="*/ 59745 h 74681"/>
                <a:gd name="connsiteX11" fmla="*/ 20620 w 44809"/>
                <a:gd name="connsiteY11" fmla="*/ 7020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809" h="74681">
                  <a:moveTo>
                    <a:pt x="20620" y="70201"/>
                  </a:moveTo>
                  <a:cubicBezTo>
                    <a:pt x="20620" y="77669"/>
                    <a:pt x="26594" y="83644"/>
                    <a:pt x="31075" y="80656"/>
                  </a:cubicBezTo>
                  <a:cubicBezTo>
                    <a:pt x="32569" y="85137"/>
                    <a:pt x="40037" y="89618"/>
                    <a:pt x="43024" y="83644"/>
                  </a:cubicBezTo>
                  <a:cubicBezTo>
                    <a:pt x="47505" y="86631"/>
                    <a:pt x="53480" y="79163"/>
                    <a:pt x="53480" y="74682"/>
                  </a:cubicBezTo>
                  <a:cubicBezTo>
                    <a:pt x="53480" y="65720"/>
                    <a:pt x="53480" y="65720"/>
                    <a:pt x="53480" y="62733"/>
                  </a:cubicBezTo>
                  <a:cubicBezTo>
                    <a:pt x="53480" y="56758"/>
                    <a:pt x="51986" y="50783"/>
                    <a:pt x="50492" y="46303"/>
                  </a:cubicBezTo>
                  <a:cubicBezTo>
                    <a:pt x="48999" y="40328"/>
                    <a:pt x="47505" y="35847"/>
                    <a:pt x="44518" y="31366"/>
                  </a:cubicBezTo>
                  <a:cubicBezTo>
                    <a:pt x="35556" y="19417"/>
                    <a:pt x="29581" y="5974"/>
                    <a:pt x="16139" y="0"/>
                  </a:cubicBezTo>
                  <a:cubicBezTo>
                    <a:pt x="10164" y="2987"/>
                    <a:pt x="4190" y="5974"/>
                    <a:pt x="1202" y="17924"/>
                  </a:cubicBezTo>
                  <a:cubicBezTo>
                    <a:pt x="-1785" y="26885"/>
                    <a:pt x="1202" y="32860"/>
                    <a:pt x="5683" y="40328"/>
                  </a:cubicBezTo>
                  <a:cubicBezTo>
                    <a:pt x="10164" y="47796"/>
                    <a:pt x="10164" y="50783"/>
                    <a:pt x="10164" y="59745"/>
                  </a:cubicBezTo>
                  <a:cubicBezTo>
                    <a:pt x="11658" y="70201"/>
                    <a:pt x="19126" y="73188"/>
                    <a:pt x="20620" y="70201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8" name="任意多边形: 形状 697"/>
            <p:cNvSpPr/>
            <p:nvPr/>
          </p:nvSpPr>
          <p:spPr>
            <a:xfrm>
              <a:off x="2505534" y="3206471"/>
              <a:ext cx="68168" cy="136334"/>
            </a:xfrm>
            <a:custGeom>
              <a:avLst/>
              <a:gdLst>
                <a:gd name="connsiteX0" fmla="*/ 84007 w 74681"/>
                <a:gd name="connsiteY0" fmla="*/ 128816 h 149363"/>
                <a:gd name="connsiteX1" fmla="*/ 88488 w 74681"/>
                <a:gd name="connsiteY1" fmla="*/ 151220 h 149363"/>
                <a:gd name="connsiteX2" fmla="*/ 55628 w 74681"/>
                <a:gd name="connsiteY2" fmla="*/ 160182 h 149363"/>
                <a:gd name="connsiteX3" fmla="*/ 48160 w 74681"/>
                <a:gd name="connsiteY3" fmla="*/ 142259 h 149363"/>
                <a:gd name="connsiteX4" fmla="*/ 1857 w 74681"/>
                <a:gd name="connsiteY4" fmla="*/ 40692 h 149363"/>
                <a:gd name="connsiteX5" fmla="*/ 21274 w 74681"/>
                <a:gd name="connsiteY5" fmla="*/ 1857 h 149363"/>
                <a:gd name="connsiteX6" fmla="*/ 21274 w 74681"/>
                <a:gd name="connsiteY6" fmla="*/ 1857 h 149363"/>
                <a:gd name="connsiteX7" fmla="*/ 60109 w 74681"/>
                <a:gd name="connsiteY7" fmla="*/ 21274 h 149363"/>
                <a:gd name="connsiteX8" fmla="*/ 84007 w 74681"/>
                <a:gd name="connsiteY8" fmla="*/ 128816 h 14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681" h="149363">
                  <a:moveTo>
                    <a:pt x="84007" y="128816"/>
                  </a:moveTo>
                  <a:cubicBezTo>
                    <a:pt x="88488" y="139272"/>
                    <a:pt x="89982" y="146740"/>
                    <a:pt x="88488" y="151220"/>
                  </a:cubicBezTo>
                  <a:cubicBezTo>
                    <a:pt x="86994" y="157195"/>
                    <a:pt x="58615" y="166157"/>
                    <a:pt x="55628" y="160182"/>
                  </a:cubicBezTo>
                  <a:cubicBezTo>
                    <a:pt x="52641" y="155701"/>
                    <a:pt x="49654" y="149727"/>
                    <a:pt x="48160" y="142259"/>
                  </a:cubicBezTo>
                  <a:lnTo>
                    <a:pt x="1857" y="40692"/>
                  </a:lnTo>
                  <a:cubicBezTo>
                    <a:pt x="-4117" y="24262"/>
                    <a:pt x="4844" y="7832"/>
                    <a:pt x="21274" y="1857"/>
                  </a:cubicBezTo>
                  <a:lnTo>
                    <a:pt x="21274" y="1857"/>
                  </a:lnTo>
                  <a:cubicBezTo>
                    <a:pt x="37704" y="-4117"/>
                    <a:pt x="54134" y="4844"/>
                    <a:pt x="60109" y="21274"/>
                  </a:cubicBezTo>
                  <a:lnTo>
                    <a:pt x="84007" y="128816"/>
                  </a:ln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9" name="任意多边形: 形状 698"/>
            <p:cNvSpPr/>
            <p:nvPr/>
          </p:nvSpPr>
          <p:spPr>
            <a:xfrm>
              <a:off x="2517455" y="3683634"/>
              <a:ext cx="81801" cy="40900"/>
            </a:xfrm>
            <a:custGeom>
              <a:avLst/>
              <a:gdLst>
                <a:gd name="connsiteX0" fmla="*/ 6721 w 89618"/>
                <a:gd name="connsiteY0" fmla="*/ 3361 h 44809"/>
                <a:gd name="connsiteX1" fmla="*/ 6721 w 89618"/>
                <a:gd name="connsiteY1" fmla="*/ 21284 h 44809"/>
                <a:gd name="connsiteX2" fmla="*/ 56011 w 89618"/>
                <a:gd name="connsiteY2" fmla="*/ 49663 h 44809"/>
                <a:gd name="connsiteX3" fmla="*/ 87378 w 89618"/>
                <a:gd name="connsiteY3" fmla="*/ 49663 h 44809"/>
                <a:gd name="connsiteX4" fmla="*/ 87378 w 89618"/>
                <a:gd name="connsiteY4" fmla="*/ 49663 h 44809"/>
                <a:gd name="connsiteX5" fmla="*/ 87378 w 89618"/>
                <a:gd name="connsiteY5" fmla="*/ 31740 h 44809"/>
                <a:gd name="connsiteX6" fmla="*/ 38088 w 89618"/>
                <a:gd name="connsiteY6" fmla="*/ 3361 h 44809"/>
                <a:gd name="connsiteX7" fmla="*/ 6721 w 89618"/>
                <a:gd name="connsiteY7" fmla="*/ 3361 h 44809"/>
                <a:gd name="connsiteX8" fmla="*/ 6721 w 89618"/>
                <a:gd name="connsiteY8" fmla="*/ 336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3361"/>
                  </a:moveTo>
                  <a:cubicBezTo>
                    <a:pt x="-2240" y="7842"/>
                    <a:pt x="-2240" y="16803"/>
                    <a:pt x="6721" y="21284"/>
                  </a:cubicBezTo>
                  <a:lnTo>
                    <a:pt x="56011" y="49663"/>
                  </a:lnTo>
                  <a:cubicBezTo>
                    <a:pt x="64973" y="54144"/>
                    <a:pt x="78416" y="54144"/>
                    <a:pt x="87378" y="49663"/>
                  </a:cubicBezTo>
                  <a:lnTo>
                    <a:pt x="87378" y="49663"/>
                  </a:lnTo>
                  <a:cubicBezTo>
                    <a:pt x="96339" y="45183"/>
                    <a:pt x="96339" y="36221"/>
                    <a:pt x="87378" y="31740"/>
                  </a:cubicBezTo>
                  <a:lnTo>
                    <a:pt x="38088" y="3361"/>
                  </a:lnTo>
                  <a:cubicBezTo>
                    <a:pt x="29126" y="-1120"/>
                    <a:pt x="14190" y="-1120"/>
                    <a:pt x="6721" y="3361"/>
                  </a:cubicBezTo>
                  <a:lnTo>
                    <a:pt x="6721" y="3361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0" name="任意多边形: 形状 699"/>
            <p:cNvSpPr/>
            <p:nvPr/>
          </p:nvSpPr>
          <p:spPr>
            <a:xfrm>
              <a:off x="2516773" y="3658071"/>
              <a:ext cx="81801" cy="54534"/>
            </a:xfrm>
            <a:custGeom>
              <a:avLst/>
              <a:gdLst>
                <a:gd name="connsiteX0" fmla="*/ 52277 w 89618"/>
                <a:gd name="connsiteY0" fmla="*/ 2987 h 59745"/>
                <a:gd name="connsiteX1" fmla="*/ 16430 w 89618"/>
                <a:gd name="connsiteY1" fmla="*/ 0 h 59745"/>
                <a:gd name="connsiteX2" fmla="*/ 0 w 89618"/>
                <a:gd name="connsiteY2" fmla="*/ 40328 h 59745"/>
                <a:gd name="connsiteX3" fmla="*/ 92605 w 89618"/>
                <a:gd name="connsiteY3" fmla="*/ 70201 h 59745"/>
                <a:gd name="connsiteX4" fmla="*/ 62733 w 89618"/>
                <a:gd name="connsiteY4" fmla="*/ 26885 h 59745"/>
                <a:gd name="connsiteX5" fmla="*/ 52277 w 89618"/>
                <a:gd name="connsiteY5" fmla="*/ 2987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59745">
                  <a:moveTo>
                    <a:pt x="52277" y="2987"/>
                  </a:moveTo>
                  <a:lnTo>
                    <a:pt x="16430" y="0"/>
                  </a:lnTo>
                  <a:cubicBezTo>
                    <a:pt x="8962" y="10456"/>
                    <a:pt x="1493" y="22405"/>
                    <a:pt x="0" y="40328"/>
                  </a:cubicBezTo>
                  <a:lnTo>
                    <a:pt x="92605" y="70201"/>
                  </a:lnTo>
                  <a:cubicBezTo>
                    <a:pt x="95593" y="58252"/>
                    <a:pt x="80656" y="38835"/>
                    <a:pt x="62733" y="26885"/>
                  </a:cubicBezTo>
                  <a:cubicBezTo>
                    <a:pt x="55264" y="20911"/>
                    <a:pt x="59745" y="10456"/>
                    <a:pt x="52277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1" name="任意多边形: 形状 700"/>
            <p:cNvSpPr/>
            <p:nvPr/>
          </p:nvSpPr>
          <p:spPr>
            <a:xfrm>
              <a:off x="2388618" y="3341774"/>
              <a:ext cx="190869" cy="177235"/>
            </a:xfrm>
            <a:custGeom>
              <a:avLst/>
              <a:gdLst>
                <a:gd name="connsiteX0" fmla="*/ 222552 w 209108"/>
                <a:gd name="connsiteY0" fmla="*/ 144882 h 194172"/>
                <a:gd name="connsiteX1" fmla="*/ 188198 w 209108"/>
                <a:gd name="connsiteY1" fmla="*/ 207615 h 194172"/>
                <a:gd name="connsiteX2" fmla="*/ 25392 w 209108"/>
                <a:gd name="connsiteY2" fmla="*/ 98580 h 194172"/>
                <a:gd name="connsiteX3" fmla="*/ 4481 w 209108"/>
                <a:gd name="connsiteY3" fmla="*/ 65720 h 194172"/>
                <a:gd name="connsiteX4" fmla="*/ 0 w 209108"/>
                <a:gd name="connsiteY4" fmla="*/ 35847 h 194172"/>
                <a:gd name="connsiteX5" fmla="*/ 74682 w 209108"/>
                <a:gd name="connsiteY5" fmla="*/ 22405 h 194172"/>
                <a:gd name="connsiteX6" fmla="*/ 137414 w 209108"/>
                <a:gd name="connsiteY6" fmla="*/ 0 h 194172"/>
                <a:gd name="connsiteX7" fmla="*/ 140402 w 209108"/>
                <a:gd name="connsiteY7" fmla="*/ 50784 h 194172"/>
                <a:gd name="connsiteX8" fmla="*/ 222552 w 209108"/>
                <a:gd name="connsiteY8" fmla="*/ 144882 h 194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108" h="194172">
                  <a:moveTo>
                    <a:pt x="222552" y="144882"/>
                  </a:moveTo>
                  <a:lnTo>
                    <a:pt x="188198" y="207615"/>
                  </a:lnTo>
                  <a:lnTo>
                    <a:pt x="25392" y="98580"/>
                  </a:lnTo>
                  <a:cubicBezTo>
                    <a:pt x="13443" y="91112"/>
                    <a:pt x="5975" y="79163"/>
                    <a:pt x="4481" y="65720"/>
                  </a:cubicBezTo>
                  <a:lnTo>
                    <a:pt x="0" y="35847"/>
                  </a:lnTo>
                  <a:lnTo>
                    <a:pt x="74682" y="22405"/>
                  </a:lnTo>
                  <a:lnTo>
                    <a:pt x="137414" y="0"/>
                  </a:lnTo>
                  <a:lnTo>
                    <a:pt x="140402" y="50784"/>
                  </a:lnTo>
                  <a:lnTo>
                    <a:pt x="222552" y="144882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2" name="任意多边形: 形状 701"/>
            <p:cNvSpPr/>
            <p:nvPr/>
          </p:nvSpPr>
          <p:spPr>
            <a:xfrm>
              <a:off x="2513364" y="3643756"/>
              <a:ext cx="68168" cy="40900"/>
            </a:xfrm>
            <a:custGeom>
              <a:avLst/>
              <a:gdLst>
                <a:gd name="connsiteX0" fmla="*/ 64973 w 74681"/>
                <a:gd name="connsiteY0" fmla="*/ 6721 h 44809"/>
                <a:gd name="connsiteX1" fmla="*/ 64973 w 74681"/>
                <a:gd name="connsiteY1" fmla="*/ 38088 h 44809"/>
                <a:gd name="connsiteX2" fmla="*/ 11202 w 74681"/>
                <a:gd name="connsiteY2" fmla="*/ 38088 h 44809"/>
                <a:gd name="connsiteX3" fmla="*/ 11202 w 74681"/>
                <a:gd name="connsiteY3" fmla="*/ 6721 h 44809"/>
                <a:gd name="connsiteX4" fmla="*/ 64973 w 74681"/>
                <a:gd name="connsiteY4" fmla="*/ 672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44809">
                  <a:moveTo>
                    <a:pt x="64973" y="6721"/>
                  </a:moveTo>
                  <a:cubicBezTo>
                    <a:pt x="79909" y="15683"/>
                    <a:pt x="79909" y="29126"/>
                    <a:pt x="64973" y="38088"/>
                  </a:cubicBezTo>
                  <a:cubicBezTo>
                    <a:pt x="50037" y="47050"/>
                    <a:pt x="26139" y="47050"/>
                    <a:pt x="11202" y="38088"/>
                  </a:cubicBezTo>
                  <a:cubicBezTo>
                    <a:pt x="-3734" y="29126"/>
                    <a:pt x="-3734" y="15683"/>
                    <a:pt x="11202" y="6721"/>
                  </a:cubicBezTo>
                  <a:cubicBezTo>
                    <a:pt x="26139" y="-2240"/>
                    <a:pt x="50037" y="-2240"/>
                    <a:pt x="64973" y="672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3" name="任意多边形: 形状 702"/>
            <p:cNvSpPr/>
            <p:nvPr/>
          </p:nvSpPr>
          <p:spPr>
            <a:xfrm>
              <a:off x="2514046" y="3465113"/>
              <a:ext cx="81801" cy="204502"/>
            </a:xfrm>
            <a:custGeom>
              <a:avLst/>
              <a:gdLst>
                <a:gd name="connsiteX0" fmla="*/ 0 w 89618"/>
                <a:gd name="connsiteY0" fmla="*/ 217372 h 224045"/>
                <a:gd name="connsiteX1" fmla="*/ 20911 w 89618"/>
                <a:gd name="connsiteY1" fmla="*/ 29174 h 224045"/>
                <a:gd name="connsiteX2" fmla="*/ 38835 w 89618"/>
                <a:gd name="connsiteY2" fmla="*/ 9756 h 224045"/>
                <a:gd name="connsiteX3" fmla="*/ 71694 w 89618"/>
                <a:gd name="connsiteY3" fmla="*/ 795 h 224045"/>
                <a:gd name="connsiteX4" fmla="*/ 97086 w 89618"/>
                <a:gd name="connsiteY4" fmla="*/ 29174 h 224045"/>
                <a:gd name="connsiteX5" fmla="*/ 76175 w 89618"/>
                <a:gd name="connsiteY5" fmla="*/ 217372 h 224045"/>
                <a:gd name="connsiteX6" fmla="*/ 65720 w 89618"/>
                <a:gd name="connsiteY6" fmla="*/ 226333 h 224045"/>
                <a:gd name="connsiteX7" fmla="*/ 0 w 89618"/>
                <a:gd name="connsiteY7" fmla="*/ 217372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618" h="224045">
                  <a:moveTo>
                    <a:pt x="0" y="217372"/>
                  </a:moveTo>
                  <a:cubicBezTo>
                    <a:pt x="1494" y="160613"/>
                    <a:pt x="16430" y="35148"/>
                    <a:pt x="20911" y="29174"/>
                  </a:cubicBezTo>
                  <a:cubicBezTo>
                    <a:pt x="25392" y="21705"/>
                    <a:pt x="31366" y="14237"/>
                    <a:pt x="38835" y="9756"/>
                  </a:cubicBezTo>
                  <a:cubicBezTo>
                    <a:pt x="49290" y="3782"/>
                    <a:pt x="59745" y="-2193"/>
                    <a:pt x="71694" y="795"/>
                  </a:cubicBezTo>
                  <a:cubicBezTo>
                    <a:pt x="85137" y="3782"/>
                    <a:pt x="95593" y="15731"/>
                    <a:pt x="97086" y="29174"/>
                  </a:cubicBezTo>
                  <a:cubicBezTo>
                    <a:pt x="98580" y="42616"/>
                    <a:pt x="79163" y="209903"/>
                    <a:pt x="76175" y="217372"/>
                  </a:cubicBezTo>
                  <a:cubicBezTo>
                    <a:pt x="73188" y="224840"/>
                    <a:pt x="73188" y="224840"/>
                    <a:pt x="65720" y="226333"/>
                  </a:cubicBezTo>
                  <a:lnTo>
                    <a:pt x="0" y="217372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4" name="任意多边形: 形状 703"/>
            <p:cNvSpPr/>
            <p:nvPr/>
          </p:nvSpPr>
          <p:spPr>
            <a:xfrm>
              <a:off x="2626523" y="3622283"/>
              <a:ext cx="81801" cy="40900"/>
            </a:xfrm>
            <a:custGeom>
              <a:avLst/>
              <a:gdLst>
                <a:gd name="connsiteX0" fmla="*/ 6721 w 89618"/>
                <a:gd name="connsiteY0" fmla="*/ 3361 h 44809"/>
                <a:gd name="connsiteX1" fmla="*/ 6721 w 89618"/>
                <a:gd name="connsiteY1" fmla="*/ 21284 h 44809"/>
                <a:gd name="connsiteX2" fmla="*/ 56011 w 89618"/>
                <a:gd name="connsiteY2" fmla="*/ 49663 h 44809"/>
                <a:gd name="connsiteX3" fmla="*/ 87378 w 89618"/>
                <a:gd name="connsiteY3" fmla="*/ 49663 h 44809"/>
                <a:gd name="connsiteX4" fmla="*/ 87378 w 89618"/>
                <a:gd name="connsiteY4" fmla="*/ 49663 h 44809"/>
                <a:gd name="connsiteX5" fmla="*/ 87378 w 89618"/>
                <a:gd name="connsiteY5" fmla="*/ 31740 h 44809"/>
                <a:gd name="connsiteX6" fmla="*/ 38088 w 89618"/>
                <a:gd name="connsiteY6" fmla="*/ 3361 h 44809"/>
                <a:gd name="connsiteX7" fmla="*/ 6721 w 89618"/>
                <a:gd name="connsiteY7" fmla="*/ 3361 h 44809"/>
                <a:gd name="connsiteX8" fmla="*/ 6721 w 89618"/>
                <a:gd name="connsiteY8" fmla="*/ 3361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44809">
                  <a:moveTo>
                    <a:pt x="6721" y="3361"/>
                  </a:moveTo>
                  <a:cubicBezTo>
                    <a:pt x="-2240" y="7842"/>
                    <a:pt x="-2240" y="16803"/>
                    <a:pt x="6721" y="21284"/>
                  </a:cubicBezTo>
                  <a:lnTo>
                    <a:pt x="56011" y="49663"/>
                  </a:lnTo>
                  <a:cubicBezTo>
                    <a:pt x="64973" y="54144"/>
                    <a:pt x="78416" y="54144"/>
                    <a:pt x="87378" y="49663"/>
                  </a:cubicBezTo>
                  <a:lnTo>
                    <a:pt x="87378" y="49663"/>
                  </a:lnTo>
                  <a:cubicBezTo>
                    <a:pt x="96339" y="45183"/>
                    <a:pt x="96339" y="36221"/>
                    <a:pt x="87378" y="31740"/>
                  </a:cubicBezTo>
                  <a:lnTo>
                    <a:pt x="38088" y="3361"/>
                  </a:lnTo>
                  <a:cubicBezTo>
                    <a:pt x="29126" y="-1120"/>
                    <a:pt x="14190" y="-1120"/>
                    <a:pt x="6721" y="3361"/>
                  </a:cubicBezTo>
                  <a:lnTo>
                    <a:pt x="6721" y="3361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5" name="任意多边形: 形状 704"/>
            <p:cNvSpPr/>
            <p:nvPr/>
          </p:nvSpPr>
          <p:spPr>
            <a:xfrm>
              <a:off x="2627204" y="3596720"/>
              <a:ext cx="81801" cy="54534"/>
            </a:xfrm>
            <a:custGeom>
              <a:avLst/>
              <a:gdLst>
                <a:gd name="connsiteX0" fmla="*/ 52277 w 89618"/>
                <a:gd name="connsiteY0" fmla="*/ 2987 h 59745"/>
                <a:gd name="connsiteX1" fmla="*/ 16430 w 89618"/>
                <a:gd name="connsiteY1" fmla="*/ 0 h 59745"/>
                <a:gd name="connsiteX2" fmla="*/ 0 w 89618"/>
                <a:gd name="connsiteY2" fmla="*/ 40328 h 59745"/>
                <a:gd name="connsiteX3" fmla="*/ 92605 w 89618"/>
                <a:gd name="connsiteY3" fmla="*/ 70201 h 59745"/>
                <a:gd name="connsiteX4" fmla="*/ 62733 w 89618"/>
                <a:gd name="connsiteY4" fmla="*/ 26885 h 59745"/>
                <a:gd name="connsiteX5" fmla="*/ 52277 w 89618"/>
                <a:gd name="connsiteY5" fmla="*/ 2987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18" h="59745">
                  <a:moveTo>
                    <a:pt x="52277" y="2987"/>
                  </a:moveTo>
                  <a:lnTo>
                    <a:pt x="16430" y="0"/>
                  </a:lnTo>
                  <a:cubicBezTo>
                    <a:pt x="8962" y="10456"/>
                    <a:pt x="1494" y="22405"/>
                    <a:pt x="0" y="40328"/>
                  </a:cubicBezTo>
                  <a:lnTo>
                    <a:pt x="92605" y="70201"/>
                  </a:lnTo>
                  <a:cubicBezTo>
                    <a:pt x="95593" y="58252"/>
                    <a:pt x="80656" y="38835"/>
                    <a:pt x="62733" y="26885"/>
                  </a:cubicBezTo>
                  <a:cubicBezTo>
                    <a:pt x="55264" y="22405"/>
                    <a:pt x="58252" y="10456"/>
                    <a:pt x="52277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6" name="任意多边形: 形状 705"/>
            <p:cNvSpPr/>
            <p:nvPr/>
          </p:nvSpPr>
          <p:spPr>
            <a:xfrm>
              <a:off x="2445879" y="3321323"/>
              <a:ext cx="231769" cy="149969"/>
            </a:xfrm>
            <a:custGeom>
              <a:avLst/>
              <a:gdLst>
                <a:gd name="connsiteX0" fmla="*/ 253918 w 253917"/>
                <a:gd name="connsiteY0" fmla="*/ 94099 h 164299"/>
                <a:gd name="connsiteX1" fmla="*/ 230020 w 253917"/>
                <a:gd name="connsiteY1" fmla="*/ 165793 h 164299"/>
                <a:gd name="connsiteX2" fmla="*/ 213590 w 253917"/>
                <a:gd name="connsiteY2" fmla="*/ 159819 h 164299"/>
                <a:gd name="connsiteX3" fmla="*/ 0 w 253917"/>
                <a:gd name="connsiteY3" fmla="*/ 83644 h 164299"/>
                <a:gd name="connsiteX4" fmla="*/ 101567 w 253917"/>
                <a:gd name="connsiteY4" fmla="*/ 0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917" h="164299">
                  <a:moveTo>
                    <a:pt x="253918" y="94099"/>
                  </a:moveTo>
                  <a:lnTo>
                    <a:pt x="230020" y="165793"/>
                  </a:lnTo>
                  <a:lnTo>
                    <a:pt x="213590" y="159819"/>
                  </a:lnTo>
                  <a:lnTo>
                    <a:pt x="0" y="83644"/>
                  </a:lnTo>
                  <a:lnTo>
                    <a:pt x="101567" y="0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7" name="任意多边形: 形状 706"/>
            <p:cNvSpPr/>
            <p:nvPr/>
          </p:nvSpPr>
          <p:spPr>
            <a:xfrm>
              <a:off x="2619705" y="3584790"/>
              <a:ext cx="68168" cy="27267"/>
            </a:xfrm>
            <a:custGeom>
              <a:avLst/>
              <a:gdLst>
                <a:gd name="connsiteX0" fmla="*/ 64973 w 74681"/>
                <a:gd name="connsiteY0" fmla="*/ 5601 h 29872"/>
                <a:gd name="connsiteX1" fmla="*/ 64973 w 74681"/>
                <a:gd name="connsiteY1" fmla="*/ 36968 h 29872"/>
                <a:gd name="connsiteX2" fmla="*/ 11202 w 74681"/>
                <a:gd name="connsiteY2" fmla="*/ 36968 h 29872"/>
                <a:gd name="connsiteX3" fmla="*/ 11202 w 74681"/>
                <a:gd name="connsiteY3" fmla="*/ 5601 h 29872"/>
                <a:gd name="connsiteX4" fmla="*/ 64973 w 74681"/>
                <a:gd name="connsiteY4" fmla="*/ 5601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81" h="29872">
                  <a:moveTo>
                    <a:pt x="64973" y="5601"/>
                  </a:moveTo>
                  <a:cubicBezTo>
                    <a:pt x="79910" y="14563"/>
                    <a:pt x="79910" y="28006"/>
                    <a:pt x="64973" y="36968"/>
                  </a:cubicBezTo>
                  <a:cubicBezTo>
                    <a:pt x="50037" y="45929"/>
                    <a:pt x="26139" y="45929"/>
                    <a:pt x="11202" y="36968"/>
                  </a:cubicBezTo>
                  <a:cubicBezTo>
                    <a:pt x="-3734" y="28006"/>
                    <a:pt x="-3734" y="14563"/>
                    <a:pt x="11202" y="5601"/>
                  </a:cubicBezTo>
                  <a:cubicBezTo>
                    <a:pt x="26139" y="-1867"/>
                    <a:pt x="50037" y="-1867"/>
                    <a:pt x="64973" y="560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8" name="任意多边形: 形状 707"/>
            <p:cNvSpPr/>
            <p:nvPr/>
          </p:nvSpPr>
          <p:spPr>
            <a:xfrm>
              <a:off x="2619644" y="3405641"/>
              <a:ext cx="68168" cy="190869"/>
            </a:xfrm>
            <a:custGeom>
              <a:avLst/>
              <a:gdLst>
                <a:gd name="connsiteX0" fmla="*/ 814 w 74681"/>
                <a:gd name="connsiteY0" fmla="*/ 218301 h 209108"/>
                <a:gd name="connsiteX1" fmla="*/ 6789 w 74681"/>
                <a:gd name="connsiteY1" fmla="*/ 48027 h 209108"/>
                <a:gd name="connsiteX2" fmla="*/ 21725 w 74681"/>
                <a:gd name="connsiteY2" fmla="*/ 12179 h 209108"/>
                <a:gd name="connsiteX3" fmla="*/ 53091 w 74681"/>
                <a:gd name="connsiteY3" fmla="*/ 230 h 209108"/>
                <a:gd name="connsiteX4" fmla="*/ 82964 w 74681"/>
                <a:gd name="connsiteY4" fmla="*/ 37571 h 209108"/>
                <a:gd name="connsiteX5" fmla="*/ 76990 w 74681"/>
                <a:gd name="connsiteY5" fmla="*/ 218301 h 209108"/>
                <a:gd name="connsiteX6" fmla="*/ 54585 w 74681"/>
                <a:gd name="connsiteY6" fmla="*/ 218301 h 209108"/>
                <a:gd name="connsiteX7" fmla="*/ 814 w 74681"/>
                <a:gd name="connsiteY7" fmla="*/ 218301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209108">
                  <a:moveTo>
                    <a:pt x="814" y="218301"/>
                  </a:moveTo>
                  <a:cubicBezTo>
                    <a:pt x="-2173" y="163037"/>
                    <a:pt x="3801" y="54001"/>
                    <a:pt x="6789" y="48027"/>
                  </a:cubicBezTo>
                  <a:cubicBezTo>
                    <a:pt x="9776" y="40559"/>
                    <a:pt x="15750" y="16660"/>
                    <a:pt x="21725" y="12179"/>
                  </a:cubicBezTo>
                  <a:cubicBezTo>
                    <a:pt x="30687" y="4711"/>
                    <a:pt x="41142" y="-1263"/>
                    <a:pt x="53091" y="230"/>
                  </a:cubicBezTo>
                  <a:cubicBezTo>
                    <a:pt x="66534" y="1724"/>
                    <a:pt x="78483" y="10686"/>
                    <a:pt x="82964" y="37571"/>
                  </a:cubicBezTo>
                  <a:cubicBezTo>
                    <a:pt x="84458" y="51014"/>
                    <a:pt x="79977" y="210833"/>
                    <a:pt x="76990" y="218301"/>
                  </a:cubicBezTo>
                  <a:cubicBezTo>
                    <a:pt x="75496" y="225769"/>
                    <a:pt x="63547" y="215314"/>
                    <a:pt x="54585" y="218301"/>
                  </a:cubicBezTo>
                  <a:lnTo>
                    <a:pt x="814" y="218301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9" name="任意多边形: 形状 708"/>
            <p:cNvSpPr/>
            <p:nvPr/>
          </p:nvSpPr>
          <p:spPr>
            <a:xfrm>
              <a:off x="2477649" y="3102238"/>
              <a:ext cx="81801" cy="149969"/>
            </a:xfrm>
            <a:custGeom>
              <a:avLst/>
              <a:gdLst>
                <a:gd name="connsiteX0" fmla="*/ 89165 w 89618"/>
                <a:gd name="connsiteY0" fmla="*/ 136962 h 164299"/>
                <a:gd name="connsiteX1" fmla="*/ 66761 w 89618"/>
                <a:gd name="connsiteY1" fmla="*/ 174302 h 164299"/>
                <a:gd name="connsiteX2" fmla="*/ 66761 w 89618"/>
                <a:gd name="connsiteY2" fmla="*/ 174302 h 164299"/>
                <a:gd name="connsiteX3" fmla="*/ 29420 w 89618"/>
                <a:gd name="connsiteY3" fmla="*/ 151898 h 164299"/>
                <a:gd name="connsiteX4" fmla="*/ 1041 w 89618"/>
                <a:gd name="connsiteY4" fmla="*/ 38382 h 164299"/>
                <a:gd name="connsiteX5" fmla="*/ 23445 w 89618"/>
                <a:gd name="connsiteY5" fmla="*/ 1041 h 164299"/>
                <a:gd name="connsiteX6" fmla="*/ 23445 w 89618"/>
                <a:gd name="connsiteY6" fmla="*/ 1041 h 164299"/>
                <a:gd name="connsiteX7" fmla="*/ 60786 w 89618"/>
                <a:gd name="connsiteY7" fmla="*/ 23445 h 164299"/>
                <a:gd name="connsiteX8" fmla="*/ 89165 w 89618"/>
                <a:gd name="connsiteY8" fmla="*/ 136962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164299">
                  <a:moveTo>
                    <a:pt x="89165" y="136962"/>
                  </a:moveTo>
                  <a:cubicBezTo>
                    <a:pt x="93646" y="153391"/>
                    <a:pt x="83191" y="169821"/>
                    <a:pt x="66761" y="174302"/>
                  </a:cubicBezTo>
                  <a:lnTo>
                    <a:pt x="66761" y="174302"/>
                  </a:lnTo>
                  <a:cubicBezTo>
                    <a:pt x="50331" y="178783"/>
                    <a:pt x="33901" y="168328"/>
                    <a:pt x="29420" y="151898"/>
                  </a:cubicBezTo>
                  <a:lnTo>
                    <a:pt x="1041" y="38382"/>
                  </a:lnTo>
                  <a:cubicBezTo>
                    <a:pt x="-3440" y="21952"/>
                    <a:pt x="7015" y="5522"/>
                    <a:pt x="23445" y="1041"/>
                  </a:cubicBezTo>
                  <a:lnTo>
                    <a:pt x="23445" y="1041"/>
                  </a:lnTo>
                  <a:cubicBezTo>
                    <a:pt x="39875" y="-3440"/>
                    <a:pt x="56305" y="7015"/>
                    <a:pt x="60786" y="23445"/>
                  </a:cubicBezTo>
                  <a:lnTo>
                    <a:pt x="89165" y="136962"/>
                  </a:ln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0" name="任意多边形: 形状 709"/>
            <p:cNvSpPr/>
            <p:nvPr/>
          </p:nvSpPr>
          <p:spPr>
            <a:xfrm>
              <a:off x="2403614" y="3302237"/>
              <a:ext cx="122701" cy="81801"/>
            </a:xfrm>
            <a:custGeom>
              <a:avLst/>
              <a:gdLst>
                <a:gd name="connsiteX0" fmla="*/ 0 w 134427"/>
                <a:gd name="connsiteY0" fmla="*/ 85137 h 89618"/>
                <a:gd name="connsiteX1" fmla="*/ 37341 w 134427"/>
                <a:gd name="connsiteY1" fmla="*/ 89618 h 89618"/>
                <a:gd name="connsiteX2" fmla="*/ 73188 w 134427"/>
                <a:gd name="connsiteY2" fmla="*/ 76175 h 89618"/>
                <a:gd name="connsiteX3" fmla="*/ 126959 w 134427"/>
                <a:gd name="connsiteY3" fmla="*/ 43315 h 89618"/>
                <a:gd name="connsiteX4" fmla="*/ 147870 w 134427"/>
                <a:gd name="connsiteY4" fmla="*/ 22405 h 89618"/>
                <a:gd name="connsiteX5" fmla="*/ 147870 w 134427"/>
                <a:gd name="connsiteY5" fmla="*/ 22405 h 89618"/>
                <a:gd name="connsiteX6" fmla="*/ 144882 w 134427"/>
                <a:gd name="connsiteY6" fmla="*/ 0 h 89618"/>
                <a:gd name="connsiteX7" fmla="*/ 141895 w 134427"/>
                <a:gd name="connsiteY7" fmla="*/ 0 h 89618"/>
                <a:gd name="connsiteX8" fmla="*/ 83643 w 134427"/>
                <a:gd name="connsiteY8" fmla="*/ 41822 h 89618"/>
                <a:gd name="connsiteX9" fmla="*/ 70201 w 134427"/>
                <a:gd name="connsiteY9" fmla="*/ 47796 h 89618"/>
                <a:gd name="connsiteX10" fmla="*/ 5974 w 134427"/>
                <a:gd name="connsiteY10" fmla="*/ 56758 h 89618"/>
                <a:gd name="connsiteX11" fmla="*/ 0 w 134427"/>
                <a:gd name="connsiteY11" fmla="*/ 85137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4427" h="89618">
                  <a:moveTo>
                    <a:pt x="0" y="85137"/>
                  </a:moveTo>
                  <a:cubicBezTo>
                    <a:pt x="10455" y="91112"/>
                    <a:pt x="23898" y="92605"/>
                    <a:pt x="37341" y="89618"/>
                  </a:cubicBezTo>
                  <a:cubicBezTo>
                    <a:pt x="49290" y="86631"/>
                    <a:pt x="61239" y="82150"/>
                    <a:pt x="73188" y="76175"/>
                  </a:cubicBezTo>
                  <a:cubicBezTo>
                    <a:pt x="92605" y="67214"/>
                    <a:pt x="110529" y="55264"/>
                    <a:pt x="126959" y="43315"/>
                  </a:cubicBezTo>
                  <a:cubicBezTo>
                    <a:pt x="134427" y="37341"/>
                    <a:pt x="143389" y="31366"/>
                    <a:pt x="147870" y="22405"/>
                  </a:cubicBezTo>
                  <a:cubicBezTo>
                    <a:pt x="147870" y="22405"/>
                    <a:pt x="147870" y="22405"/>
                    <a:pt x="147870" y="22405"/>
                  </a:cubicBezTo>
                  <a:lnTo>
                    <a:pt x="144882" y="0"/>
                  </a:lnTo>
                  <a:lnTo>
                    <a:pt x="141895" y="0"/>
                  </a:lnTo>
                  <a:cubicBezTo>
                    <a:pt x="123972" y="16430"/>
                    <a:pt x="104554" y="31366"/>
                    <a:pt x="83643" y="41822"/>
                  </a:cubicBezTo>
                  <a:cubicBezTo>
                    <a:pt x="79163" y="44809"/>
                    <a:pt x="74682" y="46303"/>
                    <a:pt x="70201" y="47796"/>
                  </a:cubicBezTo>
                  <a:cubicBezTo>
                    <a:pt x="49290" y="56758"/>
                    <a:pt x="28379" y="61239"/>
                    <a:pt x="5974" y="56758"/>
                  </a:cubicBezTo>
                  <a:cubicBezTo>
                    <a:pt x="2987" y="67214"/>
                    <a:pt x="1493" y="76175"/>
                    <a:pt x="0" y="85137"/>
                  </a:cubicBez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1" name="任意多边形: 形状 710"/>
            <p:cNvSpPr/>
            <p:nvPr/>
          </p:nvSpPr>
          <p:spPr>
            <a:xfrm>
              <a:off x="2376348" y="3094018"/>
              <a:ext cx="149969" cy="272670"/>
            </a:xfrm>
            <a:custGeom>
              <a:avLst/>
              <a:gdLst>
                <a:gd name="connsiteX0" fmla="*/ 177742 w 164299"/>
                <a:gd name="connsiteY0" fmla="*/ 213180 h 298726"/>
                <a:gd name="connsiteX1" fmla="*/ 147870 w 164299"/>
                <a:gd name="connsiteY1" fmla="*/ 263964 h 298726"/>
                <a:gd name="connsiteX2" fmla="*/ 143389 w 164299"/>
                <a:gd name="connsiteY2" fmla="*/ 265458 h 298726"/>
                <a:gd name="connsiteX3" fmla="*/ 128452 w 164299"/>
                <a:gd name="connsiteY3" fmla="*/ 274419 h 298726"/>
                <a:gd name="connsiteX4" fmla="*/ 125465 w 164299"/>
                <a:gd name="connsiteY4" fmla="*/ 275913 h 298726"/>
                <a:gd name="connsiteX5" fmla="*/ 94099 w 164299"/>
                <a:gd name="connsiteY5" fmla="*/ 293837 h 298726"/>
                <a:gd name="connsiteX6" fmla="*/ 92605 w 164299"/>
                <a:gd name="connsiteY6" fmla="*/ 293837 h 298726"/>
                <a:gd name="connsiteX7" fmla="*/ 52277 w 164299"/>
                <a:gd name="connsiteY7" fmla="*/ 299811 h 298726"/>
                <a:gd name="connsiteX8" fmla="*/ 46303 w 164299"/>
                <a:gd name="connsiteY8" fmla="*/ 298318 h 298726"/>
                <a:gd name="connsiteX9" fmla="*/ 4481 w 164299"/>
                <a:gd name="connsiteY9" fmla="*/ 241559 h 298726"/>
                <a:gd name="connsiteX10" fmla="*/ 0 w 164299"/>
                <a:gd name="connsiteY10" fmla="*/ 72779 h 298726"/>
                <a:gd name="connsiteX11" fmla="*/ 61239 w 164299"/>
                <a:gd name="connsiteY11" fmla="*/ 11540 h 298726"/>
                <a:gd name="connsiteX12" fmla="*/ 119491 w 164299"/>
                <a:gd name="connsiteY12" fmla="*/ 4072 h 298726"/>
                <a:gd name="connsiteX13" fmla="*/ 164300 w 164299"/>
                <a:gd name="connsiteY13" fmla="*/ 56349 h 298726"/>
                <a:gd name="connsiteX14" fmla="*/ 165793 w 164299"/>
                <a:gd name="connsiteY14" fmla="*/ 75766 h 298726"/>
                <a:gd name="connsiteX15" fmla="*/ 167287 w 164299"/>
                <a:gd name="connsiteY15" fmla="*/ 101158 h 298726"/>
                <a:gd name="connsiteX16" fmla="*/ 167287 w 164299"/>
                <a:gd name="connsiteY16" fmla="*/ 107132 h 298726"/>
                <a:gd name="connsiteX17" fmla="*/ 173261 w 164299"/>
                <a:gd name="connsiteY17" fmla="*/ 163890 h 298726"/>
                <a:gd name="connsiteX18" fmla="*/ 174755 w 164299"/>
                <a:gd name="connsiteY18" fmla="*/ 193763 h 298726"/>
                <a:gd name="connsiteX19" fmla="*/ 177742 w 164299"/>
                <a:gd name="connsiteY19" fmla="*/ 213180 h 29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4299" h="298726">
                  <a:moveTo>
                    <a:pt x="177742" y="213180"/>
                  </a:moveTo>
                  <a:cubicBezTo>
                    <a:pt x="177742" y="234091"/>
                    <a:pt x="165793" y="253508"/>
                    <a:pt x="147870" y="263964"/>
                  </a:cubicBezTo>
                  <a:lnTo>
                    <a:pt x="143389" y="265458"/>
                  </a:lnTo>
                  <a:lnTo>
                    <a:pt x="128452" y="274419"/>
                  </a:lnTo>
                  <a:lnTo>
                    <a:pt x="125465" y="275913"/>
                  </a:lnTo>
                  <a:lnTo>
                    <a:pt x="94099" y="293837"/>
                  </a:lnTo>
                  <a:cubicBezTo>
                    <a:pt x="94099" y="293837"/>
                    <a:pt x="94099" y="293837"/>
                    <a:pt x="92605" y="293837"/>
                  </a:cubicBezTo>
                  <a:cubicBezTo>
                    <a:pt x="79163" y="301305"/>
                    <a:pt x="65720" y="302798"/>
                    <a:pt x="52277" y="299811"/>
                  </a:cubicBezTo>
                  <a:cubicBezTo>
                    <a:pt x="50783" y="299811"/>
                    <a:pt x="47796" y="298318"/>
                    <a:pt x="46303" y="298318"/>
                  </a:cubicBezTo>
                  <a:cubicBezTo>
                    <a:pt x="22405" y="290849"/>
                    <a:pt x="4481" y="269939"/>
                    <a:pt x="4481" y="241559"/>
                  </a:cubicBezTo>
                  <a:lnTo>
                    <a:pt x="0" y="72779"/>
                  </a:lnTo>
                  <a:cubicBezTo>
                    <a:pt x="13443" y="48881"/>
                    <a:pt x="34354" y="29463"/>
                    <a:pt x="61239" y="11540"/>
                  </a:cubicBezTo>
                  <a:cubicBezTo>
                    <a:pt x="80656" y="-409"/>
                    <a:pt x="101567" y="-3397"/>
                    <a:pt x="119491" y="4072"/>
                  </a:cubicBezTo>
                  <a:cubicBezTo>
                    <a:pt x="141895" y="11540"/>
                    <a:pt x="158325" y="30957"/>
                    <a:pt x="164300" y="56349"/>
                  </a:cubicBezTo>
                  <a:cubicBezTo>
                    <a:pt x="165793" y="62323"/>
                    <a:pt x="165793" y="69791"/>
                    <a:pt x="165793" y="75766"/>
                  </a:cubicBezTo>
                  <a:lnTo>
                    <a:pt x="167287" y="101158"/>
                  </a:lnTo>
                  <a:lnTo>
                    <a:pt x="167287" y="107132"/>
                  </a:lnTo>
                  <a:lnTo>
                    <a:pt x="173261" y="163890"/>
                  </a:lnTo>
                  <a:lnTo>
                    <a:pt x="174755" y="193763"/>
                  </a:lnTo>
                  <a:lnTo>
                    <a:pt x="177742" y="213180"/>
                  </a:ln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2" name="任意多边形: 形状 711"/>
            <p:cNvSpPr/>
            <p:nvPr/>
          </p:nvSpPr>
          <p:spPr>
            <a:xfrm>
              <a:off x="2402252" y="3182262"/>
              <a:ext cx="54534" cy="177235"/>
            </a:xfrm>
            <a:custGeom>
              <a:avLst/>
              <a:gdLst>
                <a:gd name="connsiteX0" fmla="*/ 64226 w 59745"/>
                <a:gd name="connsiteY0" fmla="*/ 198653 h 194172"/>
                <a:gd name="connsiteX1" fmla="*/ 23898 w 59745"/>
                <a:gd name="connsiteY1" fmla="*/ 204628 h 194172"/>
                <a:gd name="connsiteX2" fmla="*/ 17924 w 59745"/>
                <a:gd name="connsiteY2" fmla="*/ 203134 h 194172"/>
                <a:gd name="connsiteX3" fmla="*/ 4481 w 59745"/>
                <a:gd name="connsiteY3" fmla="*/ 137414 h 194172"/>
                <a:gd name="connsiteX4" fmla="*/ 0 w 59745"/>
                <a:gd name="connsiteY4" fmla="*/ 104554 h 194172"/>
                <a:gd name="connsiteX5" fmla="*/ 4481 w 59745"/>
                <a:gd name="connsiteY5" fmla="*/ 64226 h 194172"/>
                <a:gd name="connsiteX6" fmla="*/ 13443 w 59745"/>
                <a:gd name="connsiteY6" fmla="*/ 19417 h 194172"/>
                <a:gd name="connsiteX7" fmla="*/ 20911 w 59745"/>
                <a:gd name="connsiteY7" fmla="*/ 0 h 194172"/>
                <a:gd name="connsiteX8" fmla="*/ 25392 w 59745"/>
                <a:gd name="connsiteY8" fmla="*/ 91112 h 194172"/>
                <a:gd name="connsiteX9" fmla="*/ 26885 w 59745"/>
                <a:gd name="connsiteY9" fmla="*/ 110529 h 194172"/>
                <a:gd name="connsiteX10" fmla="*/ 31366 w 59745"/>
                <a:gd name="connsiteY10" fmla="*/ 132933 h 194172"/>
                <a:gd name="connsiteX11" fmla="*/ 64226 w 59745"/>
                <a:gd name="connsiteY11" fmla="*/ 198653 h 194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745" h="194172">
                  <a:moveTo>
                    <a:pt x="64226" y="198653"/>
                  </a:moveTo>
                  <a:cubicBezTo>
                    <a:pt x="50784" y="206122"/>
                    <a:pt x="37341" y="207615"/>
                    <a:pt x="23898" y="204628"/>
                  </a:cubicBezTo>
                  <a:cubicBezTo>
                    <a:pt x="22405" y="204628"/>
                    <a:pt x="19417" y="203134"/>
                    <a:pt x="17924" y="203134"/>
                  </a:cubicBezTo>
                  <a:cubicBezTo>
                    <a:pt x="13443" y="180730"/>
                    <a:pt x="8962" y="159819"/>
                    <a:pt x="4481" y="137414"/>
                  </a:cubicBezTo>
                  <a:cubicBezTo>
                    <a:pt x="2987" y="126959"/>
                    <a:pt x="0" y="115010"/>
                    <a:pt x="0" y="104554"/>
                  </a:cubicBezTo>
                  <a:cubicBezTo>
                    <a:pt x="0" y="91112"/>
                    <a:pt x="2987" y="77669"/>
                    <a:pt x="4481" y="64226"/>
                  </a:cubicBezTo>
                  <a:cubicBezTo>
                    <a:pt x="7468" y="49290"/>
                    <a:pt x="10455" y="34354"/>
                    <a:pt x="13443" y="19417"/>
                  </a:cubicBezTo>
                  <a:cubicBezTo>
                    <a:pt x="14936" y="13443"/>
                    <a:pt x="16430" y="5974"/>
                    <a:pt x="20911" y="0"/>
                  </a:cubicBezTo>
                  <a:cubicBezTo>
                    <a:pt x="22405" y="31366"/>
                    <a:pt x="23898" y="61239"/>
                    <a:pt x="25392" y="91112"/>
                  </a:cubicBezTo>
                  <a:cubicBezTo>
                    <a:pt x="25392" y="97086"/>
                    <a:pt x="25392" y="104554"/>
                    <a:pt x="26885" y="110529"/>
                  </a:cubicBezTo>
                  <a:cubicBezTo>
                    <a:pt x="28379" y="117997"/>
                    <a:pt x="29873" y="125465"/>
                    <a:pt x="31366" y="132933"/>
                  </a:cubicBezTo>
                  <a:cubicBezTo>
                    <a:pt x="37341" y="153844"/>
                    <a:pt x="43316" y="183717"/>
                    <a:pt x="64226" y="198653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3" name="任意多边形: 形状 712"/>
            <p:cNvSpPr/>
            <p:nvPr/>
          </p:nvSpPr>
          <p:spPr>
            <a:xfrm>
              <a:off x="2482689" y="3167265"/>
              <a:ext cx="13633" cy="13633"/>
            </a:xfrm>
            <a:custGeom>
              <a:avLst/>
              <a:gdLst>
                <a:gd name="connsiteX0" fmla="*/ 8962 w 0"/>
                <a:gd name="connsiteY0" fmla="*/ 2987 h 0"/>
                <a:gd name="connsiteX1" fmla="*/ 4481 w 0"/>
                <a:gd name="connsiteY1" fmla="*/ 10456 h 0"/>
                <a:gd name="connsiteX2" fmla="*/ 0 w 0"/>
                <a:gd name="connsiteY2" fmla="*/ 7468 h 0"/>
                <a:gd name="connsiteX3" fmla="*/ 4481 w 0"/>
                <a:gd name="connsiteY3" fmla="*/ 0 h 0"/>
                <a:gd name="connsiteX4" fmla="*/ 8962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2987"/>
                  </a:moveTo>
                  <a:cubicBezTo>
                    <a:pt x="8962" y="5975"/>
                    <a:pt x="7468" y="8962"/>
                    <a:pt x="4481" y="10456"/>
                  </a:cubicBezTo>
                  <a:cubicBezTo>
                    <a:pt x="1493" y="11949"/>
                    <a:pt x="0" y="10456"/>
                    <a:pt x="0" y="7468"/>
                  </a:cubicBezTo>
                  <a:cubicBezTo>
                    <a:pt x="0" y="4481"/>
                    <a:pt x="1493" y="1494"/>
                    <a:pt x="4481" y="0"/>
                  </a:cubicBezTo>
                  <a:cubicBezTo>
                    <a:pt x="5974" y="0"/>
                    <a:pt x="8962" y="0"/>
                    <a:pt x="8962" y="2987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4" name="任意多边形: 形状 713"/>
            <p:cNvSpPr/>
            <p:nvPr/>
          </p:nvSpPr>
          <p:spPr>
            <a:xfrm>
              <a:off x="2488143" y="3225354"/>
              <a:ext cx="13633" cy="13633"/>
            </a:xfrm>
            <a:custGeom>
              <a:avLst/>
              <a:gdLst>
                <a:gd name="connsiteX0" fmla="*/ 8962 w 0"/>
                <a:gd name="connsiteY0" fmla="*/ 3573 h 0"/>
                <a:gd name="connsiteX1" fmla="*/ 4481 w 0"/>
                <a:gd name="connsiteY1" fmla="*/ 11041 h 0"/>
                <a:gd name="connsiteX2" fmla="*/ 0 w 0"/>
                <a:gd name="connsiteY2" fmla="*/ 8054 h 0"/>
                <a:gd name="connsiteX3" fmla="*/ 4481 w 0"/>
                <a:gd name="connsiteY3" fmla="*/ 586 h 0"/>
                <a:gd name="connsiteX4" fmla="*/ 8962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3573"/>
                  </a:moveTo>
                  <a:cubicBezTo>
                    <a:pt x="8962" y="6561"/>
                    <a:pt x="7468" y="9548"/>
                    <a:pt x="4481" y="11041"/>
                  </a:cubicBezTo>
                  <a:cubicBezTo>
                    <a:pt x="1494" y="12535"/>
                    <a:pt x="0" y="11041"/>
                    <a:pt x="0" y="8054"/>
                  </a:cubicBezTo>
                  <a:cubicBezTo>
                    <a:pt x="0" y="5067"/>
                    <a:pt x="1494" y="2080"/>
                    <a:pt x="4481" y="586"/>
                  </a:cubicBezTo>
                  <a:cubicBezTo>
                    <a:pt x="7468" y="-908"/>
                    <a:pt x="8962" y="586"/>
                    <a:pt x="8962" y="3573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5" name="任意多边形: 形状 714"/>
            <p:cNvSpPr/>
            <p:nvPr/>
          </p:nvSpPr>
          <p:spPr>
            <a:xfrm>
              <a:off x="2492233" y="3279889"/>
              <a:ext cx="13633" cy="13633"/>
            </a:xfrm>
            <a:custGeom>
              <a:avLst/>
              <a:gdLst>
                <a:gd name="connsiteX0" fmla="*/ 8962 w 0"/>
                <a:gd name="connsiteY0" fmla="*/ 3573 h 0"/>
                <a:gd name="connsiteX1" fmla="*/ 4481 w 0"/>
                <a:gd name="connsiteY1" fmla="*/ 11041 h 0"/>
                <a:gd name="connsiteX2" fmla="*/ 0 w 0"/>
                <a:gd name="connsiteY2" fmla="*/ 8054 h 0"/>
                <a:gd name="connsiteX3" fmla="*/ 4481 w 0"/>
                <a:gd name="connsiteY3" fmla="*/ 586 h 0"/>
                <a:gd name="connsiteX4" fmla="*/ 8962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3573"/>
                  </a:moveTo>
                  <a:cubicBezTo>
                    <a:pt x="8962" y="6561"/>
                    <a:pt x="7468" y="9548"/>
                    <a:pt x="4481" y="11041"/>
                  </a:cubicBezTo>
                  <a:cubicBezTo>
                    <a:pt x="1493" y="12535"/>
                    <a:pt x="0" y="11041"/>
                    <a:pt x="0" y="8054"/>
                  </a:cubicBezTo>
                  <a:cubicBezTo>
                    <a:pt x="0" y="5067"/>
                    <a:pt x="1493" y="2080"/>
                    <a:pt x="4481" y="586"/>
                  </a:cubicBezTo>
                  <a:cubicBezTo>
                    <a:pt x="7468" y="-908"/>
                    <a:pt x="8962" y="586"/>
                    <a:pt x="8962" y="3573"/>
                  </a:cubicBez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6" name="任意多边形: 形状 715"/>
            <p:cNvSpPr/>
            <p:nvPr/>
          </p:nvSpPr>
          <p:spPr>
            <a:xfrm>
              <a:off x="2496323" y="3328141"/>
              <a:ext cx="13633" cy="13633"/>
            </a:xfrm>
            <a:custGeom>
              <a:avLst/>
              <a:gdLst>
                <a:gd name="connsiteX0" fmla="*/ 8962 w 0"/>
                <a:gd name="connsiteY0" fmla="*/ 2987 h 0"/>
                <a:gd name="connsiteX1" fmla="*/ 4481 w 0"/>
                <a:gd name="connsiteY1" fmla="*/ 10455 h 0"/>
                <a:gd name="connsiteX2" fmla="*/ 0 w 0"/>
                <a:gd name="connsiteY2" fmla="*/ 7468 h 0"/>
                <a:gd name="connsiteX3" fmla="*/ 4481 w 0"/>
                <a:gd name="connsiteY3" fmla="*/ 0 h 0"/>
                <a:gd name="connsiteX4" fmla="*/ 8962 w 0"/>
                <a:gd name="connsiteY4" fmla="*/ 298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8962" y="2987"/>
                  </a:moveTo>
                  <a:cubicBezTo>
                    <a:pt x="8962" y="5975"/>
                    <a:pt x="7468" y="8962"/>
                    <a:pt x="4481" y="10455"/>
                  </a:cubicBezTo>
                  <a:cubicBezTo>
                    <a:pt x="1493" y="11949"/>
                    <a:pt x="0" y="10455"/>
                    <a:pt x="0" y="7468"/>
                  </a:cubicBezTo>
                  <a:cubicBezTo>
                    <a:pt x="0" y="4481"/>
                    <a:pt x="1493" y="1494"/>
                    <a:pt x="4481" y="0"/>
                  </a:cubicBezTo>
                  <a:cubicBezTo>
                    <a:pt x="7468" y="0"/>
                    <a:pt x="8962" y="0"/>
                    <a:pt x="8962" y="2987"/>
                  </a:cubicBez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7" name="任意多边形: 形状 716"/>
            <p:cNvSpPr/>
            <p:nvPr/>
          </p:nvSpPr>
          <p:spPr>
            <a:xfrm>
              <a:off x="2358509" y="3154880"/>
              <a:ext cx="54534" cy="149969"/>
            </a:xfrm>
            <a:custGeom>
              <a:avLst/>
              <a:gdLst>
                <a:gd name="connsiteX0" fmla="*/ 59871 w 59745"/>
                <a:gd name="connsiteY0" fmla="*/ 149489 h 164299"/>
                <a:gd name="connsiteX1" fmla="*/ 27012 w 59745"/>
                <a:gd name="connsiteY1" fmla="*/ 176375 h 164299"/>
                <a:gd name="connsiteX2" fmla="*/ 27012 w 59745"/>
                <a:gd name="connsiteY2" fmla="*/ 176375 h 164299"/>
                <a:gd name="connsiteX3" fmla="*/ 126 w 59745"/>
                <a:gd name="connsiteY3" fmla="*/ 143515 h 164299"/>
                <a:gd name="connsiteX4" fmla="*/ 10581 w 59745"/>
                <a:gd name="connsiteY4" fmla="*/ 27012 h 164299"/>
                <a:gd name="connsiteX5" fmla="*/ 43441 w 59745"/>
                <a:gd name="connsiteY5" fmla="*/ 126 h 164299"/>
                <a:gd name="connsiteX6" fmla="*/ 43441 w 59745"/>
                <a:gd name="connsiteY6" fmla="*/ 126 h 164299"/>
                <a:gd name="connsiteX7" fmla="*/ 70327 w 59745"/>
                <a:gd name="connsiteY7" fmla="*/ 32986 h 164299"/>
                <a:gd name="connsiteX8" fmla="*/ 59871 w 59745"/>
                <a:gd name="connsiteY8" fmla="*/ 149489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64299">
                  <a:moveTo>
                    <a:pt x="59871" y="149489"/>
                  </a:moveTo>
                  <a:cubicBezTo>
                    <a:pt x="58378" y="165920"/>
                    <a:pt x="43441" y="177868"/>
                    <a:pt x="27012" y="176375"/>
                  </a:cubicBezTo>
                  <a:lnTo>
                    <a:pt x="27012" y="176375"/>
                  </a:lnTo>
                  <a:cubicBezTo>
                    <a:pt x="10581" y="174881"/>
                    <a:pt x="-1368" y="159945"/>
                    <a:pt x="126" y="143515"/>
                  </a:cubicBezTo>
                  <a:lnTo>
                    <a:pt x="10581" y="27012"/>
                  </a:lnTo>
                  <a:cubicBezTo>
                    <a:pt x="12075" y="10581"/>
                    <a:pt x="27012" y="-1368"/>
                    <a:pt x="43441" y="126"/>
                  </a:cubicBezTo>
                  <a:lnTo>
                    <a:pt x="43441" y="126"/>
                  </a:lnTo>
                  <a:cubicBezTo>
                    <a:pt x="59871" y="1620"/>
                    <a:pt x="71821" y="16556"/>
                    <a:pt x="70327" y="32986"/>
                  </a:cubicBezTo>
                  <a:lnTo>
                    <a:pt x="59871" y="149489"/>
                  </a:ln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8" name="任意多边形: 形状 717"/>
            <p:cNvSpPr/>
            <p:nvPr/>
          </p:nvSpPr>
          <p:spPr>
            <a:xfrm>
              <a:off x="2392497" y="3399035"/>
              <a:ext cx="40900" cy="81801"/>
            </a:xfrm>
            <a:custGeom>
              <a:avLst/>
              <a:gdLst>
                <a:gd name="connsiteX0" fmla="*/ 1725 w 44809"/>
                <a:gd name="connsiteY0" fmla="*/ 47796 h 89618"/>
                <a:gd name="connsiteX1" fmla="*/ 4712 w 44809"/>
                <a:gd name="connsiteY1" fmla="*/ 59745 h 89618"/>
                <a:gd name="connsiteX2" fmla="*/ 10686 w 44809"/>
                <a:gd name="connsiteY2" fmla="*/ 65720 h 89618"/>
                <a:gd name="connsiteX3" fmla="*/ 27117 w 44809"/>
                <a:gd name="connsiteY3" fmla="*/ 82150 h 89618"/>
                <a:gd name="connsiteX4" fmla="*/ 31597 w 44809"/>
                <a:gd name="connsiteY4" fmla="*/ 86631 h 89618"/>
                <a:gd name="connsiteX5" fmla="*/ 46534 w 44809"/>
                <a:gd name="connsiteY5" fmla="*/ 91112 h 89618"/>
                <a:gd name="connsiteX6" fmla="*/ 51015 w 44809"/>
                <a:gd name="connsiteY6" fmla="*/ 89618 h 89618"/>
                <a:gd name="connsiteX7" fmla="*/ 52508 w 44809"/>
                <a:gd name="connsiteY7" fmla="*/ 88125 h 89618"/>
                <a:gd name="connsiteX8" fmla="*/ 48027 w 44809"/>
                <a:gd name="connsiteY8" fmla="*/ 77669 h 89618"/>
                <a:gd name="connsiteX9" fmla="*/ 42053 w 44809"/>
                <a:gd name="connsiteY9" fmla="*/ 56758 h 89618"/>
                <a:gd name="connsiteX10" fmla="*/ 40559 w 44809"/>
                <a:gd name="connsiteY10" fmla="*/ 35847 h 89618"/>
                <a:gd name="connsiteX11" fmla="*/ 43546 w 44809"/>
                <a:gd name="connsiteY11" fmla="*/ 50784 h 89618"/>
                <a:gd name="connsiteX12" fmla="*/ 55496 w 44809"/>
                <a:gd name="connsiteY12" fmla="*/ 58252 h 89618"/>
                <a:gd name="connsiteX13" fmla="*/ 56989 w 44809"/>
                <a:gd name="connsiteY13" fmla="*/ 58252 h 89618"/>
                <a:gd name="connsiteX14" fmla="*/ 56989 w 44809"/>
                <a:gd name="connsiteY14" fmla="*/ 56758 h 89618"/>
                <a:gd name="connsiteX15" fmla="*/ 56989 w 44809"/>
                <a:gd name="connsiteY15" fmla="*/ 47796 h 89618"/>
                <a:gd name="connsiteX16" fmla="*/ 54002 w 44809"/>
                <a:gd name="connsiteY16" fmla="*/ 41822 h 89618"/>
                <a:gd name="connsiteX17" fmla="*/ 52508 w 44809"/>
                <a:gd name="connsiteY17" fmla="*/ 34354 h 89618"/>
                <a:gd name="connsiteX18" fmla="*/ 36078 w 44809"/>
                <a:gd name="connsiteY18" fmla="*/ 4481 h 89618"/>
                <a:gd name="connsiteX19" fmla="*/ 30104 w 44809"/>
                <a:gd name="connsiteY19" fmla="*/ 1494 h 89618"/>
                <a:gd name="connsiteX20" fmla="*/ 15167 w 44809"/>
                <a:gd name="connsiteY20" fmla="*/ 0 h 89618"/>
                <a:gd name="connsiteX21" fmla="*/ 12180 w 44809"/>
                <a:gd name="connsiteY21" fmla="*/ 1494 h 89618"/>
                <a:gd name="connsiteX22" fmla="*/ 10686 w 44809"/>
                <a:gd name="connsiteY22" fmla="*/ 2987 h 89618"/>
                <a:gd name="connsiteX23" fmla="*/ 1725 w 44809"/>
                <a:gd name="connsiteY23" fmla="*/ 23898 h 89618"/>
                <a:gd name="connsiteX24" fmla="*/ 1725 w 44809"/>
                <a:gd name="connsiteY24" fmla="*/ 47796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4809" h="89618">
                  <a:moveTo>
                    <a:pt x="1725" y="47796"/>
                  </a:moveTo>
                  <a:cubicBezTo>
                    <a:pt x="1725" y="52277"/>
                    <a:pt x="3218" y="55265"/>
                    <a:pt x="4712" y="59745"/>
                  </a:cubicBezTo>
                  <a:cubicBezTo>
                    <a:pt x="6206" y="62733"/>
                    <a:pt x="7699" y="64226"/>
                    <a:pt x="10686" y="65720"/>
                  </a:cubicBezTo>
                  <a:cubicBezTo>
                    <a:pt x="16661" y="71694"/>
                    <a:pt x="21142" y="76175"/>
                    <a:pt x="27117" y="82150"/>
                  </a:cubicBezTo>
                  <a:cubicBezTo>
                    <a:pt x="28610" y="83644"/>
                    <a:pt x="30104" y="85137"/>
                    <a:pt x="31597" y="86631"/>
                  </a:cubicBezTo>
                  <a:cubicBezTo>
                    <a:pt x="36078" y="89618"/>
                    <a:pt x="40559" y="91112"/>
                    <a:pt x="46534" y="91112"/>
                  </a:cubicBezTo>
                  <a:cubicBezTo>
                    <a:pt x="48027" y="91112"/>
                    <a:pt x="49521" y="91112"/>
                    <a:pt x="51015" y="89618"/>
                  </a:cubicBezTo>
                  <a:cubicBezTo>
                    <a:pt x="51015" y="89618"/>
                    <a:pt x="52508" y="88125"/>
                    <a:pt x="52508" y="88125"/>
                  </a:cubicBezTo>
                  <a:cubicBezTo>
                    <a:pt x="52508" y="83644"/>
                    <a:pt x="51015" y="80656"/>
                    <a:pt x="48027" y="77669"/>
                  </a:cubicBezTo>
                  <a:cubicBezTo>
                    <a:pt x="45040" y="71694"/>
                    <a:pt x="43546" y="64226"/>
                    <a:pt x="42053" y="56758"/>
                  </a:cubicBezTo>
                  <a:cubicBezTo>
                    <a:pt x="40559" y="49290"/>
                    <a:pt x="40559" y="41822"/>
                    <a:pt x="40559" y="35847"/>
                  </a:cubicBezTo>
                  <a:cubicBezTo>
                    <a:pt x="40559" y="40328"/>
                    <a:pt x="42053" y="46303"/>
                    <a:pt x="43546" y="50784"/>
                  </a:cubicBezTo>
                  <a:cubicBezTo>
                    <a:pt x="46534" y="55265"/>
                    <a:pt x="51015" y="58252"/>
                    <a:pt x="55496" y="58252"/>
                  </a:cubicBezTo>
                  <a:cubicBezTo>
                    <a:pt x="55496" y="58252"/>
                    <a:pt x="56989" y="58252"/>
                    <a:pt x="56989" y="58252"/>
                  </a:cubicBezTo>
                  <a:cubicBezTo>
                    <a:pt x="56989" y="58252"/>
                    <a:pt x="56989" y="58252"/>
                    <a:pt x="56989" y="56758"/>
                  </a:cubicBezTo>
                  <a:cubicBezTo>
                    <a:pt x="58483" y="53771"/>
                    <a:pt x="58483" y="50784"/>
                    <a:pt x="56989" y="47796"/>
                  </a:cubicBezTo>
                  <a:cubicBezTo>
                    <a:pt x="55496" y="46303"/>
                    <a:pt x="54002" y="44809"/>
                    <a:pt x="54002" y="41822"/>
                  </a:cubicBezTo>
                  <a:cubicBezTo>
                    <a:pt x="52508" y="38835"/>
                    <a:pt x="52508" y="35847"/>
                    <a:pt x="52508" y="34354"/>
                  </a:cubicBezTo>
                  <a:cubicBezTo>
                    <a:pt x="51015" y="22405"/>
                    <a:pt x="45040" y="11949"/>
                    <a:pt x="36078" y="4481"/>
                  </a:cubicBezTo>
                  <a:cubicBezTo>
                    <a:pt x="34585" y="2987"/>
                    <a:pt x="33091" y="1494"/>
                    <a:pt x="30104" y="1494"/>
                  </a:cubicBezTo>
                  <a:cubicBezTo>
                    <a:pt x="25623" y="0"/>
                    <a:pt x="19648" y="0"/>
                    <a:pt x="15167" y="0"/>
                  </a:cubicBezTo>
                  <a:cubicBezTo>
                    <a:pt x="13674" y="0"/>
                    <a:pt x="12180" y="0"/>
                    <a:pt x="12180" y="1494"/>
                  </a:cubicBezTo>
                  <a:cubicBezTo>
                    <a:pt x="10686" y="1494"/>
                    <a:pt x="10686" y="2987"/>
                    <a:pt x="10686" y="2987"/>
                  </a:cubicBezTo>
                  <a:cubicBezTo>
                    <a:pt x="6206" y="8962"/>
                    <a:pt x="3218" y="16430"/>
                    <a:pt x="1725" y="23898"/>
                  </a:cubicBezTo>
                  <a:cubicBezTo>
                    <a:pt x="-1263" y="32860"/>
                    <a:pt x="231" y="40328"/>
                    <a:pt x="1725" y="47796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9" name="任意多边形: 形状 718"/>
            <p:cNvSpPr/>
            <p:nvPr/>
          </p:nvSpPr>
          <p:spPr>
            <a:xfrm>
              <a:off x="2358160" y="3262236"/>
              <a:ext cx="54534" cy="149969"/>
            </a:xfrm>
            <a:custGeom>
              <a:avLst/>
              <a:gdLst>
                <a:gd name="connsiteX0" fmla="*/ 70709 w 59745"/>
                <a:gd name="connsiteY0" fmla="*/ 134936 h 164299"/>
                <a:gd name="connsiteX1" fmla="*/ 72203 w 59745"/>
                <a:gd name="connsiteY1" fmla="*/ 157340 h 164299"/>
                <a:gd name="connsiteX2" fmla="*/ 37849 w 59745"/>
                <a:gd name="connsiteY2" fmla="*/ 161821 h 164299"/>
                <a:gd name="connsiteX3" fmla="*/ 31875 w 59745"/>
                <a:gd name="connsiteY3" fmla="*/ 142404 h 164299"/>
                <a:gd name="connsiteX4" fmla="*/ 509 w 59745"/>
                <a:gd name="connsiteY4" fmla="*/ 36356 h 164299"/>
                <a:gd name="connsiteX5" fmla="*/ 24407 w 59745"/>
                <a:gd name="connsiteY5" fmla="*/ 509 h 164299"/>
                <a:gd name="connsiteX6" fmla="*/ 24407 w 59745"/>
                <a:gd name="connsiteY6" fmla="*/ 509 h 164299"/>
                <a:gd name="connsiteX7" fmla="*/ 60254 w 59745"/>
                <a:gd name="connsiteY7" fmla="*/ 24407 h 164299"/>
                <a:gd name="connsiteX8" fmla="*/ 70709 w 59745"/>
                <a:gd name="connsiteY8" fmla="*/ 134936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64299">
                  <a:moveTo>
                    <a:pt x="70709" y="134936"/>
                  </a:moveTo>
                  <a:cubicBezTo>
                    <a:pt x="73697" y="145391"/>
                    <a:pt x="73697" y="152859"/>
                    <a:pt x="72203" y="157340"/>
                  </a:cubicBezTo>
                  <a:cubicBezTo>
                    <a:pt x="70709" y="163315"/>
                    <a:pt x="40837" y="167796"/>
                    <a:pt x="37849" y="161821"/>
                  </a:cubicBezTo>
                  <a:cubicBezTo>
                    <a:pt x="34862" y="157340"/>
                    <a:pt x="33369" y="149872"/>
                    <a:pt x="31875" y="142404"/>
                  </a:cubicBezTo>
                  <a:lnTo>
                    <a:pt x="509" y="36356"/>
                  </a:lnTo>
                  <a:cubicBezTo>
                    <a:pt x="-2479" y="19926"/>
                    <a:pt x="7977" y="3496"/>
                    <a:pt x="24407" y="509"/>
                  </a:cubicBezTo>
                  <a:lnTo>
                    <a:pt x="24407" y="509"/>
                  </a:lnTo>
                  <a:cubicBezTo>
                    <a:pt x="40837" y="-2479"/>
                    <a:pt x="57267" y="7977"/>
                    <a:pt x="60254" y="24407"/>
                  </a:cubicBezTo>
                  <a:lnTo>
                    <a:pt x="70709" y="134936"/>
                  </a:lnTo>
                  <a:close/>
                </a:path>
              </a:pathLst>
            </a:custGeom>
            <a:solidFill>
              <a:srgbClr val="1B89B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0" name="任意多边形: 形状 719"/>
            <p:cNvSpPr/>
            <p:nvPr/>
          </p:nvSpPr>
          <p:spPr>
            <a:xfrm>
              <a:off x="2474509" y="3131818"/>
              <a:ext cx="13633" cy="13633"/>
            </a:xfrm>
            <a:custGeom>
              <a:avLst/>
              <a:gdLst>
                <a:gd name="connsiteX0" fmla="*/ 17924 w 14936"/>
                <a:gd name="connsiteY0" fmla="*/ 22405 h 14936"/>
                <a:gd name="connsiteX1" fmla="*/ 7468 w 14936"/>
                <a:gd name="connsiteY1" fmla="*/ 28379 h 14936"/>
                <a:gd name="connsiteX2" fmla="*/ 0 w 14936"/>
                <a:gd name="connsiteY2" fmla="*/ 5974 h 14936"/>
                <a:gd name="connsiteX3" fmla="*/ 17924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7924" y="22405"/>
                  </a:moveTo>
                  <a:lnTo>
                    <a:pt x="7468" y="28379"/>
                  </a:lnTo>
                  <a:lnTo>
                    <a:pt x="0" y="5974"/>
                  </a:lnTo>
                  <a:lnTo>
                    <a:pt x="17924" y="0"/>
                  </a:lnTo>
                  <a:close/>
                </a:path>
              </a:pathLst>
            </a:custGeom>
            <a:solidFill>
              <a:srgbClr val="242423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1" name="任意多边形: 形状 720"/>
            <p:cNvSpPr/>
            <p:nvPr/>
          </p:nvSpPr>
          <p:spPr>
            <a:xfrm>
              <a:off x="2481325" y="3152269"/>
              <a:ext cx="13633" cy="122701"/>
            </a:xfrm>
            <a:custGeom>
              <a:avLst/>
              <a:gdLst>
                <a:gd name="connsiteX0" fmla="*/ 1494 w 14936"/>
                <a:gd name="connsiteY0" fmla="*/ 123972 h 134427"/>
                <a:gd name="connsiteX1" fmla="*/ 0 w 14936"/>
                <a:gd name="connsiteY1" fmla="*/ 5974 h 134427"/>
                <a:gd name="connsiteX2" fmla="*/ 10455 w 14936"/>
                <a:gd name="connsiteY2" fmla="*/ 0 h 134427"/>
                <a:gd name="connsiteX3" fmla="*/ 25392 w 14936"/>
                <a:gd name="connsiteY3" fmla="*/ 112023 h 134427"/>
                <a:gd name="connsiteX4" fmla="*/ 16430 w 14936"/>
                <a:gd name="connsiteY4" fmla="*/ 134427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34427">
                  <a:moveTo>
                    <a:pt x="1494" y="123972"/>
                  </a:moveTo>
                  <a:lnTo>
                    <a:pt x="0" y="5974"/>
                  </a:lnTo>
                  <a:lnTo>
                    <a:pt x="10455" y="0"/>
                  </a:lnTo>
                  <a:lnTo>
                    <a:pt x="25392" y="112023"/>
                  </a:lnTo>
                  <a:lnTo>
                    <a:pt x="16430" y="134427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2" name="任意多边形: 形状 721"/>
            <p:cNvSpPr/>
            <p:nvPr/>
          </p:nvSpPr>
          <p:spPr>
            <a:xfrm>
              <a:off x="2423043" y="3096371"/>
              <a:ext cx="68168" cy="68168"/>
            </a:xfrm>
            <a:custGeom>
              <a:avLst/>
              <a:gdLst>
                <a:gd name="connsiteX0" fmla="*/ 14563 w 74681"/>
                <a:gd name="connsiteY0" fmla="*/ 4481 h 74681"/>
                <a:gd name="connsiteX1" fmla="*/ 1120 w 74681"/>
                <a:gd name="connsiteY1" fmla="*/ 22405 h 74681"/>
                <a:gd name="connsiteX2" fmla="*/ 1120 w 74681"/>
                <a:gd name="connsiteY2" fmla="*/ 31366 h 74681"/>
                <a:gd name="connsiteX3" fmla="*/ 16057 w 74681"/>
                <a:gd name="connsiteY3" fmla="*/ 52277 h 74681"/>
                <a:gd name="connsiteX4" fmla="*/ 50410 w 74681"/>
                <a:gd name="connsiteY4" fmla="*/ 77669 h 74681"/>
                <a:gd name="connsiteX5" fmla="*/ 66840 w 74681"/>
                <a:gd name="connsiteY5" fmla="*/ 43316 h 74681"/>
                <a:gd name="connsiteX6" fmla="*/ 86257 w 74681"/>
                <a:gd name="connsiteY6" fmla="*/ 61239 h 74681"/>
                <a:gd name="connsiteX7" fmla="*/ 86257 w 74681"/>
                <a:gd name="connsiteY7" fmla="*/ 31366 h 74681"/>
                <a:gd name="connsiteX8" fmla="*/ 71321 w 74681"/>
                <a:gd name="connsiteY8" fmla="*/ 5975 h 74681"/>
                <a:gd name="connsiteX9" fmla="*/ 45929 w 74681"/>
                <a:gd name="connsiteY9" fmla="*/ 0 h 74681"/>
                <a:gd name="connsiteX10" fmla="*/ 20538 w 74681"/>
                <a:gd name="connsiteY10" fmla="*/ 5975 h 74681"/>
                <a:gd name="connsiteX11" fmla="*/ 14563 w 74681"/>
                <a:gd name="connsiteY11" fmla="*/ 448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74681">
                  <a:moveTo>
                    <a:pt x="14563" y="4481"/>
                  </a:moveTo>
                  <a:cubicBezTo>
                    <a:pt x="11576" y="10455"/>
                    <a:pt x="4108" y="17924"/>
                    <a:pt x="1120" y="22405"/>
                  </a:cubicBezTo>
                  <a:cubicBezTo>
                    <a:pt x="-373" y="25392"/>
                    <a:pt x="-373" y="28379"/>
                    <a:pt x="1120" y="31366"/>
                  </a:cubicBezTo>
                  <a:cubicBezTo>
                    <a:pt x="4108" y="40328"/>
                    <a:pt x="8588" y="46303"/>
                    <a:pt x="16057" y="52277"/>
                  </a:cubicBezTo>
                  <a:cubicBezTo>
                    <a:pt x="26512" y="61239"/>
                    <a:pt x="38461" y="70201"/>
                    <a:pt x="50410" y="77669"/>
                  </a:cubicBezTo>
                  <a:cubicBezTo>
                    <a:pt x="56385" y="67214"/>
                    <a:pt x="62359" y="55264"/>
                    <a:pt x="66840" y="43316"/>
                  </a:cubicBezTo>
                  <a:cubicBezTo>
                    <a:pt x="72815" y="49290"/>
                    <a:pt x="78789" y="55264"/>
                    <a:pt x="86257" y="61239"/>
                  </a:cubicBezTo>
                  <a:cubicBezTo>
                    <a:pt x="87751" y="50784"/>
                    <a:pt x="87751" y="41822"/>
                    <a:pt x="86257" y="31366"/>
                  </a:cubicBezTo>
                  <a:cubicBezTo>
                    <a:pt x="84764" y="20911"/>
                    <a:pt x="78789" y="11949"/>
                    <a:pt x="71321" y="5975"/>
                  </a:cubicBezTo>
                  <a:cubicBezTo>
                    <a:pt x="63853" y="1494"/>
                    <a:pt x="54891" y="0"/>
                    <a:pt x="45929" y="0"/>
                  </a:cubicBezTo>
                  <a:cubicBezTo>
                    <a:pt x="36967" y="0"/>
                    <a:pt x="29499" y="2987"/>
                    <a:pt x="20538" y="5975"/>
                  </a:cubicBezTo>
                  <a:cubicBezTo>
                    <a:pt x="16057" y="5975"/>
                    <a:pt x="16057" y="2987"/>
                    <a:pt x="14563" y="4481"/>
                  </a:cubicBezTo>
                  <a:close/>
                </a:path>
              </a:pathLst>
            </a:custGeom>
            <a:solidFill>
              <a:srgbClr val="167299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3" name="任意多边形: 形状 722"/>
            <p:cNvSpPr/>
            <p:nvPr/>
          </p:nvSpPr>
          <p:spPr>
            <a:xfrm>
              <a:off x="2433608" y="3099950"/>
              <a:ext cx="54534" cy="27267"/>
            </a:xfrm>
            <a:custGeom>
              <a:avLst/>
              <a:gdLst>
                <a:gd name="connsiteX0" fmla="*/ 61239 w 59745"/>
                <a:gd name="connsiteY0" fmla="*/ 22965 h 29872"/>
                <a:gd name="connsiteX1" fmla="*/ 53771 w 59745"/>
                <a:gd name="connsiteY1" fmla="*/ 30433 h 29872"/>
                <a:gd name="connsiteX2" fmla="*/ 8962 w 59745"/>
                <a:gd name="connsiteY2" fmla="*/ 30433 h 29872"/>
                <a:gd name="connsiteX3" fmla="*/ 8962 w 59745"/>
                <a:gd name="connsiteY3" fmla="*/ 5041 h 29872"/>
                <a:gd name="connsiteX4" fmla="*/ 17924 w 59745"/>
                <a:gd name="connsiteY4" fmla="*/ 2054 h 29872"/>
                <a:gd name="connsiteX5" fmla="*/ 23898 w 59745"/>
                <a:gd name="connsiteY5" fmla="*/ 560 h 29872"/>
                <a:gd name="connsiteX6" fmla="*/ 53771 w 59745"/>
                <a:gd name="connsiteY6" fmla="*/ 5041 h 29872"/>
                <a:gd name="connsiteX7" fmla="*/ 62733 w 59745"/>
                <a:gd name="connsiteY7" fmla="*/ 14003 h 29872"/>
                <a:gd name="connsiteX8" fmla="*/ 61239 w 59745"/>
                <a:gd name="connsiteY8" fmla="*/ 22965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9872">
                  <a:moveTo>
                    <a:pt x="61239" y="22965"/>
                  </a:moveTo>
                  <a:cubicBezTo>
                    <a:pt x="59745" y="25952"/>
                    <a:pt x="56758" y="28939"/>
                    <a:pt x="53771" y="30433"/>
                  </a:cubicBezTo>
                  <a:cubicBezTo>
                    <a:pt x="41822" y="37901"/>
                    <a:pt x="20911" y="37901"/>
                    <a:pt x="8962" y="30433"/>
                  </a:cubicBezTo>
                  <a:cubicBezTo>
                    <a:pt x="-2987" y="22965"/>
                    <a:pt x="-2987" y="12509"/>
                    <a:pt x="8962" y="5041"/>
                  </a:cubicBezTo>
                  <a:cubicBezTo>
                    <a:pt x="11949" y="3547"/>
                    <a:pt x="14936" y="2054"/>
                    <a:pt x="17924" y="2054"/>
                  </a:cubicBezTo>
                  <a:cubicBezTo>
                    <a:pt x="19417" y="2054"/>
                    <a:pt x="20911" y="560"/>
                    <a:pt x="23898" y="560"/>
                  </a:cubicBezTo>
                  <a:cubicBezTo>
                    <a:pt x="34354" y="-934"/>
                    <a:pt x="44809" y="560"/>
                    <a:pt x="53771" y="5041"/>
                  </a:cubicBezTo>
                  <a:cubicBezTo>
                    <a:pt x="58252" y="8028"/>
                    <a:pt x="61239" y="11016"/>
                    <a:pt x="62733" y="14003"/>
                  </a:cubicBezTo>
                  <a:cubicBezTo>
                    <a:pt x="62733" y="15496"/>
                    <a:pt x="62733" y="18484"/>
                    <a:pt x="61239" y="22965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4" name="任意多边形: 形状 723"/>
            <p:cNvSpPr/>
            <p:nvPr/>
          </p:nvSpPr>
          <p:spPr>
            <a:xfrm>
              <a:off x="2433608" y="3041838"/>
              <a:ext cx="54534" cy="68168"/>
            </a:xfrm>
            <a:custGeom>
              <a:avLst/>
              <a:gdLst>
                <a:gd name="connsiteX0" fmla="*/ 0 w 59745"/>
                <a:gd name="connsiteY0" fmla="*/ 0 h 74681"/>
                <a:gd name="connsiteX1" fmla="*/ 62733 w 59745"/>
                <a:gd name="connsiteY1" fmla="*/ 0 h 74681"/>
                <a:gd name="connsiteX2" fmla="*/ 62733 w 59745"/>
                <a:gd name="connsiteY2" fmla="*/ 80656 h 74681"/>
                <a:gd name="connsiteX3" fmla="*/ 0 w 59745"/>
                <a:gd name="connsiteY3" fmla="*/ 80656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74681">
                  <a:moveTo>
                    <a:pt x="0" y="0"/>
                  </a:moveTo>
                  <a:lnTo>
                    <a:pt x="62733" y="0"/>
                  </a:lnTo>
                  <a:lnTo>
                    <a:pt x="62733" y="80656"/>
                  </a:lnTo>
                  <a:lnTo>
                    <a:pt x="0" y="80656"/>
                  </a:ln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5" name="任意多边形: 形状 724"/>
            <p:cNvSpPr/>
            <p:nvPr/>
          </p:nvSpPr>
          <p:spPr>
            <a:xfrm>
              <a:off x="2442587" y="2989683"/>
              <a:ext cx="68168" cy="109068"/>
            </a:xfrm>
            <a:custGeom>
              <a:avLst/>
              <a:gdLst>
                <a:gd name="connsiteX0" fmla="*/ 619 w 74681"/>
                <a:gd name="connsiteY0" fmla="*/ 61620 h 119490"/>
                <a:gd name="connsiteX1" fmla="*/ 3606 w 74681"/>
                <a:gd name="connsiteY1" fmla="*/ 88505 h 119490"/>
                <a:gd name="connsiteX2" fmla="*/ 15555 w 74681"/>
                <a:gd name="connsiteY2" fmla="*/ 112403 h 119490"/>
                <a:gd name="connsiteX3" fmla="*/ 51402 w 74681"/>
                <a:gd name="connsiteY3" fmla="*/ 124352 h 119490"/>
                <a:gd name="connsiteX4" fmla="*/ 60364 w 74681"/>
                <a:gd name="connsiteY4" fmla="*/ 121365 h 119490"/>
                <a:gd name="connsiteX5" fmla="*/ 69326 w 74681"/>
                <a:gd name="connsiteY5" fmla="*/ 106429 h 119490"/>
                <a:gd name="connsiteX6" fmla="*/ 75300 w 74681"/>
                <a:gd name="connsiteY6" fmla="*/ 30253 h 119490"/>
                <a:gd name="connsiteX7" fmla="*/ 73807 w 74681"/>
                <a:gd name="connsiteY7" fmla="*/ 19798 h 119490"/>
                <a:gd name="connsiteX8" fmla="*/ 48415 w 74681"/>
                <a:gd name="connsiteY8" fmla="*/ 381 h 119490"/>
                <a:gd name="connsiteX9" fmla="*/ 15555 w 74681"/>
                <a:gd name="connsiteY9" fmla="*/ 7849 h 119490"/>
                <a:gd name="connsiteX10" fmla="*/ 8087 w 74681"/>
                <a:gd name="connsiteY10" fmla="*/ 12330 h 119490"/>
                <a:gd name="connsiteX11" fmla="*/ 2112 w 74681"/>
                <a:gd name="connsiteY11" fmla="*/ 19798 h 119490"/>
                <a:gd name="connsiteX12" fmla="*/ 619 w 74681"/>
                <a:gd name="connsiteY12" fmla="*/ 61620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619" y="61620"/>
                  </a:moveTo>
                  <a:cubicBezTo>
                    <a:pt x="619" y="70582"/>
                    <a:pt x="2112" y="79543"/>
                    <a:pt x="3606" y="88505"/>
                  </a:cubicBezTo>
                  <a:cubicBezTo>
                    <a:pt x="5100" y="97467"/>
                    <a:pt x="9581" y="106429"/>
                    <a:pt x="15555" y="112403"/>
                  </a:cubicBezTo>
                  <a:cubicBezTo>
                    <a:pt x="24517" y="122859"/>
                    <a:pt x="39453" y="127339"/>
                    <a:pt x="51402" y="124352"/>
                  </a:cubicBezTo>
                  <a:cubicBezTo>
                    <a:pt x="54390" y="124352"/>
                    <a:pt x="57377" y="122859"/>
                    <a:pt x="60364" y="121365"/>
                  </a:cubicBezTo>
                  <a:cubicBezTo>
                    <a:pt x="64845" y="118378"/>
                    <a:pt x="67832" y="112403"/>
                    <a:pt x="69326" y="106429"/>
                  </a:cubicBezTo>
                  <a:cubicBezTo>
                    <a:pt x="76794" y="82530"/>
                    <a:pt x="76794" y="55645"/>
                    <a:pt x="75300" y="30253"/>
                  </a:cubicBezTo>
                  <a:cubicBezTo>
                    <a:pt x="75300" y="25773"/>
                    <a:pt x="75300" y="22785"/>
                    <a:pt x="73807" y="19798"/>
                  </a:cubicBezTo>
                  <a:cubicBezTo>
                    <a:pt x="70819" y="9342"/>
                    <a:pt x="58870" y="1874"/>
                    <a:pt x="48415" y="381"/>
                  </a:cubicBezTo>
                  <a:cubicBezTo>
                    <a:pt x="37959" y="-1113"/>
                    <a:pt x="26010" y="1874"/>
                    <a:pt x="15555" y="7849"/>
                  </a:cubicBezTo>
                  <a:cubicBezTo>
                    <a:pt x="12568" y="9342"/>
                    <a:pt x="9581" y="10836"/>
                    <a:pt x="8087" y="12330"/>
                  </a:cubicBezTo>
                  <a:cubicBezTo>
                    <a:pt x="6593" y="13823"/>
                    <a:pt x="5100" y="16811"/>
                    <a:pt x="2112" y="19798"/>
                  </a:cubicBezTo>
                  <a:cubicBezTo>
                    <a:pt x="619" y="19798"/>
                    <a:pt x="-875" y="48177"/>
                    <a:pt x="619" y="6162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6" name="任意多边形: 形状 725"/>
            <p:cNvSpPr/>
            <p:nvPr/>
          </p:nvSpPr>
          <p:spPr>
            <a:xfrm>
              <a:off x="2442587" y="2997863"/>
              <a:ext cx="68168" cy="109068"/>
            </a:xfrm>
            <a:custGeom>
              <a:avLst/>
              <a:gdLst>
                <a:gd name="connsiteX0" fmla="*/ 619 w 74681"/>
                <a:gd name="connsiteY0" fmla="*/ 61620 h 119490"/>
                <a:gd name="connsiteX1" fmla="*/ 3606 w 74681"/>
                <a:gd name="connsiteY1" fmla="*/ 88505 h 119490"/>
                <a:gd name="connsiteX2" fmla="*/ 15555 w 74681"/>
                <a:gd name="connsiteY2" fmla="*/ 112403 h 119490"/>
                <a:gd name="connsiteX3" fmla="*/ 51402 w 74681"/>
                <a:gd name="connsiteY3" fmla="*/ 124352 h 119490"/>
                <a:gd name="connsiteX4" fmla="*/ 60364 w 74681"/>
                <a:gd name="connsiteY4" fmla="*/ 121365 h 119490"/>
                <a:gd name="connsiteX5" fmla="*/ 69326 w 74681"/>
                <a:gd name="connsiteY5" fmla="*/ 106429 h 119490"/>
                <a:gd name="connsiteX6" fmla="*/ 75300 w 74681"/>
                <a:gd name="connsiteY6" fmla="*/ 30253 h 119490"/>
                <a:gd name="connsiteX7" fmla="*/ 73807 w 74681"/>
                <a:gd name="connsiteY7" fmla="*/ 19798 h 119490"/>
                <a:gd name="connsiteX8" fmla="*/ 48415 w 74681"/>
                <a:gd name="connsiteY8" fmla="*/ 381 h 119490"/>
                <a:gd name="connsiteX9" fmla="*/ 15555 w 74681"/>
                <a:gd name="connsiteY9" fmla="*/ 7849 h 119490"/>
                <a:gd name="connsiteX10" fmla="*/ 8087 w 74681"/>
                <a:gd name="connsiteY10" fmla="*/ 12330 h 119490"/>
                <a:gd name="connsiteX11" fmla="*/ 2112 w 74681"/>
                <a:gd name="connsiteY11" fmla="*/ 19798 h 119490"/>
                <a:gd name="connsiteX12" fmla="*/ 619 w 74681"/>
                <a:gd name="connsiteY12" fmla="*/ 61620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619" y="61620"/>
                  </a:moveTo>
                  <a:cubicBezTo>
                    <a:pt x="619" y="70581"/>
                    <a:pt x="2112" y="79543"/>
                    <a:pt x="3606" y="88505"/>
                  </a:cubicBezTo>
                  <a:cubicBezTo>
                    <a:pt x="5100" y="97467"/>
                    <a:pt x="9581" y="106429"/>
                    <a:pt x="15555" y="112403"/>
                  </a:cubicBezTo>
                  <a:cubicBezTo>
                    <a:pt x="24517" y="122859"/>
                    <a:pt x="39453" y="127340"/>
                    <a:pt x="51402" y="124352"/>
                  </a:cubicBezTo>
                  <a:cubicBezTo>
                    <a:pt x="54390" y="124352"/>
                    <a:pt x="57377" y="122859"/>
                    <a:pt x="60364" y="121365"/>
                  </a:cubicBezTo>
                  <a:cubicBezTo>
                    <a:pt x="64845" y="118378"/>
                    <a:pt x="67832" y="112403"/>
                    <a:pt x="69326" y="106429"/>
                  </a:cubicBezTo>
                  <a:cubicBezTo>
                    <a:pt x="76794" y="82531"/>
                    <a:pt x="76794" y="55645"/>
                    <a:pt x="75300" y="30253"/>
                  </a:cubicBezTo>
                  <a:cubicBezTo>
                    <a:pt x="75300" y="25772"/>
                    <a:pt x="75300" y="22785"/>
                    <a:pt x="73807" y="19798"/>
                  </a:cubicBezTo>
                  <a:cubicBezTo>
                    <a:pt x="70819" y="9343"/>
                    <a:pt x="58870" y="1874"/>
                    <a:pt x="48415" y="381"/>
                  </a:cubicBezTo>
                  <a:cubicBezTo>
                    <a:pt x="37959" y="-1113"/>
                    <a:pt x="26010" y="1874"/>
                    <a:pt x="15555" y="7849"/>
                  </a:cubicBezTo>
                  <a:cubicBezTo>
                    <a:pt x="12568" y="9343"/>
                    <a:pt x="9581" y="10836"/>
                    <a:pt x="8087" y="12330"/>
                  </a:cubicBezTo>
                  <a:cubicBezTo>
                    <a:pt x="6593" y="13823"/>
                    <a:pt x="5100" y="16811"/>
                    <a:pt x="2112" y="19798"/>
                  </a:cubicBezTo>
                  <a:cubicBezTo>
                    <a:pt x="619" y="21291"/>
                    <a:pt x="-875" y="48177"/>
                    <a:pt x="619" y="61620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7" name="任意多边形: 形状 726"/>
            <p:cNvSpPr/>
            <p:nvPr/>
          </p:nvSpPr>
          <p:spPr>
            <a:xfrm>
              <a:off x="2443152" y="3048654"/>
              <a:ext cx="40900" cy="68168"/>
            </a:xfrm>
            <a:custGeom>
              <a:avLst/>
              <a:gdLst>
                <a:gd name="connsiteX0" fmla="*/ 50784 w 44809"/>
                <a:gd name="connsiteY0" fmla="*/ 79163 h 74681"/>
                <a:gd name="connsiteX1" fmla="*/ 14936 w 44809"/>
                <a:gd name="connsiteY1" fmla="*/ 67214 h 74681"/>
                <a:gd name="connsiteX2" fmla="*/ 7468 w 44809"/>
                <a:gd name="connsiteY2" fmla="*/ 56758 h 74681"/>
                <a:gd name="connsiteX3" fmla="*/ 2987 w 44809"/>
                <a:gd name="connsiteY3" fmla="*/ 43316 h 74681"/>
                <a:gd name="connsiteX4" fmla="*/ 0 w 44809"/>
                <a:gd name="connsiteY4" fmla="*/ 16430 h 74681"/>
                <a:gd name="connsiteX5" fmla="*/ 0 w 44809"/>
                <a:gd name="connsiteY5" fmla="*/ 0 h 74681"/>
                <a:gd name="connsiteX6" fmla="*/ 0 w 44809"/>
                <a:gd name="connsiteY6" fmla="*/ 5975 h 74681"/>
                <a:gd name="connsiteX7" fmla="*/ 2987 w 44809"/>
                <a:gd name="connsiteY7" fmla="*/ 32860 h 74681"/>
                <a:gd name="connsiteX8" fmla="*/ 13443 w 44809"/>
                <a:gd name="connsiteY8" fmla="*/ 55264 h 74681"/>
                <a:gd name="connsiteX9" fmla="*/ 14936 w 44809"/>
                <a:gd name="connsiteY9" fmla="*/ 56758 h 74681"/>
                <a:gd name="connsiteX10" fmla="*/ 50784 w 44809"/>
                <a:gd name="connsiteY10" fmla="*/ 68707 h 74681"/>
                <a:gd name="connsiteX11" fmla="*/ 50784 w 44809"/>
                <a:gd name="connsiteY11" fmla="*/ 68707 h 74681"/>
                <a:gd name="connsiteX12" fmla="*/ 50784 w 44809"/>
                <a:gd name="connsiteY12" fmla="*/ 79163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09" h="74681">
                  <a:moveTo>
                    <a:pt x="50784" y="79163"/>
                  </a:moveTo>
                  <a:cubicBezTo>
                    <a:pt x="37341" y="82150"/>
                    <a:pt x="23898" y="77669"/>
                    <a:pt x="14936" y="67214"/>
                  </a:cubicBezTo>
                  <a:cubicBezTo>
                    <a:pt x="11949" y="64226"/>
                    <a:pt x="10455" y="61239"/>
                    <a:pt x="7468" y="56758"/>
                  </a:cubicBezTo>
                  <a:cubicBezTo>
                    <a:pt x="4481" y="52277"/>
                    <a:pt x="2987" y="47796"/>
                    <a:pt x="2987" y="43316"/>
                  </a:cubicBezTo>
                  <a:cubicBezTo>
                    <a:pt x="1494" y="34354"/>
                    <a:pt x="0" y="25392"/>
                    <a:pt x="0" y="16430"/>
                  </a:cubicBezTo>
                  <a:cubicBezTo>
                    <a:pt x="0" y="11949"/>
                    <a:pt x="0" y="5975"/>
                    <a:pt x="0" y="0"/>
                  </a:cubicBezTo>
                  <a:cubicBezTo>
                    <a:pt x="0" y="2987"/>
                    <a:pt x="0" y="4481"/>
                    <a:pt x="0" y="5975"/>
                  </a:cubicBezTo>
                  <a:cubicBezTo>
                    <a:pt x="0" y="14936"/>
                    <a:pt x="1494" y="23898"/>
                    <a:pt x="2987" y="32860"/>
                  </a:cubicBezTo>
                  <a:cubicBezTo>
                    <a:pt x="4481" y="40328"/>
                    <a:pt x="7468" y="49290"/>
                    <a:pt x="13443" y="55264"/>
                  </a:cubicBezTo>
                  <a:cubicBezTo>
                    <a:pt x="13443" y="55264"/>
                    <a:pt x="14936" y="56758"/>
                    <a:pt x="14936" y="56758"/>
                  </a:cubicBezTo>
                  <a:cubicBezTo>
                    <a:pt x="23898" y="67214"/>
                    <a:pt x="38835" y="71694"/>
                    <a:pt x="50784" y="68707"/>
                  </a:cubicBezTo>
                  <a:cubicBezTo>
                    <a:pt x="50784" y="68707"/>
                    <a:pt x="50784" y="68707"/>
                    <a:pt x="50784" y="68707"/>
                  </a:cubicBezTo>
                  <a:cubicBezTo>
                    <a:pt x="52277" y="71694"/>
                    <a:pt x="52277" y="74682"/>
                    <a:pt x="50784" y="79163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8" name="任意多边形: 形状 727"/>
            <p:cNvSpPr/>
            <p:nvPr/>
          </p:nvSpPr>
          <p:spPr>
            <a:xfrm>
              <a:off x="2413985" y="2980487"/>
              <a:ext cx="81801" cy="95434"/>
            </a:xfrm>
            <a:custGeom>
              <a:avLst/>
              <a:gdLst>
                <a:gd name="connsiteX0" fmla="*/ 34940 w 89618"/>
                <a:gd name="connsiteY0" fmla="*/ 77669 h 104554"/>
                <a:gd name="connsiteX1" fmla="*/ 25979 w 89618"/>
                <a:gd name="connsiteY1" fmla="*/ 73188 h 104554"/>
                <a:gd name="connsiteX2" fmla="*/ 5068 w 89618"/>
                <a:gd name="connsiteY2" fmla="*/ 100073 h 104554"/>
                <a:gd name="connsiteX3" fmla="*/ 2081 w 89618"/>
                <a:gd name="connsiteY3" fmla="*/ 77669 h 104554"/>
                <a:gd name="connsiteX4" fmla="*/ 3574 w 89618"/>
                <a:gd name="connsiteY4" fmla="*/ 32860 h 104554"/>
                <a:gd name="connsiteX5" fmla="*/ 25979 w 89618"/>
                <a:gd name="connsiteY5" fmla="*/ 7468 h 104554"/>
                <a:gd name="connsiteX6" fmla="*/ 60332 w 89618"/>
                <a:gd name="connsiteY6" fmla="*/ 0 h 104554"/>
                <a:gd name="connsiteX7" fmla="*/ 88711 w 89618"/>
                <a:gd name="connsiteY7" fmla="*/ 5975 h 104554"/>
                <a:gd name="connsiteX8" fmla="*/ 55851 w 89618"/>
                <a:gd name="connsiteY8" fmla="*/ 40328 h 104554"/>
                <a:gd name="connsiteX9" fmla="*/ 36434 w 89618"/>
                <a:gd name="connsiteY9" fmla="*/ 37341 h 104554"/>
                <a:gd name="connsiteX10" fmla="*/ 34940 w 89618"/>
                <a:gd name="connsiteY10" fmla="*/ 77669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618" h="104554">
                  <a:moveTo>
                    <a:pt x="34940" y="77669"/>
                  </a:moveTo>
                  <a:cubicBezTo>
                    <a:pt x="34940" y="77669"/>
                    <a:pt x="28966" y="74682"/>
                    <a:pt x="25979" y="73188"/>
                  </a:cubicBezTo>
                  <a:cubicBezTo>
                    <a:pt x="46890" y="147870"/>
                    <a:pt x="6561" y="106048"/>
                    <a:pt x="5068" y="100073"/>
                  </a:cubicBezTo>
                  <a:cubicBezTo>
                    <a:pt x="3574" y="92605"/>
                    <a:pt x="2081" y="85137"/>
                    <a:pt x="2081" y="77669"/>
                  </a:cubicBezTo>
                  <a:cubicBezTo>
                    <a:pt x="587" y="62733"/>
                    <a:pt x="-2400" y="46303"/>
                    <a:pt x="3574" y="32860"/>
                  </a:cubicBezTo>
                  <a:cubicBezTo>
                    <a:pt x="8055" y="22405"/>
                    <a:pt x="15523" y="13443"/>
                    <a:pt x="25979" y="7468"/>
                  </a:cubicBezTo>
                  <a:cubicBezTo>
                    <a:pt x="36434" y="1494"/>
                    <a:pt x="49877" y="0"/>
                    <a:pt x="60332" y="0"/>
                  </a:cubicBezTo>
                  <a:cubicBezTo>
                    <a:pt x="70788" y="0"/>
                    <a:pt x="79749" y="1494"/>
                    <a:pt x="88711" y="5975"/>
                  </a:cubicBezTo>
                  <a:cubicBezTo>
                    <a:pt x="120078" y="25392"/>
                    <a:pt x="102154" y="58252"/>
                    <a:pt x="55851" y="40328"/>
                  </a:cubicBezTo>
                  <a:cubicBezTo>
                    <a:pt x="52864" y="38835"/>
                    <a:pt x="45396" y="29873"/>
                    <a:pt x="36434" y="37341"/>
                  </a:cubicBezTo>
                  <a:cubicBezTo>
                    <a:pt x="28966" y="44809"/>
                    <a:pt x="36434" y="77669"/>
                    <a:pt x="34940" y="77669"/>
                  </a:cubicBezTo>
                  <a:close/>
                </a:path>
              </a:pathLst>
            </a:custGeom>
            <a:solidFill>
              <a:srgbClr val="683C1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9" name="任意多边形: 形状 728"/>
            <p:cNvSpPr/>
            <p:nvPr/>
          </p:nvSpPr>
          <p:spPr>
            <a:xfrm>
              <a:off x="2433608" y="3040474"/>
              <a:ext cx="13633" cy="27267"/>
            </a:xfrm>
            <a:custGeom>
              <a:avLst/>
              <a:gdLst>
                <a:gd name="connsiteX0" fmla="*/ 5974 w 14936"/>
                <a:gd name="connsiteY0" fmla="*/ 0 h 29872"/>
                <a:gd name="connsiteX1" fmla="*/ 13443 w 14936"/>
                <a:gd name="connsiteY1" fmla="*/ 4481 h 29872"/>
                <a:gd name="connsiteX2" fmla="*/ 16430 w 14936"/>
                <a:gd name="connsiteY2" fmla="*/ 16430 h 29872"/>
                <a:gd name="connsiteX3" fmla="*/ 16430 w 14936"/>
                <a:gd name="connsiteY3" fmla="*/ 31366 h 29872"/>
                <a:gd name="connsiteX4" fmla="*/ 13443 w 14936"/>
                <a:gd name="connsiteY4" fmla="*/ 34353 h 29872"/>
                <a:gd name="connsiteX5" fmla="*/ 7468 w 14936"/>
                <a:gd name="connsiteY5" fmla="*/ 32860 h 29872"/>
                <a:gd name="connsiteX6" fmla="*/ 4481 w 14936"/>
                <a:gd name="connsiteY6" fmla="*/ 26885 h 29872"/>
                <a:gd name="connsiteX7" fmla="*/ 0 w 14936"/>
                <a:gd name="connsiteY7" fmla="*/ 10455 h 29872"/>
                <a:gd name="connsiteX8" fmla="*/ 0 w 14936"/>
                <a:gd name="connsiteY8" fmla="*/ 2987 h 29872"/>
                <a:gd name="connsiteX9" fmla="*/ 5974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5974" y="0"/>
                  </a:moveTo>
                  <a:cubicBezTo>
                    <a:pt x="8962" y="0"/>
                    <a:pt x="11949" y="2987"/>
                    <a:pt x="13443" y="4481"/>
                  </a:cubicBezTo>
                  <a:cubicBezTo>
                    <a:pt x="14936" y="7468"/>
                    <a:pt x="16430" y="11949"/>
                    <a:pt x="16430" y="16430"/>
                  </a:cubicBezTo>
                  <a:cubicBezTo>
                    <a:pt x="16430" y="20911"/>
                    <a:pt x="17924" y="26885"/>
                    <a:pt x="16430" y="31366"/>
                  </a:cubicBezTo>
                  <a:cubicBezTo>
                    <a:pt x="16430" y="32860"/>
                    <a:pt x="14936" y="34353"/>
                    <a:pt x="13443" y="34353"/>
                  </a:cubicBezTo>
                  <a:cubicBezTo>
                    <a:pt x="11949" y="35847"/>
                    <a:pt x="8962" y="34353"/>
                    <a:pt x="7468" y="32860"/>
                  </a:cubicBezTo>
                  <a:cubicBezTo>
                    <a:pt x="5974" y="31366"/>
                    <a:pt x="4481" y="29873"/>
                    <a:pt x="4481" y="26885"/>
                  </a:cubicBezTo>
                  <a:cubicBezTo>
                    <a:pt x="2987" y="20911"/>
                    <a:pt x="1494" y="14936"/>
                    <a:pt x="0" y="10455"/>
                  </a:cubicBezTo>
                  <a:cubicBezTo>
                    <a:pt x="0" y="7468"/>
                    <a:pt x="0" y="5974"/>
                    <a:pt x="0" y="2987"/>
                  </a:cubicBezTo>
                  <a:cubicBezTo>
                    <a:pt x="1494" y="2987"/>
                    <a:pt x="2987" y="1493"/>
                    <a:pt x="5974" y="0"/>
                  </a:cubicBezTo>
                  <a:close/>
                </a:path>
              </a:pathLst>
            </a:custGeom>
            <a:solidFill>
              <a:srgbClr val="FFBB7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0" name="任意多边形: 形状 729"/>
            <p:cNvSpPr/>
            <p:nvPr/>
          </p:nvSpPr>
          <p:spPr>
            <a:xfrm>
              <a:off x="2508592" y="3374494"/>
              <a:ext cx="54534" cy="68168"/>
            </a:xfrm>
            <a:custGeom>
              <a:avLst/>
              <a:gdLst>
                <a:gd name="connsiteX0" fmla="*/ 65720 w 59745"/>
                <a:gd name="connsiteY0" fmla="*/ 79162 h 74681"/>
                <a:gd name="connsiteX1" fmla="*/ 0 w 59745"/>
                <a:gd name="connsiteY1" fmla="*/ 28379 h 74681"/>
                <a:gd name="connsiteX2" fmla="*/ 38835 w 59745"/>
                <a:gd name="connsiteY2" fmla="*/ 0 h 74681"/>
                <a:gd name="connsiteX3" fmla="*/ 38835 w 59745"/>
                <a:gd name="connsiteY3" fmla="*/ 43315 h 74681"/>
                <a:gd name="connsiteX4" fmla="*/ 65720 w 59745"/>
                <a:gd name="connsiteY4" fmla="*/ 79162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45" h="74681">
                  <a:moveTo>
                    <a:pt x="65720" y="79162"/>
                  </a:moveTo>
                  <a:cubicBezTo>
                    <a:pt x="46303" y="58252"/>
                    <a:pt x="23898" y="41822"/>
                    <a:pt x="0" y="28379"/>
                  </a:cubicBezTo>
                  <a:cubicBezTo>
                    <a:pt x="16430" y="26885"/>
                    <a:pt x="32860" y="16430"/>
                    <a:pt x="38835" y="0"/>
                  </a:cubicBezTo>
                  <a:cubicBezTo>
                    <a:pt x="31366" y="13443"/>
                    <a:pt x="32860" y="29873"/>
                    <a:pt x="38835" y="43315"/>
                  </a:cubicBezTo>
                  <a:cubicBezTo>
                    <a:pt x="46303" y="56758"/>
                    <a:pt x="56758" y="67214"/>
                    <a:pt x="65720" y="79162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5" name="任意多边形: 形状 844"/>
            <p:cNvSpPr/>
            <p:nvPr/>
          </p:nvSpPr>
          <p:spPr>
            <a:xfrm>
              <a:off x="3326602" y="1503980"/>
              <a:ext cx="81801" cy="68168"/>
            </a:xfrm>
            <a:custGeom>
              <a:avLst/>
              <a:gdLst>
                <a:gd name="connsiteX0" fmla="*/ 0 w 89618"/>
                <a:gd name="connsiteY0" fmla="*/ 67214 h 74681"/>
                <a:gd name="connsiteX1" fmla="*/ 0 w 89618"/>
                <a:gd name="connsiteY1" fmla="*/ 68707 h 74681"/>
                <a:gd name="connsiteX2" fmla="*/ 0 w 89618"/>
                <a:gd name="connsiteY2" fmla="*/ 68707 h 74681"/>
                <a:gd name="connsiteX3" fmla="*/ 5974 w 89618"/>
                <a:gd name="connsiteY3" fmla="*/ 77669 h 74681"/>
                <a:gd name="connsiteX4" fmla="*/ 38835 w 89618"/>
                <a:gd name="connsiteY4" fmla="*/ 79163 h 74681"/>
                <a:gd name="connsiteX5" fmla="*/ 91112 w 89618"/>
                <a:gd name="connsiteY5" fmla="*/ 52277 h 74681"/>
                <a:gd name="connsiteX6" fmla="*/ 98580 w 89618"/>
                <a:gd name="connsiteY6" fmla="*/ 41822 h 74681"/>
                <a:gd name="connsiteX7" fmla="*/ 98580 w 89618"/>
                <a:gd name="connsiteY7" fmla="*/ 41822 h 74681"/>
                <a:gd name="connsiteX8" fmla="*/ 97086 w 89618"/>
                <a:gd name="connsiteY8" fmla="*/ 31366 h 74681"/>
                <a:gd name="connsiteX9" fmla="*/ 91112 w 89618"/>
                <a:gd name="connsiteY9" fmla="*/ 14936 h 74681"/>
                <a:gd name="connsiteX10" fmla="*/ 91112 w 89618"/>
                <a:gd name="connsiteY10" fmla="*/ 14936 h 74681"/>
                <a:gd name="connsiteX11" fmla="*/ 86631 w 89618"/>
                <a:gd name="connsiteY11" fmla="*/ 7468 h 74681"/>
                <a:gd name="connsiteX12" fmla="*/ 86631 w 89618"/>
                <a:gd name="connsiteY12" fmla="*/ 7468 h 74681"/>
                <a:gd name="connsiteX13" fmla="*/ 82150 w 89618"/>
                <a:gd name="connsiteY13" fmla="*/ 0 h 74681"/>
                <a:gd name="connsiteX14" fmla="*/ 44809 w 89618"/>
                <a:gd name="connsiteY14" fmla="*/ 1494 h 74681"/>
                <a:gd name="connsiteX15" fmla="*/ 40328 w 89618"/>
                <a:gd name="connsiteY15" fmla="*/ 10455 h 74681"/>
                <a:gd name="connsiteX16" fmla="*/ 40328 w 89618"/>
                <a:gd name="connsiteY16" fmla="*/ 10455 h 74681"/>
                <a:gd name="connsiteX17" fmla="*/ 38835 w 89618"/>
                <a:gd name="connsiteY17" fmla="*/ 14936 h 74681"/>
                <a:gd name="connsiteX18" fmla="*/ 32860 w 89618"/>
                <a:gd name="connsiteY18" fmla="*/ 25392 h 74681"/>
                <a:gd name="connsiteX19" fmla="*/ 1494 w 89618"/>
                <a:gd name="connsiteY19" fmla="*/ 61239 h 74681"/>
                <a:gd name="connsiteX20" fmla="*/ 0 w 89618"/>
                <a:gd name="connsiteY20" fmla="*/ 67214 h 74681"/>
                <a:gd name="connsiteX21" fmla="*/ 14936 w 89618"/>
                <a:gd name="connsiteY21" fmla="*/ 47796 h 74681"/>
                <a:gd name="connsiteX22" fmla="*/ 35847 w 89618"/>
                <a:gd name="connsiteY22" fmla="*/ 29873 h 74681"/>
                <a:gd name="connsiteX23" fmla="*/ 44809 w 89618"/>
                <a:gd name="connsiteY23" fmla="*/ 17924 h 74681"/>
                <a:gd name="connsiteX24" fmla="*/ 47796 w 89618"/>
                <a:gd name="connsiteY24" fmla="*/ 19417 h 74681"/>
                <a:gd name="connsiteX25" fmla="*/ 37341 w 89618"/>
                <a:gd name="connsiteY25" fmla="*/ 32860 h 74681"/>
                <a:gd name="connsiteX26" fmla="*/ 16430 w 89618"/>
                <a:gd name="connsiteY26" fmla="*/ 50784 h 74681"/>
                <a:gd name="connsiteX27" fmla="*/ 14936 w 89618"/>
                <a:gd name="connsiteY27" fmla="*/ 50784 h 74681"/>
                <a:gd name="connsiteX28" fmla="*/ 13443 w 89618"/>
                <a:gd name="connsiteY28" fmla="*/ 50784 h 74681"/>
                <a:gd name="connsiteX29" fmla="*/ 14936 w 89618"/>
                <a:gd name="connsiteY29" fmla="*/ 47796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9618" h="74681">
                  <a:moveTo>
                    <a:pt x="0" y="67214"/>
                  </a:moveTo>
                  <a:lnTo>
                    <a:pt x="0" y="68707"/>
                  </a:lnTo>
                  <a:lnTo>
                    <a:pt x="0" y="68707"/>
                  </a:lnTo>
                  <a:cubicBezTo>
                    <a:pt x="0" y="71694"/>
                    <a:pt x="2987" y="74682"/>
                    <a:pt x="5974" y="77669"/>
                  </a:cubicBezTo>
                  <a:cubicBezTo>
                    <a:pt x="14936" y="83643"/>
                    <a:pt x="29873" y="83643"/>
                    <a:pt x="38835" y="79163"/>
                  </a:cubicBezTo>
                  <a:lnTo>
                    <a:pt x="91112" y="52277"/>
                  </a:lnTo>
                  <a:cubicBezTo>
                    <a:pt x="95593" y="49290"/>
                    <a:pt x="98580" y="46303"/>
                    <a:pt x="98580" y="41822"/>
                  </a:cubicBezTo>
                  <a:lnTo>
                    <a:pt x="98580" y="41822"/>
                  </a:lnTo>
                  <a:cubicBezTo>
                    <a:pt x="98580" y="38834"/>
                    <a:pt x="98580" y="34354"/>
                    <a:pt x="97086" y="31366"/>
                  </a:cubicBezTo>
                  <a:cubicBezTo>
                    <a:pt x="95593" y="25392"/>
                    <a:pt x="94099" y="19417"/>
                    <a:pt x="91112" y="14936"/>
                  </a:cubicBezTo>
                  <a:lnTo>
                    <a:pt x="91112" y="14936"/>
                  </a:lnTo>
                  <a:cubicBezTo>
                    <a:pt x="89618" y="11949"/>
                    <a:pt x="88124" y="8962"/>
                    <a:pt x="86631" y="7468"/>
                  </a:cubicBezTo>
                  <a:lnTo>
                    <a:pt x="86631" y="7468"/>
                  </a:lnTo>
                  <a:cubicBezTo>
                    <a:pt x="85137" y="4481"/>
                    <a:pt x="83644" y="1494"/>
                    <a:pt x="82150" y="0"/>
                  </a:cubicBezTo>
                  <a:lnTo>
                    <a:pt x="44809" y="1494"/>
                  </a:lnTo>
                  <a:cubicBezTo>
                    <a:pt x="41822" y="4481"/>
                    <a:pt x="40328" y="7468"/>
                    <a:pt x="40328" y="10455"/>
                  </a:cubicBezTo>
                  <a:lnTo>
                    <a:pt x="40328" y="10455"/>
                  </a:lnTo>
                  <a:cubicBezTo>
                    <a:pt x="40328" y="11949"/>
                    <a:pt x="38835" y="13443"/>
                    <a:pt x="38835" y="14936"/>
                  </a:cubicBezTo>
                  <a:cubicBezTo>
                    <a:pt x="37341" y="19417"/>
                    <a:pt x="35847" y="22405"/>
                    <a:pt x="32860" y="25392"/>
                  </a:cubicBezTo>
                  <a:cubicBezTo>
                    <a:pt x="17924" y="35847"/>
                    <a:pt x="4481" y="49290"/>
                    <a:pt x="1494" y="61239"/>
                  </a:cubicBezTo>
                  <a:cubicBezTo>
                    <a:pt x="0" y="62733"/>
                    <a:pt x="0" y="65720"/>
                    <a:pt x="0" y="67214"/>
                  </a:cubicBezTo>
                  <a:close/>
                  <a:moveTo>
                    <a:pt x="14936" y="47796"/>
                  </a:moveTo>
                  <a:lnTo>
                    <a:pt x="35847" y="29873"/>
                  </a:lnTo>
                  <a:cubicBezTo>
                    <a:pt x="40328" y="26885"/>
                    <a:pt x="43315" y="22405"/>
                    <a:pt x="44809" y="17924"/>
                  </a:cubicBezTo>
                  <a:cubicBezTo>
                    <a:pt x="46303" y="17924"/>
                    <a:pt x="47796" y="19417"/>
                    <a:pt x="47796" y="19417"/>
                  </a:cubicBezTo>
                  <a:cubicBezTo>
                    <a:pt x="46303" y="25392"/>
                    <a:pt x="41822" y="28379"/>
                    <a:pt x="37341" y="32860"/>
                  </a:cubicBezTo>
                  <a:lnTo>
                    <a:pt x="16430" y="50784"/>
                  </a:lnTo>
                  <a:cubicBezTo>
                    <a:pt x="16430" y="50784"/>
                    <a:pt x="14936" y="50784"/>
                    <a:pt x="14936" y="50784"/>
                  </a:cubicBezTo>
                  <a:cubicBezTo>
                    <a:pt x="14936" y="50784"/>
                    <a:pt x="13443" y="50784"/>
                    <a:pt x="13443" y="50784"/>
                  </a:cubicBezTo>
                  <a:cubicBezTo>
                    <a:pt x="14936" y="50784"/>
                    <a:pt x="14936" y="49290"/>
                    <a:pt x="14936" y="47796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6" name="任意多边形: 形状 845"/>
            <p:cNvSpPr/>
            <p:nvPr/>
          </p:nvSpPr>
          <p:spPr>
            <a:xfrm>
              <a:off x="3325238" y="1532610"/>
              <a:ext cx="81801" cy="40900"/>
            </a:xfrm>
            <a:custGeom>
              <a:avLst/>
              <a:gdLst>
                <a:gd name="connsiteX0" fmla="*/ 0 w 89618"/>
                <a:gd name="connsiteY0" fmla="*/ 38834 h 44809"/>
                <a:gd name="connsiteX1" fmla="*/ 0 w 89618"/>
                <a:gd name="connsiteY1" fmla="*/ 38834 h 44809"/>
                <a:gd name="connsiteX2" fmla="*/ 5975 w 89618"/>
                <a:gd name="connsiteY2" fmla="*/ 47796 h 44809"/>
                <a:gd name="connsiteX3" fmla="*/ 38835 w 89618"/>
                <a:gd name="connsiteY3" fmla="*/ 49290 h 44809"/>
                <a:gd name="connsiteX4" fmla="*/ 92606 w 89618"/>
                <a:gd name="connsiteY4" fmla="*/ 20911 h 44809"/>
                <a:gd name="connsiteX5" fmla="*/ 100074 w 89618"/>
                <a:gd name="connsiteY5" fmla="*/ 10455 h 44809"/>
                <a:gd name="connsiteX6" fmla="*/ 97086 w 89618"/>
                <a:gd name="connsiteY6" fmla="*/ 0 h 44809"/>
                <a:gd name="connsiteX7" fmla="*/ 73188 w 89618"/>
                <a:gd name="connsiteY7" fmla="*/ 17924 h 44809"/>
                <a:gd name="connsiteX8" fmla="*/ 35847 w 89618"/>
                <a:gd name="connsiteY8" fmla="*/ 40328 h 44809"/>
                <a:gd name="connsiteX9" fmla="*/ 19417 w 89618"/>
                <a:gd name="connsiteY9" fmla="*/ 44809 h 44809"/>
                <a:gd name="connsiteX10" fmla="*/ 4481 w 89618"/>
                <a:gd name="connsiteY10" fmla="*/ 40328 h 44809"/>
                <a:gd name="connsiteX11" fmla="*/ 1494 w 89618"/>
                <a:gd name="connsiteY11" fmla="*/ 31366 h 44809"/>
                <a:gd name="connsiteX12" fmla="*/ 0 w 89618"/>
                <a:gd name="connsiteY12" fmla="*/ 38834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618" h="44809">
                  <a:moveTo>
                    <a:pt x="0" y="38834"/>
                  </a:moveTo>
                  <a:cubicBezTo>
                    <a:pt x="1494" y="38834"/>
                    <a:pt x="0" y="38834"/>
                    <a:pt x="0" y="38834"/>
                  </a:cubicBezTo>
                  <a:cubicBezTo>
                    <a:pt x="0" y="41822"/>
                    <a:pt x="2987" y="44809"/>
                    <a:pt x="5975" y="47796"/>
                  </a:cubicBezTo>
                  <a:cubicBezTo>
                    <a:pt x="14936" y="53771"/>
                    <a:pt x="29873" y="53771"/>
                    <a:pt x="38835" y="49290"/>
                  </a:cubicBezTo>
                  <a:lnTo>
                    <a:pt x="92606" y="20911"/>
                  </a:lnTo>
                  <a:cubicBezTo>
                    <a:pt x="100074" y="16430"/>
                    <a:pt x="100074" y="10455"/>
                    <a:pt x="100074" y="10455"/>
                  </a:cubicBezTo>
                  <a:cubicBezTo>
                    <a:pt x="100074" y="7468"/>
                    <a:pt x="98580" y="1494"/>
                    <a:pt x="97086" y="0"/>
                  </a:cubicBezTo>
                  <a:cubicBezTo>
                    <a:pt x="98580" y="4481"/>
                    <a:pt x="80656" y="11949"/>
                    <a:pt x="73188" y="17924"/>
                  </a:cubicBezTo>
                  <a:cubicBezTo>
                    <a:pt x="62733" y="26885"/>
                    <a:pt x="49290" y="34354"/>
                    <a:pt x="35847" y="40328"/>
                  </a:cubicBezTo>
                  <a:cubicBezTo>
                    <a:pt x="31366" y="41822"/>
                    <a:pt x="25392" y="44809"/>
                    <a:pt x="19417" y="44809"/>
                  </a:cubicBezTo>
                  <a:cubicBezTo>
                    <a:pt x="13443" y="44809"/>
                    <a:pt x="7468" y="43315"/>
                    <a:pt x="4481" y="40328"/>
                  </a:cubicBezTo>
                  <a:cubicBezTo>
                    <a:pt x="2987" y="38834"/>
                    <a:pt x="0" y="34354"/>
                    <a:pt x="1494" y="31366"/>
                  </a:cubicBezTo>
                  <a:cubicBezTo>
                    <a:pt x="1494" y="31366"/>
                    <a:pt x="0" y="32860"/>
                    <a:pt x="0" y="38834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7" name="任意多边形: 形状 846"/>
            <p:cNvSpPr/>
            <p:nvPr/>
          </p:nvSpPr>
          <p:spPr>
            <a:xfrm>
              <a:off x="3340235" y="1520340"/>
              <a:ext cx="27267" cy="27267"/>
            </a:xfrm>
            <a:custGeom>
              <a:avLst/>
              <a:gdLst>
                <a:gd name="connsiteX0" fmla="*/ 0 w 29872"/>
                <a:gd name="connsiteY0" fmla="*/ 32860 h 29872"/>
                <a:gd name="connsiteX1" fmla="*/ 0 w 29872"/>
                <a:gd name="connsiteY1" fmla="*/ 32860 h 29872"/>
                <a:gd name="connsiteX2" fmla="*/ 2987 w 29872"/>
                <a:gd name="connsiteY2" fmla="*/ 32860 h 29872"/>
                <a:gd name="connsiteX3" fmla="*/ 23898 w 29872"/>
                <a:gd name="connsiteY3" fmla="*/ 14936 h 29872"/>
                <a:gd name="connsiteX4" fmla="*/ 34354 w 29872"/>
                <a:gd name="connsiteY4" fmla="*/ 1494 h 29872"/>
                <a:gd name="connsiteX5" fmla="*/ 31366 w 29872"/>
                <a:gd name="connsiteY5" fmla="*/ 0 h 29872"/>
                <a:gd name="connsiteX6" fmla="*/ 22405 w 29872"/>
                <a:gd name="connsiteY6" fmla="*/ 11949 h 29872"/>
                <a:gd name="connsiteX7" fmla="*/ 1494 w 29872"/>
                <a:gd name="connsiteY7" fmla="*/ 29873 h 29872"/>
                <a:gd name="connsiteX8" fmla="*/ 0 w 29872"/>
                <a:gd name="connsiteY8" fmla="*/ 3286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72" h="29872">
                  <a:moveTo>
                    <a:pt x="0" y="32860"/>
                  </a:moveTo>
                  <a:cubicBezTo>
                    <a:pt x="0" y="32860"/>
                    <a:pt x="1494" y="34354"/>
                    <a:pt x="0" y="32860"/>
                  </a:cubicBezTo>
                  <a:cubicBezTo>
                    <a:pt x="1494" y="32860"/>
                    <a:pt x="2987" y="32860"/>
                    <a:pt x="2987" y="32860"/>
                  </a:cubicBezTo>
                  <a:lnTo>
                    <a:pt x="23898" y="14936"/>
                  </a:lnTo>
                  <a:cubicBezTo>
                    <a:pt x="28379" y="11949"/>
                    <a:pt x="32860" y="7468"/>
                    <a:pt x="34354" y="1494"/>
                  </a:cubicBezTo>
                  <a:cubicBezTo>
                    <a:pt x="32860" y="1494"/>
                    <a:pt x="31366" y="0"/>
                    <a:pt x="31366" y="0"/>
                  </a:cubicBezTo>
                  <a:cubicBezTo>
                    <a:pt x="29873" y="4481"/>
                    <a:pt x="26885" y="8962"/>
                    <a:pt x="22405" y="11949"/>
                  </a:cubicBezTo>
                  <a:lnTo>
                    <a:pt x="1494" y="29873"/>
                  </a:lnTo>
                  <a:cubicBezTo>
                    <a:pt x="0" y="31366"/>
                    <a:pt x="0" y="32860"/>
                    <a:pt x="0" y="32860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8" name="任意多边形: 形状 847"/>
            <p:cNvSpPr/>
            <p:nvPr/>
          </p:nvSpPr>
          <p:spPr>
            <a:xfrm>
              <a:off x="3360686" y="1523067"/>
              <a:ext cx="13633" cy="13633"/>
            </a:xfrm>
            <a:custGeom>
              <a:avLst/>
              <a:gdLst>
                <a:gd name="connsiteX0" fmla="*/ 10455 w 0"/>
                <a:gd name="connsiteY0" fmla="*/ 10455 h 0"/>
                <a:gd name="connsiteX1" fmla="*/ 11949 w 0"/>
                <a:gd name="connsiteY1" fmla="*/ 8962 h 0"/>
                <a:gd name="connsiteX2" fmla="*/ 11949 w 0"/>
                <a:gd name="connsiteY2" fmla="*/ 5974 h 0"/>
                <a:gd name="connsiteX3" fmla="*/ 2987 w 0"/>
                <a:gd name="connsiteY3" fmla="*/ 0 h 0"/>
                <a:gd name="connsiteX4" fmla="*/ 0 w 0"/>
                <a:gd name="connsiteY4" fmla="*/ 0 h 0"/>
                <a:gd name="connsiteX5" fmla="*/ 0 w 0"/>
                <a:gd name="connsiteY5" fmla="*/ 2987 h 0"/>
                <a:gd name="connsiteX6" fmla="*/ 10455 w 0"/>
                <a:gd name="connsiteY6" fmla="*/ 10455 h 0"/>
                <a:gd name="connsiteX7" fmla="*/ 10455 w 0"/>
                <a:gd name="connsiteY7" fmla="*/ 1045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0455" y="10455"/>
                  </a:moveTo>
                  <a:cubicBezTo>
                    <a:pt x="10455" y="10455"/>
                    <a:pt x="11949" y="10455"/>
                    <a:pt x="11949" y="8962"/>
                  </a:cubicBezTo>
                  <a:cubicBezTo>
                    <a:pt x="11949" y="7468"/>
                    <a:pt x="11949" y="7468"/>
                    <a:pt x="11949" y="5974"/>
                  </a:cubicBezTo>
                  <a:lnTo>
                    <a:pt x="2987" y="0"/>
                  </a:lnTo>
                  <a:cubicBezTo>
                    <a:pt x="1494" y="0"/>
                    <a:pt x="1494" y="0"/>
                    <a:pt x="0" y="0"/>
                  </a:cubicBezTo>
                  <a:cubicBezTo>
                    <a:pt x="0" y="1494"/>
                    <a:pt x="0" y="1494"/>
                    <a:pt x="0" y="2987"/>
                  </a:cubicBezTo>
                  <a:lnTo>
                    <a:pt x="10455" y="10455"/>
                  </a:lnTo>
                  <a:cubicBezTo>
                    <a:pt x="10455" y="10455"/>
                    <a:pt x="10455" y="10455"/>
                    <a:pt x="10455" y="10455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9" name="任意多边形: 形状 848"/>
            <p:cNvSpPr/>
            <p:nvPr/>
          </p:nvSpPr>
          <p:spPr>
            <a:xfrm>
              <a:off x="3353868" y="1528520"/>
              <a:ext cx="13633" cy="13633"/>
            </a:xfrm>
            <a:custGeom>
              <a:avLst/>
              <a:gdLst>
                <a:gd name="connsiteX0" fmla="*/ 11949 w 0"/>
                <a:gd name="connsiteY0" fmla="*/ 10456 h 0"/>
                <a:gd name="connsiteX1" fmla="*/ 13443 w 0"/>
                <a:gd name="connsiteY1" fmla="*/ 8962 h 0"/>
                <a:gd name="connsiteX2" fmla="*/ 13443 w 0"/>
                <a:gd name="connsiteY2" fmla="*/ 5975 h 0"/>
                <a:gd name="connsiteX3" fmla="*/ 2987 w 0"/>
                <a:gd name="connsiteY3" fmla="*/ 0 h 0"/>
                <a:gd name="connsiteX4" fmla="*/ 0 w 0"/>
                <a:gd name="connsiteY4" fmla="*/ 0 h 0"/>
                <a:gd name="connsiteX5" fmla="*/ 0 w 0"/>
                <a:gd name="connsiteY5" fmla="*/ 2987 h 0"/>
                <a:gd name="connsiteX6" fmla="*/ 11949 w 0"/>
                <a:gd name="connsiteY6" fmla="*/ 10456 h 0"/>
                <a:gd name="connsiteX7" fmla="*/ 11949 w 0"/>
                <a:gd name="connsiteY7" fmla="*/ 1045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1949" y="10456"/>
                  </a:moveTo>
                  <a:cubicBezTo>
                    <a:pt x="11949" y="10456"/>
                    <a:pt x="13443" y="10456"/>
                    <a:pt x="13443" y="8962"/>
                  </a:cubicBezTo>
                  <a:cubicBezTo>
                    <a:pt x="13443" y="7468"/>
                    <a:pt x="13443" y="7468"/>
                    <a:pt x="13443" y="5975"/>
                  </a:cubicBezTo>
                  <a:lnTo>
                    <a:pt x="2987" y="0"/>
                  </a:lnTo>
                  <a:cubicBezTo>
                    <a:pt x="1494" y="0"/>
                    <a:pt x="1494" y="0"/>
                    <a:pt x="0" y="0"/>
                  </a:cubicBezTo>
                  <a:cubicBezTo>
                    <a:pt x="0" y="1494"/>
                    <a:pt x="0" y="1494"/>
                    <a:pt x="0" y="2987"/>
                  </a:cubicBezTo>
                  <a:lnTo>
                    <a:pt x="11949" y="10456"/>
                  </a:lnTo>
                  <a:cubicBezTo>
                    <a:pt x="11949" y="10456"/>
                    <a:pt x="11949" y="10456"/>
                    <a:pt x="11949" y="10456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0" name="任意多边形: 形状 849"/>
            <p:cNvSpPr/>
            <p:nvPr/>
          </p:nvSpPr>
          <p:spPr>
            <a:xfrm>
              <a:off x="3348416" y="1533974"/>
              <a:ext cx="13633" cy="13633"/>
            </a:xfrm>
            <a:custGeom>
              <a:avLst/>
              <a:gdLst>
                <a:gd name="connsiteX0" fmla="*/ 11949 w 0"/>
                <a:gd name="connsiteY0" fmla="*/ 10456 h 0"/>
                <a:gd name="connsiteX1" fmla="*/ 13443 w 0"/>
                <a:gd name="connsiteY1" fmla="*/ 8962 h 0"/>
                <a:gd name="connsiteX2" fmla="*/ 13443 w 0"/>
                <a:gd name="connsiteY2" fmla="*/ 5975 h 0"/>
                <a:gd name="connsiteX3" fmla="*/ 2987 w 0"/>
                <a:gd name="connsiteY3" fmla="*/ 0 h 0"/>
                <a:gd name="connsiteX4" fmla="*/ 0 w 0"/>
                <a:gd name="connsiteY4" fmla="*/ 0 h 0"/>
                <a:gd name="connsiteX5" fmla="*/ 0 w 0"/>
                <a:gd name="connsiteY5" fmla="*/ 2987 h 0"/>
                <a:gd name="connsiteX6" fmla="*/ 11949 w 0"/>
                <a:gd name="connsiteY6" fmla="*/ 10456 h 0"/>
                <a:gd name="connsiteX7" fmla="*/ 11949 w 0"/>
                <a:gd name="connsiteY7" fmla="*/ 1045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1949" y="10456"/>
                  </a:moveTo>
                  <a:cubicBezTo>
                    <a:pt x="11949" y="10456"/>
                    <a:pt x="13443" y="10456"/>
                    <a:pt x="13443" y="8962"/>
                  </a:cubicBezTo>
                  <a:cubicBezTo>
                    <a:pt x="13443" y="7468"/>
                    <a:pt x="13443" y="7468"/>
                    <a:pt x="13443" y="5975"/>
                  </a:cubicBezTo>
                  <a:lnTo>
                    <a:pt x="2987" y="0"/>
                  </a:lnTo>
                  <a:cubicBezTo>
                    <a:pt x="1493" y="0"/>
                    <a:pt x="1493" y="0"/>
                    <a:pt x="0" y="0"/>
                  </a:cubicBezTo>
                  <a:cubicBezTo>
                    <a:pt x="0" y="1494"/>
                    <a:pt x="0" y="1494"/>
                    <a:pt x="0" y="2987"/>
                  </a:cubicBezTo>
                  <a:lnTo>
                    <a:pt x="11949" y="10456"/>
                  </a:lnTo>
                  <a:cubicBezTo>
                    <a:pt x="11949" y="10456"/>
                    <a:pt x="11949" y="10456"/>
                    <a:pt x="11949" y="10456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1" name="任意多边形: 形状 850"/>
            <p:cNvSpPr/>
            <p:nvPr/>
          </p:nvSpPr>
          <p:spPr>
            <a:xfrm>
              <a:off x="3342962" y="1539427"/>
              <a:ext cx="13633" cy="13633"/>
            </a:xfrm>
            <a:custGeom>
              <a:avLst/>
              <a:gdLst>
                <a:gd name="connsiteX0" fmla="*/ 10455 w 0"/>
                <a:gd name="connsiteY0" fmla="*/ 10455 h 0"/>
                <a:gd name="connsiteX1" fmla="*/ 11949 w 0"/>
                <a:gd name="connsiteY1" fmla="*/ 8962 h 0"/>
                <a:gd name="connsiteX2" fmla="*/ 11949 w 0"/>
                <a:gd name="connsiteY2" fmla="*/ 5975 h 0"/>
                <a:gd name="connsiteX3" fmla="*/ 2987 w 0"/>
                <a:gd name="connsiteY3" fmla="*/ 0 h 0"/>
                <a:gd name="connsiteX4" fmla="*/ 0 w 0"/>
                <a:gd name="connsiteY4" fmla="*/ 0 h 0"/>
                <a:gd name="connsiteX5" fmla="*/ 0 w 0"/>
                <a:gd name="connsiteY5" fmla="*/ 2987 h 0"/>
                <a:gd name="connsiteX6" fmla="*/ 10455 w 0"/>
                <a:gd name="connsiteY6" fmla="*/ 10455 h 0"/>
                <a:gd name="connsiteX7" fmla="*/ 10455 w 0"/>
                <a:gd name="connsiteY7" fmla="*/ 1045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0455" y="10455"/>
                  </a:moveTo>
                  <a:cubicBezTo>
                    <a:pt x="10455" y="10455"/>
                    <a:pt x="11949" y="10455"/>
                    <a:pt x="11949" y="8962"/>
                  </a:cubicBezTo>
                  <a:cubicBezTo>
                    <a:pt x="11949" y="7468"/>
                    <a:pt x="11949" y="7468"/>
                    <a:pt x="11949" y="5975"/>
                  </a:cubicBezTo>
                  <a:lnTo>
                    <a:pt x="2987" y="0"/>
                  </a:lnTo>
                  <a:cubicBezTo>
                    <a:pt x="1494" y="0"/>
                    <a:pt x="1494" y="0"/>
                    <a:pt x="0" y="0"/>
                  </a:cubicBezTo>
                  <a:cubicBezTo>
                    <a:pt x="0" y="1494"/>
                    <a:pt x="0" y="1494"/>
                    <a:pt x="0" y="2987"/>
                  </a:cubicBezTo>
                  <a:lnTo>
                    <a:pt x="10455" y="10455"/>
                  </a:lnTo>
                  <a:cubicBezTo>
                    <a:pt x="10455" y="10455"/>
                    <a:pt x="10455" y="10455"/>
                    <a:pt x="10455" y="10455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2" name="任意多边形: 形状 851"/>
            <p:cNvSpPr/>
            <p:nvPr/>
          </p:nvSpPr>
          <p:spPr>
            <a:xfrm>
              <a:off x="3336043" y="1178140"/>
              <a:ext cx="204502" cy="163602"/>
            </a:xfrm>
            <a:custGeom>
              <a:avLst/>
              <a:gdLst>
                <a:gd name="connsiteX0" fmla="*/ 113 w 224045"/>
                <a:gd name="connsiteY0" fmla="*/ 162806 h 179236"/>
                <a:gd name="connsiteX1" fmla="*/ 46415 w 224045"/>
                <a:gd name="connsiteY1" fmla="*/ 191185 h 179236"/>
                <a:gd name="connsiteX2" fmla="*/ 82262 w 224045"/>
                <a:gd name="connsiteY2" fmla="*/ 170274 h 179236"/>
                <a:gd name="connsiteX3" fmla="*/ 212209 w 224045"/>
                <a:gd name="connsiteY3" fmla="*/ 94099 h 179236"/>
                <a:gd name="connsiteX4" fmla="*/ 230132 w 224045"/>
                <a:gd name="connsiteY4" fmla="*/ 65720 h 179236"/>
                <a:gd name="connsiteX5" fmla="*/ 234613 w 224045"/>
                <a:gd name="connsiteY5" fmla="*/ 0 h 179236"/>
                <a:gd name="connsiteX6" fmla="*/ 95705 w 224045"/>
                <a:gd name="connsiteY6" fmla="*/ 65720 h 179236"/>
                <a:gd name="connsiteX7" fmla="*/ 35960 w 224045"/>
                <a:gd name="connsiteY7" fmla="*/ 103061 h 179236"/>
                <a:gd name="connsiteX8" fmla="*/ 113 w 224045"/>
                <a:gd name="connsiteY8" fmla="*/ 162806 h 17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045" h="179236">
                  <a:moveTo>
                    <a:pt x="113" y="162806"/>
                  </a:moveTo>
                  <a:lnTo>
                    <a:pt x="46415" y="191185"/>
                  </a:lnTo>
                  <a:lnTo>
                    <a:pt x="82262" y="170274"/>
                  </a:lnTo>
                  <a:lnTo>
                    <a:pt x="212209" y="94099"/>
                  </a:lnTo>
                  <a:cubicBezTo>
                    <a:pt x="222664" y="88124"/>
                    <a:pt x="228639" y="77669"/>
                    <a:pt x="230132" y="65720"/>
                  </a:cubicBezTo>
                  <a:lnTo>
                    <a:pt x="234613" y="0"/>
                  </a:lnTo>
                  <a:cubicBezTo>
                    <a:pt x="191298" y="22405"/>
                    <a:pt x="140514" y="43315"/>
                    <a:pt x="95705" y="65720"/>
                  </a:cubicBezTo>
                  <a:cubicBezTo>
                    <a:pt x="73301" y="77669"/>
                    <a:pt x="52390" y="89618"/>
                    <a:pt x="35960" y="103061"/>
                  </a:cubicBezTo>
                  <a:cubicBezTo>
                    <a:pt x="12062" y="119491"/>
                    <a:pt x="-1381" y="138908"/>
                    <a:pt x="113" y="162806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3" name="任意多边形: 形状 852"/>
            <p:cNvSpPr/>
            <p:nvPr/>
          </p:nvSpPr>
          <p:spPr>
            <a:xfrm>
              <a:off x="3334547" y="1299266"/>
              <a:ext cx="68168" cy="204502"/>
            </a:xfrm>
            <a:custGeom>
              <a:avLst/>
              <a:gdLst>
                <a:gd name="connsiteX0" fmla="*/ 86889 w 74681"/>
                <a:gd name="connsiteY0" fmla="*/ 228758 h 224045"/>
                <a:gd name="connsiteX1" fmla="*/ 80914 w 74681"/>
                <a:gd name="connsiteY1" fmla="*/ 31598 h 224045"/>
                <a:gd name="connsiteX2" fmla="*/ 62991 w 74681"/>
                <a:gd name="connsiteY2" fmla="*/ 10688 h 224045"/>
                <a:gd name="connsiteX3" fmla="*/ 28637 w 74681"/>
                <a:gd name="connsiteY3" fmla="*/ 232 h 224045"/>
                <a:gd name="connsiteX4" fmla="*/ 258 w 74681"/>
                <a:gd name="connsiteY4" fmla="*/ 28611 h 224045"/>
                <a:gd name="connsiteX5" fmla="*/ 22663 w 74681"/>
                <a:gd name="connsiteY5" fmla="*/ 228758 h 224045"/>
                <a:gd name="connsiteX6" fmla="*/ 54029 w 74681"/>
                <a:gd name="connsiteY6" fmla="*/ 233239 h 224045"/>
                <a:gd name="connsiteX7" fmla="*/ 86889 w 74681"/>
                <a:gd name="connsiteY7" fmla="*/ 228758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224045">
                  <a:moveTo>
                    <a:pt x="86889" y="228758"/>
                  </a:moveTo>
                  <a:cubicBezTo>
                    <a:pt x="86889" y="170506"/>
                    <a:pt x="85395" y="39067"/>
                    <a:pt x="80914" y="31598"/>
                  </a:cubicBezTo>
                  <a:cubicBezTo>
                    <a:pt x="76433" y="24130"/>
                    <a:pt x="70459" y="15168"/>
                    <a:pt x="62991" y="10688"/>
                  </a:cubicBezTo>
                  <a:cubicBezTo>
                    <a:pt x="52535" y="4713"/>
                    <a:pt x="40586" y="-1262"/>
                    <a:pt x="28637" y="232"/>
                  </a:cubicBezTo>
                  <a:cubicBezTo>
                    <a:pt x="13701" y="3219"/>
                    <a:pt x="3245" y="13675"/>
                    <a:pt x="258" y="28611"/>
                  </a:cubicBezTo>
                  <a:cubicBezTo>
                    <a:pt x="-2729" y="43548"/>
                    <a:pt x="21169" y="221290"/>
                    <a:pt x="22663" y="228758"/>
                  </a:cubicBezTo>
                  <a:cubicBezTo>
                    <a:pt x="25650" y="236226"/>
                    <a:pt x="46561" y="230252"/>
                    <a:pt x="54029" y="233239"/>
                  </a:cubicBezTo>
                  <a:lnTo>
                    <a:pt x="86889" y="228758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4" name="任意多边形: 形状 853"/>
            <p:cNvSpPr/>
            <p:nvPr/>
          </p:nvSpPr>
          <p:spPr>
            <a:xfrm>
              <a:off x="3356254" y="1489955"/>
              <a:ext cx="54534" cy="27267"/>
            </a:xfrm>
            <a:custGeom>
              <a:avLst/>
              <a:gdLst>
                <a:gd name="connsiteX0" fmla="*/ 373 w 59745"/>
                <a:gd name="connsiteY0" fmla="*/ 21340 h 29872"/>
                <a:gd name="connsiteX1" fmla="*/ 6348 w 59745"/>
                <a:gd name="connsiteY1" fmla="*/ 30302 h 29872"/>
                <a:gd name="connsiteX2" fmla="*/ 9335 w 59745"/>
                <a:gd name="connsiteY2" fmla="*/ 31795 h 29872"/>
                <a:gd name="connsiteX3" fmla="*/ 12322 w 59745"/>
                <a:gd name="connsiteY3" fmla="*/ 33289 h 29872"/>
                <a:gd name="connsiteX4" fmla="*/ 15310 w 59745"/>
                <a:gd name="connsiteY4" fmla="*/ 34783 h 29872"/>
                <a:gd name="connsiteX5" fmla="*/ 52651 w 59745"/>
                <a:gd name="connsiteY5" fmla="*/ 33289 h 29872"/>
                <a:gd name="connsiteX6" fmla="*/ 58625 w 59745"/>
                <a:gd name="connsiteY6" fmla="*/ 28808 h 29872"/>
                <a:gd name="connsiteX7" fmla="*/ 63106 w 59745"/>
                <a:gd name="connsiteY7" fmla="*/ 19846 h 29872"/>
                <a:gd name="connsiteX8" fmla="*/ 63106 w 59745"/>
                <a:gd name="connsiteY8" fmla="*/ 19846 h 29872"/>
                <a:gd name="connsiteX9" fmla="*/ 54144 w 59745"/>
                <a:gd name="connsiteY9" fmla="*/ 6404 h 29872"/>
                <a:gd name="connsiteX10" fmla="*/ 9335 w 59745"/>
                <a:gd name="connsiteY10" fmla="*/ 4910 h 29872"/>
                <a:gd name="connsiteX11" fmla="*/ 373 w 59745"/>
                <a:gd name="connsiteY11" fmla="*/ 2134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745" h="29872">
                  <a:moveTo>
                    <a:pt x="373" y="21340"/>
                  </a:moveTo>
                  <a:cubicBezTo>
                    <a:pt x="373" y="24327"/>
                    <a:pt x="3361" y="27314"/>
                    <a:pt x="6348" y="30302"/>
                  </a:cubicBezTo>
                  <a:cubicBezTo>
                    <a:pt x="7842" y="30302"/>
                    <a:pt x="7842" y="31795"/>
                    <a:pt x="9335" y="31795"/>
                  </a:cubicBezTo>
                  <a:cubicBezTo>
                    <a:pt x="10829" y="31795"/>
                    <a:pt x="10829" y="33289"/>
                    <a:pt x="12322" y="33289"/>
                  </a:cubicBezTo>
                  <a:cubicBezTo>
                    <a:pt x="13816" y="33289"/>
                    <a:pt x="15310" y="34783"/>
                    <a:pt x="15310" y="34783"/>
                  </a:cubicBezTo>
                  <a:cubicBezTo>
                    <a:pt x="27259" y="39264"/>
                    <a:pt x="42195" y="39264"/>
                    <a:pt x="52651" y="33289"/>
                  </a:cubicBezTo>
                  <a:cubicBezTo>
                    <a:pt x="54144" y="31795"/>
                    <a:pt x="57132" y="30302"/>
                    <a:pt x="58625" y="28808"/>
                  </a:cubicBezTo>
                  <a:cubicBezTo>
                    <a:pt x="61612" y="25821"/>
                    <a:pt x="63106" y="22834"/>
                    <a:pt x="63106" y="19846"/>
                  </a:cubicBezTo>
                  <a:lnTo>
                    <a:pt x="63106" y="19846"/>
                  </a:lnTo>
                  <a:cubicBezTo>
                    <a:pt x="63106" y="15365"/>
                    <a:pt x="60119" y="10884"/>
                    <a:pt x="54144" y="6404"/>
                  </a:cubicBezTo>
                  <a:cubicBezTo>
                    <a:pt x="42195" y="-1065"/>
                    <a:pt x="22778" y="-2558"/>
                    <a:pt x="9335" y="4910"/>
                  </a:cubicBezTo>
                  <a:cubicBezTo>
                    <a:pt x="1867" y="9391"/>
                    <a:pt x="-1120" y="15365"/>
                    <a:pt x="373" y="21340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5" name="任意多边形: 形状 854"/>
            <p:cNvSpPr/>
            <p:nvPr/>
          </p:nvSpPr>
          <p:spPr>
            <a:xfrm>
              <a:off x="3247528" y="1458989"/>
              <a:ext cx="81801" cy="68168"/>
            </a:xfrm>
            <a:custGeom>
              <a:avLst/>
              <a:gdLst>
                <a:gd name="connsiteX0" fmla="*/ 0 w 89618"/>
                <a:gd name="connsiteY0" fmla="*/ 67214 h 74681"/>
                <a:gd name="connsiteX1" fmla="*/ 0 w 89618"/>
                <a:gd name="connsiteY1" fmla="*/ 68707 h 74681"/>
                <a:gd name="connsiteX2" fmla="*/ 0 w 89618"/>
                <a:gd name="connsiteY2" fmla="*/ 68707 h 74681"/>
                <a:gd name="connsiteX3" fmla="*/ 5975 w 89618"/>
                <a:gd name="connsiteY3" fmla="*/ 77669 h 74681"/>
                <a:gd name="connsiteX4" fmla="*/ 38835 w 89618"/>
                <a:gd name="connsiteY4" fmla="*/ 79163 h 74681"/>
                <a:gd name="connsiteX5" fmla="*/ 91112 w 89618"/>
                <a:gd name="connsiteY5" fmla="*/ 52277 h 74681"/>
                <a:gd name="connsiteX6" fmla="*/ 98580 w 89618"/>
                <a:gd name="connsiteY6" fmla="*/ 41822 h 74681"/>
                <a:gd name="connsiteX7" fmla="*/ 98580 w 89618"/>
                <a:gd name="connsiteY7" fmla="*/ 41822 h 74681"/>
                <a:gd name="connsiteX8" fmla="*/ 97086 w 89618"/>
                <a:gd name="connsiteY8" fmla="*/ 31366 h 74681"/>
                <a:gd name="connsiteX9" fmla="*/ 91112 w 89618"/>
                <a:gd name="connsiteY9" fmla="*/ 14936 h 74681"/>
                <a:gd name="connsiteX10" fmla="*/ 91112 w 89618"/>
                <a:gd name="connsiteY10" fmla="*/ 14936 h 74681"/>
                <a:gd name="connsiteX11" fmla="*/ 86631 w 89618"/>
                <a:gd name="connsiteY11" fmla="*/ 7468 h 74681"/>
                <a:gd name="connsiteX12" fmla="*/ 86631 w 89618"/>
                <a:gd name="connsiteY12" fmla="*/ 7468 h 74681"/>
                <a:gd name="connsiteX13" fmla="*/ 82150 w 89618"/>
                <a:gd name="connsiteY13" fmla="*/ 0 h 74681"/>
                <a:gd name="connsiteX14" fmla="*/ 44809 w 89618"/>
                <a:gd name="connsiteY14" fmla="*/ 1494 h 74681"/>
                <a:gd name="connsiteX15" fmla="*/ 40328 w 89618"/>
                <a:gd name="connsiteY15" fmla="*/ 10455 h 74681"/>
                <a:gd name="connsiteX16" fmla="*/ 40328 w 89618"/>
                <a:gd name="connsiteY16" fmla="*/ 10455 h 74681"/>
                <a:gd name="connsiteX17" fmla="*/ 38835 w 89618"/>
                <a:gd name="connsiteY17" fmla="*/ 14936 h 74681"/>
                <a:gd name="connsiteX18" fmla="*/ 32860 w 89618"/>
                <a:gd name="connsiteY18" fmla="*/ 25392 h 74681"/>
                <a:gd name="connsiteX19" fmla="*/ 1494 w 89618"/>
                <a:gd name="connsiteY19" fmla="*/ 61239 h 74681"/>
                <a:gd name="connsiteX20" fmla="*/ 0 w 89618"/>
                <a:gd name="connsiteY20" fmla="*/ 67214 h 74681"/>
                <a:gd name="connsiteX21" fmla="*/ 16430 w 89618"/>
                <a:gd name="connsiteY21" fmla="*/ 47796 h 74681"/>
                <a:gd name="connsiteX22" fmla="*/ 37341 w 89618"/>
                <a:gd name="connsiteY22" fmla="*/ 29873 h 74681"/>
                <a:gd name="connsiteX23" fmla="*/ 46303 w 89618"/>
                <a:gd name="connsiteY23" fmla="*/ 17924 h 74681"/>
                <a:gd name="connsiteX24" fmla="*/ 49290 w 89618"/>
                <a:gd name="connsiteY24" fmla="*/ 19417 h 74681"/>
                <a:gd name="connsiteX25" fmla="*/ 38835 w 89618"/>
                <a:gd name="connsiteY25" fmla="*/ 32860 h 74681"/>
                <a:gd name="connsiteX26" fmla="*/ 17924 w 89618"/>
                <a:gd name="connsiteY26" fmla="*/ 50784 h 74681"/>
                <a:gd name="connsiteX27" fmla="*/ 16430 w 89618"/>
                <a:gd name="connsiteY27" fmla="*/ 50784 h 74681"/>
                <a:gd name="connsiteX28" fmla="*/ 14936 w 89618"/>
                <a:gd name="connsiteY28" fmla="*/ 50784 h 74681"/>
                <a:gd name="connsiteX29" fmla="*/ 16430 w 89618"/>
                <a:gd name="connsiteY29" fmla="*/ 47796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9618" h="74681">
                  <a:moveTo>
                    <a:pt x="0" y="67214"/>
                  </a:moveTo>
                  <a:lnTo>
                    <a:pt x="0" y="68707"/>
                  </a:lnTo>
                  <a:lnTo>
                    <a:pt x="0" y="68707"/>
                  </a:lnTo>
                  <a:cubicBezTo>
                    <a:pt x="0" y="71694"/>
                    <a:pt x="2987" y="74682"/>
                    <a:pt x="5975" y="77669"/>
                  </a:cubicBezTo>
                  <a:cubicBezTo>
                    <a:pt x="14936" y="83643"/>
                    <a:pt x="29873" y="83643"/>
                    <a:pt x="38835" y="79163"/>
                  </a:cubicBezTo>
                  <a:lnTo>
                    <a:pt x="91112" y="52277"/>
                  </a:lnTo>
                  <a:cubicBezTo>
                    <a:pt x="95593" y="49290"/>
                    <a:pt x="98580" y="46303"/>
                    <a:pt x="98580" y="41822"/>
                  </a:cubicBezTo>
                  <a:lnTo>
                    <a:pt x="98580" y="41822"/>
                  </a:lnTo>
                  <a:cubicBezTo>
                    <a:pt x="98580" y="38835"/>
                    <a:pt x="98580" y="34354"/>
                    <a:pt x="97086" y="31366"/>
                  </a:cubicBezTo>
                  <a:cubicBezTo>
                    <a:pt x="95593" y="25392"/>
                    <a:pt x="94099" y="19417"/>
                    <a:pt x="91112" y="14936"/>
                  </a:cubicBezTo>
                  <a:lnTo>
                    <a:pt x="91112" y="14936"/>
                  </a:lnTo>
                  <a:cubicBezTo>
                    <a:pt x="89618" y="11949"/>
                    <a:pt x="88125" y="8962"/>
                    <a:pt x="86631" y="7468"/>
                  </a:cubicBezTo>
                  <a:lnTo>
                    <a:pt x="86631" y="7468"/>
                  </a:lnTo>
                  <a:cubicBezTo>
                    <a:pt x="85137" y="4481"/>
                    <a:pt x="83644" y="1494"/>
                    <a:pt x="82150" y="0"/>
                  </a:cubicBezTo>
                  <a:lnTo>
                    <a:pt x="44809" y="1494"/>
                  </a:lnTo>
                  <a:cubicBezTo>
                    <a:pt x="41822" y="4481"/>
                    <a:pt x="40328" y="7468"/>
                    <a:pt x="40328" y="10455"/>
                  </a:cubicBezTo>
                  <a:lnTo>
                    <a:pt x="40328" y="10455"/>
                  </a:lnTo>
                  <a:cubicBezTo>
                    <a:pt x="40328" y="11949"/>
                    <a:pt x="40328" y="13443"/>
                    <a:pt x="38835" y="14936"/>
                  </a:cubicBezTo>
                  <a:cubicBezTo>
                    <a:pt x="37341" y="19417"/>
                    <a:pt x="35847" y="22405"/>
                    <a:pt x="32860" y="25392"/>
                  </a:cubicBezTo>
                  <a:cubicBezTo>
                    <a:pt x="17924" y="35847"/>
                    <a:pt x="4481" y="49290"/>
                    <a:pt x="1494" y="61239"/>
                  </a:cubicBezTo>
                  <a:cubicBezTo>
                    <a:pt x="1494" y="62733"/>
                    <a:pt x="0" y="65720"/>
                    <a:pt x="0" y="67214"/>
                  </a:cubicBezTo>
                  <a:close/>
                  <a:moveTo>
                    <a:pt x="16430" y="47796"/>
                  </a:moveTo>
                  <a:lnTo>
                    <a:pt x="37341" y="29873"/>
                  </a:lnTo>
                  <a:cubicBezTo>
                    <a:pt x="41822" y="26885"/>
                    <a:pt x="44809" y="22405"/>
                    <a:pt x="46303" y="17924"/>
                  </a:cubicBezTo>
                  <a:cubicBezTo>
                    <a:pt x="47796" y="17924"/>
                    <a:pt x="49290" y="19417"/>
                    <a:pt x="49290" y="19417"/>
                  </a:cubicBezTo>
                  <a:cubicBezTo>
                    <a:pt x="47796" y="25392"/>
                    <a:pt x="43316" y="28379"/>
                    <a:pt x="38835" y="32860"/>
                  </a:cubicBezTo>
                  <a:lnTo>
                    <a:pt x="17924" y="50784"/>
                  </a:lnTo>
                  <a:cubicBezTo>
                    <a:pt x="17924" y="50784"/>
                    <a:pt x="16430" y="50784"/>
                    <a:pt x="16430" y="50784"/>
                  </a:cubicBezTo>
                  <a:cubicBezTo>
                    <a:pt x="16430" y="50784"/>
                    <a:pt x="14936" y="50784"/>
                    <a:pt x="14936" y="50784"/>
                  </a:cubicBezTo>
                  <a:cubicBezTo>
                    <a:pt x="14936" y="50784"/>
                    <a:pt x="14936" y="49290"/>
                    <a:pt x="16430" y="47796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6" name="任意多边形: 形状 855"/>
            <p:cNvSpPr/>
            <p:nvPr/>
          </p:nvSpPr>
          <p:spPr>
            <a:xfrm>
              <a:off x="3247146" y="1487619"/>
              <a:ext cx="81801" cy="40900"/>
            </a:xfrm>
            <a:custGeom>
              <a:avLst/>
              <a:gdLst>
                <a:gd name="connsiteX0" fmla="*/ 418 w 89618"/>
                <a:gd name="connsiteY0" fmla="*/ 38835 h 44809"/>
                <a:gd name="connsiteX1" fmla="*/ 418 w 89618"/>
                <a:gd name="connsiteY1" fmla="*/ 38835 h 44809"/>
                <a:gd name="connsiteX2" fmla="*/ 6393 w 89618"/>
                <a:gd name="connsiteY2" fmla="*/ 47796 h 44809"/>
                <a:gd name="connsiteX3" fmla="*/ 39253 w 89618"/>
                <a:gd name="connsiteY3" fmla="*/ 49290 h 44809"/>
                <a:gd name="connsiteX4" fmla="*/ 93023 w 89618"/>
                <a:gd name="connsiteY4" fmla="*/ 20911 h 44809"/>
                <a:gd name="connsiteX5" fmla="*/ 100492 w 89618"/>
                <a:gd name="connsiteY5" fmla="*/ 10455 h 44809"/>
                <a:gd name="connsiteX6" fmla="*/ 97504 w 89618"/>
                <a:gd name="connsiteY6" fmla="*/ 0 h 44809"/>
                <a:gd name="connsiteX7" fmla="*/ 73606 w 89618"/>
                <a:gd name="connsiteY7" fmla="*/ 17924 h 44809"/>
                <a:gd name="connsiteX8" fmla="*/ 36266 w 89618"/>
                <a:gd name="connsiteY8" fmla="*/ 40328 h 44809"/>
                <a:gd name="connsiteX9" fmla="*/ 19835 w 89618"/>
                <a:gd name="connsiteY9" fmla="*/ 44809 h 44809"/>
                <a:gd name="connsiteX10" fmla="*/ 4899 w 89618"/>
                <a:gd name="connsiteY10" fmla="*/ 40328 h 44809"/>
                <a:gd name="connsiteX11" fmla="*/ 1912 w 89618"/>
                <a:gd name="connsiteY11" fmla="*/ 31366 h 44809"/>
                <a:gd name="connsiteX12" fmla="*/ 418 w 89618"/>
                <a:gd name="connsiteY12" fmla="*/ 38835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618" h="44809">
                  <a:moveTo>
                    <a:pt x="418" y="38835"/>
                  </a:moveTo>
                  <a:cubicBezTo>
                    <a:pt x="418" y="38835"/>
                    <a:pt x="418" y="38835"/>
                    <a:pt x="418" y="38835"/>
                  </a:cubicBezTo>
                  <a:cubicBezTo>
                    <a:pt x="418" y="41822"/>
                    <a:pt x="3405" y="44809"/>
                    <a:pt x="6393" y="47796"/>
                  </a:cubicBezTo>
                  <a:cubicBezTo>
                    <a:pt x="15354" y="53771"/>
                    <a:pt x="30291" y="53771"/>
                    <a:pt x="39253" y="49290"/>
                  </a:cubicBezTo>
                  <a:lnTo>
                    <a:pt x="93023" y="20911"/>
                  </a:lnTo>
                  <a:cubicBezTo>
                    <a:pt x="100492" y="16430"/>
                    <a:pt x="100492" y="10455"/>
                    <a:pt x="100492" y="10455"/>
                  </a:cubicBezTo>
                  <a:cubicBezTo>
                    <a:pt x="100492" y="7468"/>
                    <a:pt x="98998" y="1494"/>
                    <a:pt x="97504" y="0"/>
                  </a:cubicBezTo>
                  <a:cubicBezTo>
                    <a:pt x="98998" y="4481"/>
                    <a:pt x="81075" y="11949"/>
                    <a:pt x="73606" y="17924"/>
                  </a:cubicBezTo>
                  <a:cubicBezTo>
                    <a:pt x="63151" y="26885"/>
                    <a:pt x="49708" y="34354"/>
                    <a:pt x="36266" y="40328"/>
                  </a:cubicBezTo>
                  <a:cubicBezTo>
                    <a:pt x="31785" y="41822"/>
                    <a:pt x="25810" y="44809"/>
                    <a:pt x="19835" y="44809"/>
                  </a:cubicBezTo>
                  <a:cubicBezTo>
                    <a:pt x="13861" y="44809"/>
                    <a:pt x="7886" y="43315"/>
                    <a:pt x="4899" y="40328"/>
                  </a:cubicBezTo>
                  <a:cubicBezTo>
                    <a:pt x="3405" y="38835"/>
                    <a:pt x="418" y="34354"/>
                    <a:pt x="1912" y="31366"/>
                  </a:cubicBezTo>
                  <a:cubicBezTo>
                    <a:pt x="1912" y="31366"/>
                    <a:pt x="-1075" y="32860"/>
                    <a:pt x="418" y="38835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7" name="任意多边形: 形状 856"/>
            <p:cNvSpPr/>
            <p:nvPr/>
          </p:nvSpPr>
          <p:spPr>
            <a:xfrm>
              <a:off x="3261629" y="1475350"/>
              <a:ext cx="27267" cy="27267"/>
            </a:xfrm>
            <a:custGeom>
              <a:avLst/>
              <a:gdLst>
                <a:gd name="connsiteX0" fmla="*/ 981 w 29872"/>
                <a:gd name="connsiteY0" fmla="*/ 32860 h 29872"/>
                <a:gd name="connsiteX1" fmla="*/ 981 w 29872"/>
                <a:gd name="connsiteY1" fmla="*/ 32860 h 29872"/>
                <a:gd name="connsiteX2" fmla="*/ 3968 w 29872"/>
                <a:gd name="connsiteY2" fmla="*/ 32860 h 29872"/>
                <a:gd name="connsiteX3" fmla="*/ 24879 w 29872"/>
                <a:gd name="connsiteY3" fmla="*/ 14936 h 29872"/>
                <a:gd name="connsiteX4" fmla="*/ 35335 w 29872"/>
                <a:gd name="connsiteY4" fmla="*/ 1494 h 29872"/>
                <a:gd name="connsiteX5" fmla="*/ 32347 w 29872"/>
                <a:gd name="connsiteY5" fmla="*/ 0 h 29872"/>
                <a:gd name="connsiteX6" fmla="*/ 23386 w 29872"/>
                <a:gd name="connsiteY6" fmla="*/ 11949 h 29872"/>
                <a:gd name="connsiteX7" fmla="*/ 2475 w 29872"/>
                <a:gd name="connsiteY7" fmla="*/ 29873 h 29872"/>
                <a:gd name="connsiteX8" fmla="*/ 981 w 29872"/>
                <a:gd name="connsiteY8" fmla="*/ 3286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72" h="29872">
                  <a:moveTo>
                    <a:pt x="981" y="32860"/>
                  </a:moveTo>
                  <a:cubicBezTo>
                    <a:pt x="981" y="32860"/>
                    <a:pt x="981" y="34354"/>
                    <a:pt x="981" y="32860"/>
                  </a:cubicBezTo>
                  <a:cubicBezTo>
                    <a:pt x="2475" y="32860"/>
                    <a:pt x="3968" y="32860"/>
                    <a:pt x="3968" y="32860"/>
                  </a:cubicBezTo>
                  <a:lnTo>
                    <a:pt x="24879" y="14936"/>
                  </a:lnTo>
                  <a:cubicBezTo>
                    <a:pt x="29360" y="11949"/>
                    <a:pt x="33841" y="7468"/>
                    <a:pt x="35335" y="1494"/>
                  </a:cubicBezTo>
                  <a:cubicBezTo>
                    <a:pt x="33841" y="1494"/>
                    <a:pt x="32347" y="0"/>
                    <a:pt x="32347" y="0"/>
                  </a:cubicBezTo>
                  <a:cubicBezTo>
                    <a:pt x="30854" y="4481"/>
                    <a:pt x="27867" y="8962"/>
                    <a:pt x="23386" y="11949"/>
                  </a:cubicBezTo>
                  <a:lnTo>
                    <a:pt x="2475" y="29873"/>
                  </a:lnTo>
                  <a:cubicBezTo>
                    <a:pt x="-513" y="31366"/>
                    <a:pt x="-513" y="32860"/>
                    <a:pt x="981" y="32860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8" name="任意多边形: 形状 857"/>
            <p:cNvSpPr/>
            <p:nvPr/>
          </p:nvSpPr>
          <p:spPr>
            <a:xfrm>
              <a:off x="3282975" y="1478076"/>
              <a:ext cx="13633" cy="13633"/>
            </a:xfrm>
            <a:custGeom>
              <a:avLst/>
              <a:gdLst>
                <a:gd name="connsiteX0" fmla="*/ 10455 w 0"/>
                <a:gd name="connsiteY0" fmla="*/ 10455 h 0"/>
                <a:gd name="connsiteX1" fmla="*/ 11949 w 0"/>
                <a:gd name="connsiteY1" fmla="*/ 8962 h 0"/>
                <a:gd name="connsiteX2" fmla="*/ 11949 w 0"/>
                <a:gd name="connsiteY2" fmla="*/ 5975 h 0"/>
                <a:gd name="connsiteX3" fmla="*/ 2987 w 0"/>
                <a:gd name="connsiteY3" fmla="*/ 0 h 0"/>
                <a:gd name="connsiteX4" fmla="*/ 0 w 0"/>
                <a:gd name="connsiteY4" fmla="*/ 0 h 0"/>
                <a:gd name="connsiteX5" fmla="*/ 0 w 0"/>
                <a:gd name="connsiteY5" fmla="*/ 2987 h 0"/>
                <a:gd name="connsiteX6" fmla="*/ 10455 w 0"/>
                <a:gd name="connsiteY6" fmla="*/ 10455 h 0"/>
                <a:gd name="connsiteX7" fmla="*/ 10455 w 0"/>
                <a:gd name="connsiteY7" fmla="*/ 1045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0455" y="10455"/>
                  </a:moveTo>
                  <a:cubicBezTo>
                    <a:pt x="10455" y="10455"/>
                    <a:pt x="11949" y="10455"/>
                    <a:pt x="11949" y="8962"/>
                  </a:cubicBezTo>
                  <a:cubicBezTo>
                    <a:pt x="11949" y="7468"/>
                    <a:pt x="11949" y="7468"/>
                    <a:pt x="11949" y="5975"/>
                  </a:cubicBezTo>
                  <a:lnTo>
                    <a:pt x="2987" y="0"/>
                  </a:lnTo>
                  <a:cubicBezTo>
                    <a:pt x="1493" y="0"/>
                    <a:pt x="1493" y="0"/>
                    <a:pt x="0" y="0"/>
                  </a:cubicBezTo>
                  <a:cubicBezTo>
                    <a:pt x="0" y="1494"/>
                    <a:pt x="0" y="1494"/>
                    <a:pt x="0" y="2987"/>
                  </a:cubicBezTo>
                  <a:lnTo>
                    <a:pt x="10455" y="10455"/>
                  </a:lnTo>
                  <a:cubicBezTo>
                    <a:pt x="8962" y="10455"/>
                    <a:pt x="8962" y="10455"/>
                    <a:pt x="10455" y="10455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9" name="任意多边形: 形状 858"/>
            <p:cNvSpPr/>
            <p:nvPr/>
          </p:nvSpPr>
          <p:spPr>
            <a:xfrm>
              <a:off x="3276158" y="1483530"/>
              <a:ext cx="13633" cy="13633"/>
            </a:xfrm>
            <a:custGeom>
              <a:avLst/>
              <a:gdLst>
                <a:gd name="connsiteX0" fmla="*/ 11949 w 0"/>
                <a:gd name="connsiteY0" fmla="*/ 10455 h 0"/>
                <a:gd name="connsiteX1" fmla="*/ 13443 w 0"/>
                <a:gd name="connsiteY1" fmla="*/ 8962 h 0"/>
                <a:gd name="connsiteX2" fmla="*/ 13443 w 0"/>
                <a:gd name="connsiteY2" fmla="*/ 5975 h 0"/>
                <a:gd name="connsiteX3" fmla="*/ 2987 w 0"/>
                <a:gd name="connsiteY3" fmla="*/ 0 h 0"/>
                <a:gd name="connsiteX4" fmla="*/ 0 w 0"/>
                <a:gd name="connsiteY4" fmla="*/ 0 h 0"/>
                <a:gd name="connsiteX5" fmla="*/ 0 w 0"/>
                <a:gd name="connsiteY5" fmla="*/ 2987 h 0"/>
                <a:gd name="connsiteX6" fmla="*/ 11949 w 0"/>
                <a:gd name="connsiteY6" fmla="*/ 10455 h 0"/>
                <a:gd name="connsiteX7" fmla="*/ 11949 w 0"/>
                <a:gd name="connsiteY7" fmla="*/ 1045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1949" y="10455"/>
                  </a:moveTo>
                  <a:cubicBezTo>
                    <a:pt x="11949" y="10455"/>
                    <a:pt x="13443" y="10455"/>
                    <a:pt x="13443" y="8962"/>
                  </a:cubicBezTo>
                  <a:cubicBezTo>
                    <a:pt x="13443" y="7468"/>
                    <a:pt x="13443" y="7468"/>
                    <a:pt x="13443" y="5975"/>
                  </a:cubicBezTo>
                  <a:lnTo>
                    <a:pt x="2987" y="0"/>
                  </a:lnTo>
                  <a:cubicBezTo>
                    <a:pt x="1493" y="0"/>
                    <a:pt x="1493" y="0"/>
                    <a:pt x="0" y="0"/>
                  </a:cubicBezTo>
                  <a:cubicBezTo>
                    <a:pt x="0" y="1494"/>
                    <a:pt x="0" y="1494"/>
                    <a:pt x="0" y="2987"/>
                  </a:cubicBezTo>
                  <a:lnTo>
                    <a:pt x="11949" y="10455"/>
                  </a:lnTo>
                  <a:cubicBezTo>
                    <a:pt x="10455" y="10455"/>
                    <a:pt x="11949" y="10455"/>
                    <a:pt x="11949" y="10455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0" name="任意多边形: 形状 859"/>
            <p:cNvSpPr/>
            <p:nvPr/>
          </p:nvSpPr>
          <p:spPr>
            <a:xfrm>
              <a:off x="3269341" y="1488983"/>
              <a:ext cx="13633" cy="13633"/>
            </a:xfrm>
            <a:custGeom>
              <a:avLst/>
              <a:gdLst>
                <a:gd name="connsiteX0" fmla="*/ 11949 w 0"/>
                <a:gd name="connsiteY0" fmla="*/ 10455 h 0"/>
                <a:gd name="connsiteX1" fmla="*/ 13443 w 0"/>
                <a:gd name="connsiteY1" fmla="*/ 8962 h 0"/>
                <a:gd name="connsiteX2" fmla="*/ 13443 w 0"/>
                <a:gd name="connsiteY2" fmla="*/ 5975 h 0"/>
                <a:gd name="connsiteX3" fmla="*/ 2987 w 0"/>
                <a:gd name="connsiteY3" fmla="*/ 0 h 0"/>
                <a:gd name="connsiteX4" fmla="*/ 0 w 0"/>
                <a:gd name="connsiteY4" fmla="*/ 0 h 0"/>
                <a:gd name="connsiteX5" fmla="*/ 0 w 0"/>
                <a:gd name="connsiteY5" fmla="*/ 2987 h 0"/>
                <a:gd name="connsiteX6" fmla="*/ 11949 w 0"/>
                <a:gd name="connsiteY6" fmla="*/ 10455 h 0"/>
                <a:gd name="connsiteX7" fmla="*/ 11949 w 0"/>
                <a:gd name="connsiteY7" fmla="*/ 1045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1949" y="10455"/>
                  </a:moveTo>
                  <a:cubicBezTo>
                    <a:pt x="11949" y="10455"/>
                    <a:pt x="13443" y="10455"/>
                    <a:pt x="13443" y="8962"/>
                  </a:cubicBezTo>
                  <a:cubicBezTo>
                    <a:pt x="13443" y="7468"/>
                    <a:pt x="13443" y="7468"/>
                    <a:pt x="13443" y="5975"/>
                  </a:cubicBezTo>
                  <a:lnTo>
                    <a:pt x="2987" y="0"/>
                  </a:lnTo>
                  <a:cubicBezTo>
                    <a:pt x="1493" y="0"/>
                    <a:pt x="1493" y="0"/>
                    <a:pt x="0" y="0"/>
                  </a:cubicBezTo>
                  <a:cubicBezTo>
                    <a:pt x="0" y="1494"/>
                    <a:pt x="0" y="1494"/>
                    <a:pt x="0" y="2987"/>
                  </a:cubicBezTo>
                  <a:lnTo>
                    <a:pt x="11949" y="10455"/>
                  </a:lnTo>
                  <a:cubicBezTo>
                    <a:pt x="11949" y="10455"/>
                    <a:pt x="11949" y="10455"/>
                    <a:pt x="11949" y="10455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1" name="任意多边形: 形状 860"/>
            <p:cNvSpPr/>
            <p:nvPr/>
          </p:nvSpPr>
          <p:spPr>
            <a:xfrm>
              <a:off x="3265251" y="1494437"/>
              <a:ext cx="13633" cy="13633"/>
            </a:xfrm>
            <a:custGeom>
              <a:avLst/>
              <a:gdLst>
                <a:gd name="connsiteX0" fmla="*/ 10455 w 0"/>
                <a:gd name="connsiteY0" fmla="*/ 10455 h 0"/>
                <a:gd name="connsiteX1" fmla="*/ 11949 w 0"/>
                <a:gd name="connsiteY1" fmla="*/ 8962 h 0"/>
                <a:gd name="connsiteX2" fmla="*/ 11949 w 0"/>
                <a:gd name="connsiteY2" fmla="*/ 5975 h 0"/>
                <a:gd name="connsiteX3" fmla="*/ 2987 w 0"/>
                <a:gd name="connsiteY3" fmla="*/ 0 h 0"/>
                <a:gd name="connsiteX4" fmla="*/ 0 w 0"/>
                <a:gd name="connsiteY4" fmla="*/ 0 h 0"/>
                <a:gd name="connsiteX5" fmla="*/ 0 w 0"/>
                <a:gd name="connsiteY5" fmla="*/ 2987 h 0"/>
                <a:gd name="connsiteX6" fmla="*/ 10455 w 0"/>
                <a:gd name="connsiteY6" fmla="*/ 10455 h 0"/>
                <a:gd name="connsiteX7" fmla="*/ 10455 w 0"/>
                <a:gd name="connsiteY7" fmla="*/ 1045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0455" y="10455"/>
                  </a:moveTo>
                  <a:cubicBezTo>
                    <a:pt x="10455" y="10455"/>
                    <a:pt x="11949" y="10455"/>
                    <a:pt x="11949" y="8962"/>
                  </a:cubicBezTo>
                  <a:cubicBezTo>
                    <a:pt x="11949" y="7468"/>
                    <a:pt x="11949" y="7468"/>
                    <a:pt x="11949" y="5975"/>
                  </a:cubicBezTo>
                  <a:lnTo>
                    <a:pt x="2987" y="0"/>
                  </a:lnTo>
                  <a:cubicBezTo>
                    <a:pt x="1494" y="0"/>
                    <a:pt x="1494" y="0"/>
                    <a:pt x="0" y="0"/>
                  </a:cubicBezTo>
                  <a:cubicBezTo>
                    <a:pt x="0" y="1494"/>
                    <a:pt x="0" y="1494"/>
                    <a:pt x="0" y="2987"/>
                  </a:cubicBezTo>
                  <a:lnTo>
                    <a:pt x="10455" y="10455"/>
                  </a:lnTo>
                  <a:cubicBezTo>
                    <a:pt x="8962" y="10455"/>
                    <a:pt x="8962" y="10455"/>
                    <a:pt x="10455" y="10455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2" name="任意多边形: 形状 861"/>
            <p:cNvSpPr/>
            <p:nvPr/>
          </p:nvSpPr>
          <p:spPr>
            <a:xfrm>
              <a:off x="3256897" y="1141329"/>
              <a:ext cx="231769" cy="163602"/>
            </a:xfrm>
            <a:custGeom>
              <a:avLst/>
              <a:gdLst>
                <a:gd name="connsiteX0" fmla="*/ 190 w 253917"/>
                <a:gd name="connsiteY0" fmla="*/ 153844 h 179236"/>
                <a:gd name="connsiteX1" fmla="*/ 46493 w 253917"/>
                <a:gd name="connsiteY1" fmla="*/ 182223 h 179236"/>
                <a:gd name="connsiteX2" fmla="*/ 266058 w 253917"/>
                <a:gd name="connsiteY2" fmla="*/ 79163 h 179236"/>
                <a:gd name="connsiteX3" fmla="*/ 240666 w 253917"/>
                <a:gd name="connsiteY3" fmla="*/ 41822 h 179236"/>
                <a:gd name="connsiteX4" fmla="*/ 225729 w 253917"/>
                <a:gd name="connsiteY4" fmla="*/ 0 h 179236"/>
                <a:gd name="connsiteX5" fmla="*/ 190 w 253917"/>
                <a:gd name="connsiteY5" fmla="*/ 153844 h 17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917" h="179236">
                  <a:moveTo>
                    <a:pt x="190" y="153844"/>
                  </a:moveTo>
                  <a:lnTo>
                    <a:pt x="46493" y="182223"/>
                  </a:lnTo>
                  <a:lnTo>
                    <a:pt x="266058" y="79163"/>
                  </a:lnTo>
                  <a:cubicBezTo>
                    <a:pt x="276513" y="73188"/>
                    <a:pt x="240666" y="53771"/>
                    <a:pt x="240666" y="41822"/>
                  </a:cubicBezTo>
                  <a:lnTo>
                    <a:pt x="225729" y="0"/>
                  </a:lnTo>
                  <a:cubicBezTo>
                    <a:pt x="130137" y="50784"/>
                    <a:pt x="-5784" y="86631"/>
                    <a:pt x="190" y="153844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3" name="任意多边形: 形状 862"/>
            <p:cNvSpPr/>
            <p:nvPr/>
          </p:nvSpPr>
          <p:spPr>
            <a:xfrm>
              <a:off x="3256835" y="1254275"/>
              <a:ext cx="68168" cy="204502"/>
            </a:xfrm>
            <a:custGeom>
              <a:avLst/>
              <a:gdLst>
                <a:gd name="connsiteX0" fmla="*/ 86889 w 74681"/>
                <a:gd name="connsiteY0" fmla="*/ 228758 h 224045"/>
                <a:gd name="connsiteX1" fmla="*/ 80914 w 74681"/>
                <a:gd name="connsiteY1" fmla="*/ 31598 h 224045"/>
                <a:gd name="connsiteX2" fmla="*/ 62991 w 74681"/>
                <a:gd name="connsiteY2" fmla="*/ 10688 h 224045"/>
                <a:gd name="connsiteX3" fmla="*/ 28637 w 74681"/>
                <a:gd name="connsiteY3" fmla="*/ 232 h 224045"/>
                <a:gd name="connsiteX4" fmla="*/ 258 w 74681"/>
                <a:gd name="connsiteY4" fmla="*/ 28611 h 224045"/>
                <a:gd name="connsiteX5" fmla="*/ 22663 w 74681"/>
                <a:gd name="connsiteY5" fmla="*/ 230252 h 224045"/>
                <a:gd name="connsiteX6" fmla="*/ 54029 w 74681"/>
                <a:gd name="connsiteY6" fmla="*/ 233239 h 224045"/>
                <a:gd name="connsiteX7" fmla="*/ 86889 w 74681"/>
                <a:gd name="connsiteY7" fmla="*/ 228758 h 2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81" h="224045">
                  <a:moveTo>
                    <a:pt x="86889" y="228758"/>
                  </a:moveTo>
                  <a:cubicBezTo>
                    <a:pt x="86889" y="170506"/>
                    <a:pt x="85395" y="39067"/>
                    <a:pt x="80914" y="31598"/>
                  </a:cubicBezTo>
                  <a:cubicBezTo>
                    <a:pt x="76434" y="24130"/>
                    <a:pt x="70459" y="15168"/>
                    <a:pt x="62991" y="10688"/>
                  </a:cubicBezTo>
                  <a:cubicBezTo>
                    <a:pt x="52535" y="4713"/>
                    <a:pt x="40586" y="-1261"/>
                    <a:pt x="28637" y="232"/>
                  </a:cubicBezTo>
                  <a:cubicBezTo>
                    <a:pt x="13701" y="3219"/>
                    <a:pt x="3246" y="13675"/>
                    <a:pt x="258" y="28611"/>
                  </a:cubicBezTo>
                  <a:cubicBezTo>
                    <a:pt x="-2729" y="43548"/>
                    <a:pt x="21169" y="222784"/>
                    <a:pt x="22663" y="230252"/>
                  </a:cubicBezTo>
                  <a:cubicBezTo>
                    <a:pt x="25650" y="237720"/>
                    <a:pt x="45067" y="230252"/>
                    <a:pt x="54029" y="233239"/>
                  </a:cubicBezTo>
                  <a:lnTo>
                    <a:pt x="86889" y="228758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4" name="任意多边形: 形状 863"/>
            <p:cNvSpPr/>
            <p:nvPr/>
          </p:nvSpPr>
          <p:spPr>
            <a:xfrm>
              <a:off x="3278171" y="1446876"/>
              <a:ext cx="54534" cy="27267"/>
            </a:xfrm>
            <a:custGeom>
              <a:avLst/>
              <a:gdLst>
                <a:gd name="connsiteX0" fmla="*/ 9744 w 59745"/>
                <a:gd name="connsiteY0" fmla="*/ 4310 h 29872"/>
                <a:gd name="connsiteX1" fmla="*/ 8250 w 59745"/>
                <a:gd name="connsiteY1" fmla="*/ 29702 h 29872"/>
                <a:gd name="connsiteX2" fmla="*/ 53059 w 59745"/>
                <a:gd name="connsiteY2" fmla="*/ 31195 h 29872"/>
                <a:gd name="connsiteX3" fmla="*/ 54553 w 59745"/>
                <a:gd name="connsiteY3" fmla="*/ 5803 h 29872"/>
                <a:gd name="connsiteX4" fmla="*/ 9744 w 59745"/>
                <a:gd name="connsiteY4" fmla="*/ 431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45" h="29872">
                  <a:moveTo>
                    <a:pt x="9744" y="4310"/>
                  </a:moveTo>
                  <a:cubicBezTo>
                    <a:pt x="-2205" y="10284"/>
                    <a:pt x="-3699" y="22233"/>
                    <a:pt x="8250" y="29702"/>
                  </a:cubicBezTo>
                  <a:cubicBezTo>
                    <a:pt x="20199" y="37170"/>
                    <a:pt x="39616" y="38663"/>
                    <a:pt x="53059" y="31195"/>
                  </a:cubicBezTo>
                  <a:cubicBezTo>
                    <a:pt x="65008" y="25221"/>
                    <a:pt x="66502" y="13272"/>
                    <a:pt x="54553" y="5803"/>
                  </a:cubicBezTo>
                  <a:cubicBezTo>
                    <a:pt x="42604" y="-1665"/>
                    <a:pt x="21693" y="-1665"/>
                    <a:pt x="9744" y="4310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5" name="任意多边形: 形状 864"/>
            <p:cNvSpPr/>
            <p:nvPr/>
          </p:nvSpPr>
          <p:spPr>
            <a:xfrm>
              <a:off x="3367502" y="1208133"/>
              <a:ext cx="54534" cy="54534"/>
            </a:xfrm>
            <a:custGeom>
              <a:avLst/>
              <a:gdLst>
                <a:gd name="connsiteX0" fmla="*/ 0 w 59745"/>
                <a:gd name="connsiteY0" fmla="*/ 68707 h 59745"/>
                <a:gd name="connsiteX1" fmla="*/ 59745 w 59745"/>
                <a:gd name="connsiteY1" fmla="*/ 31366 h 59745"/>
                <a:gd name="connsiteX2" fmla="*/ 35847 w 59745"/>
                <a:gd name="connsiteY2" fmla="*/ 0 h 59745"/>
                <a:gd name="connsiteX3" fmla="*/ 31366 w 59745"/>
                <a:gd name="connsiteY3" fmla="*/ 32860 h 59745"/>
                <a:gd name="connsiteX4" fmla="*/ 0 w 59745"/>
                <a:gd name="connsiteY4" fmla="*/ 68707 h 5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45" h="59745">
                  <a:moveTo>
                    <a:pt x="0" y="68707"/>
                  </a:moveTo>
                  <a:cubicBezTo>
                    <a:pt x="16430" y="55264"/>
                    <a:pt x="37341" y="43315"/>
                    <a:pt x="59745" y="31366"/>
                  </a:cubicBezTo>
                  <a:cubicBezTo>
                    <a:pt x="46303" y="25392"/>
                    <a:pt x="40328" y="17924"/>
                    <a:pt x="35847" y="0"/>
                  </a:cubicBezTo>
                  <a:cubicBezTo>
                    <a:pt x="37341" y="11949"/>
                    <a:pt x="37341" y="20911"/>
                    <a:pt x="31366" y="32860"/>
                  </a:cubicBezTo>
                  <a:cubicBezTo>
                    <a:pt x="26885" y="46303"/>
                    <a:pt x="5974" y="53771"/>
                    <a:pt x="0" y="68707"/>
                  </a:cubicBezTo>
                  <a:close/>
                </a:path>
              </a:pathLst>
            </a:custGeom>
            <a:solidFill>
              <a:srgbClr val="1D1D1B">
                <a:alpha val="2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6" name="任意多边形: 形状 865"/>
            <p:cNvSpPr/>
            <p:nvPr/>
          </p:nvSpPr>
          <p:spPr>
            <a:xfrm>
              <a:off x="3384276" y="927697"/>
              <a:ext cx="81801" cy="149969"/>
            </a:xfrm>
            <a:custGeom>
              <a:avLst/>
              <a:gdLst>
                <a:gd name="connsiteX0" fmla="*/ 1041 w 89618"/>
                <a:gd name="connsiteY0" fmla="*/ 136961 h 164299"/>
                <a:gd name="connsiteX1" fmla="*/ 23445 w 89618"/>
                <a:gd name="connsiteY1" fmla="*/ 174302 h 164299"/>
                <a:gd name="connsiteX2" fmla="*/ 23445 w 89618"/>
                <a:gd name="connsiteY2" fmla="*/ 174302 h 164299"/>
                <a:gd name="connsiteX3" fmla="*/ 60786 w 89618"/>
                <a:gd name="connsiteY3" fmla="*/ 151898 h 164299"/>
                <a:gd name="connsiteX4" fmla="*/ 89165 w 89618"/>
                <a:gd name="connsiteY4" fmla="*/ 38382 h 164299"/>
                <a:gd name="connsiteX5" fmla="*/ 66761 w 89618"/>
                <a:gd name="connsiteY5" fmla="*/ 1041 h 164299"/>
                <a:gd name="connsiteX6" fmla="*/ 66761 w 89618"/>
                <a:gd name="connsiteY6" fmla="*/ 1041 h 164299"/>
                <a:gd name="connsiteX7" fmla="*/ 29420 w 89618"/>
                <a:gd name="connsiteY7" fmla="*/ 23445 h 164299"/>
                <a:gd name="connsiteX8" fmla="*/ 1041 w 89618"/>
                <a:gd name="connsiteY8" fmla="*/ 136961 h 16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618" h="164299">
                  <a:moveTo>
                    <a:pt x="1041" y="136961"/>
                  </a:moveTo>
                  <a:cubicBezTo>
                    <a:pt x="-3440" y="153391"/>
                    <a:pt x="7015" y="169821"/>
                    <a:pt x="23445" y="174302"/>
                  </a:cubicBezTo>
                  <a:lnTo>
                    <a:pt x="23445" y="174302"/>
                  </a:lnTo>
                  <a:cubicBezTo>
                    <a:pt x="39875" y="178783"/>
                    <a:pt x="56305" y="168328"/>
                    <a:pt x="60786" y="151898"/>
                  </a:cubicBezTo>
                  <a:lnTo>
                    <a:pt x="89165" y="38382"/>
                  </a:lnTo>
                  <a:cubicBezTo>
                    <a:pt x="93646" y="21952"/>
                    <a:pt x="83191" y="5522"/>
                    <a:pt x="66761" y="1041"/>
                  </a:cubicBezTo>
                  <a:lnTo>
                    <a:pt x="66761" y="1041"/>
                  </a:lnTo>
                  <a:cubicBezTo>
                    <a:pt x="50331" y="-3440"/>
                    <a:pt x="33901" y="7015"/>
                    <a:pt x="29420" y="23445"/>
                  </a:cubicBezTo>
                  <a:lnTo>
                    <a:pt x="1041" y="136961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7" name="任意多边形: 形状 866"/>
            <p:cNvSpPr/>
            <p:nvPr/>
          </p:nvSpPr>
          <p:spPr>
            <a:xfrm>
              <a:off x="3329329" y="1031676"/>
              <a:ext cx="95434" cy="122701"/>
            </a:xfrm>
            <a:custGeom>
              <a:avLst/>
              <a:gdLst>
                <a:gd name="connsiteX0" fmla="*/ 10455 w 104554"/>
                <a:gd name="connsiteY0" fmla="*/ 109677 h 134427"/>
                <a:gd name="connsiteX1" fmla="*/ 0 w 104554"/>
                <a:gd name="connsiteY1" fmla="*/ 129094 h 134427"/>
                <a:gd name="connsiteX2" fmla="*/ 29873 w 104554"/>
                <a:gd name="connsiteY2" fmla="*/ 147018 h 134427"/>
                <a:gd name="connsiteX3" fmla="*/ 41822 w 104554"/>
                <a:gd name="connsiteY3" fmla="*/ 132082 h 134427"/>
                <a:gd name="connsiteX4" fmla="*/ 113516 w 104554"/>
                <a:gd name="connsiteY4" fmla="*/ 46944 h 134427"/>
                <a:gd name="connsiteX5" fmla="*/ 106048 w 104554"/>
                <a:gd name="connsiteY5" fmla="*/ 5123 h 134427"/>
                <a:gd name="connsiteX6" fmla="*/ 106048 w 104554"/>
                <a:gd name="connsiteY6" fmla="*/ 5123 h 134427"/>
                <a:gd name="connsiteX7" fmla="*/ 64226 w 104554"/>
                <a:gd name="connsiteY7" fmla="*/ 12591 h 134427"/>
                <a:gd name="connsiteX8" fmla="*/ 10455 w 104554"/>
                <a:gd name="connsiteY8" fmla="*/ 109677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554" h="134427">
                  <a:moveTo>
                    <a:pt x="10455" y="109677"/>
                  </a:moveTo>
                  <a:cubicBezTo>
                    <a:pt x="2987" y="118639"/>
                    <a:pt x="0" y="124613"/>
                    <a:pt x="0" y="129094"/>
                  </a:cubicBezTo>
                  <a:cubicBezTo>
                    <a:pt x="0" y="135069"/>
                    <a:pt x="23898" y="151499"/>
                    <a:pt x="29873" y="147018"/>
                  </a:cubicBezTo>
                  <a:cubicBezTo>
                    <a:pt x="34354" y="144031"/>
                    <a:pt x="37341" y="138056"/>
                    <a:pt x="41822" y="132082"/>
                  </a:cubicBezTo>
                  <a:lnTo>
                    <a:pt x="113516" y="46944"/>
                  </a:lnTo>
                  <a:cubicBezTo>
                    <a:pt x="122478" y="33502"/>
                    <a:pt x="119491" y="14085"/>
                    <a:pt x="106048" y="5123"/>
                  </a:cubicBezTo>
                  <a:lnTo>
                    <a:pt x="106048" y="5123"/>
                  </a:lnTo>
                  <a:cubicBezTo>
                    <a:pt x="92605" y="-3839"/>
                    <a:pt x="73188" y="-852"/>
                    <a:pt x="64226" y="12591"/>
                  </a:cubicBezTo>
                  <a:lnTo>
                    <a:pt x="10455" y="109677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8" name="任意多边形: 形状 867"/>
            <p:cNvSpPr/>
            <p:nvPr/>
          </p:nvSpPr>
          <p:spPr>
            <a:xfrm>
              <a:off x="3413811" y="1144056"/>
              <a:ext cx="122701" cy="68168"/>
            </a:xfrm>
            <a:custGeom>
              <a:avLst/>
              <a:gdLst>
                <a:gd name="connsiteX0" fmla="*/ 138958 w 134427"/>
                <a:gd name="connsiteY0" fmla="*/ 77669 h 74681"/>
                <a:gd name="connsiteX1" fmla="*/ 101617 w 134427"/>
                <a:gd name="connsiteY1" fmla="*/ 82150 h 74681"/>
                <a:gd name="connsiteX2" fmla="*/ 65769 w 134427"/>
                <a:gd name="connsiteY2" fmla="*/ 68707 h 74681"/>
                <a:gd name="connsiteX3" fmla="*/ 11998 w 134427"/>
                <a:gd name="connsiteY3" fmla="*/ 35847 h 74681"/>
                <a:gd name="connsiteX4" fmla="*/ 1543 w 134427"/>
                <a:gd name="connsiteY4" fmla="*/ 2987 h 74681"/>
                <a:gd name="connsiteX5" fmla="*/ 3037 w 134427"/>
                <a:gd name="connsiteY5" fmla="*/ 0 h 74681"/>
                <a:gd name="connsiteX6" fmla="*/ 55314 w 134427"/>
                <a:gd name="connsiteY6" fmla="*/ 34354 h 74681"/>
                <a:gd name="connsiteX7" fmla="*/ 68757 w 134427"/>
                <a:gd name="connsiteY7" fmla="*/ 40328 h 74681"/>
                <a:gd name="connsiteX8" fmla="*/ 132983 w 134427"/>
                <a:gd name="connsiteY8" fmla="*/ 49290 h 74681"/>
                <a:gd name="connsiteX9" fmla="*/ 138958 w 134427"/>
                <a:gd name="connsiteY9" fmla="*/ 77669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4427" h="74681">
                  <a:moveTo>
                    <a:pt x="138958" y="77669"/>
                  </a:moveTo>
                  <a:cubicBezTo>
                    <a:pt x="128502" y="83643"/>
                    <a:pt x="115059" y="85137"/>
                    <a:pt x="101617" y="82150"/>
                  </a:cubicBezTo>
                  <a:cubicBezTo>
                    <a:pt x="89667" y="79163"/>
                    <a:pt x="77718" y="74682"/>
                    <a:pt x="65769" y="68707"/>
                  </a:cubicBezTo>
                  <a:cubicBezTo>
                    <a:pt x="46352" y="59745"/>
                    <a:pt x="28428" y="47796"/>
                    <a:pt x="11998" y="35847"/>
                  </a:cubicBezTo>
                  <a:cubicBezTo>
                    <a:pt x="-5925" y="22405"/>
                    <a:pt x="1543" y="2987"/>
                    <a:pt x="1543" y="2987"/>
                  </a:cubicBezTo>
                  <a:lnTo>
                    <a:pt x="3037" y="0"/>
                  </a:lnTo>
                  <a:cubicBezTo>
                    <a:pt x="20960" y="16430"/>
                    <a:pt x="34403" y="23898"/>
                    <a:pt x="55314" y="34354"/>
                  </a:cubicBezTo>
                  <a:cubicBezTo>
                    <a:pt x="59795" y="37341"/>
                    <a:pt x="64276" y="38834"/>
                    <a:pt x="68757" y="40328"/>
                  </a:cubicBezTo>
                  <a:cubicBezTo>
                    <a:pt x="89667" y="49290"/>
                    <a:pt x="110578" y="53771"/>
                    <a:pt x="132983" y="49290"/>
                  </a:cubicBezTo>
                  <a:cubicBezTo>
                    <a:pt x="134476" y="59745"/>
                    <a:pt x="137464" y="68707"/>
                    <a:pt x="138958" y="77669"/>
                  </a:cubicBezTo>
                  <a:close/>
                </a:path>
              </a:pathLst>
            </a:custGeom>
            <a:solidFill>
              <a:srgbClr val="432918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9" name="任意多边形: 形状 868"/>
            <p:cNvSpPr/>
            <p:nvPr/>
          </p:nvSpPr>
          <p:spPr>
            <a:xfrm>
              <a:off x="3404313" y="922805"/>
              <a:ext cx="163602" cy="272670"/>
            </a:xfrm>
            <a:custGeom>
              <a:avLst/>
              <a:gdLst>
                <a:gd name="connsiteX0" fmla="*/ 179236 w 179236"/>
                <a:gd name="connsiteY0" fmla="*/ 72121 h 298726"/>
                <a:gd name="connsiteX1" fmla="*/ 174755 w 179236"/>
                <a:gd name="connsiteY1" fmla="*/ 245382 h 298726"/>
                <a:gd name="connsiteX2" fmla="*/ 174755 w 179236"/>
                <a:gd name="connsiteY2" fmla="*/ 248369 h 298726"/>
                <a:gd name="connsiteX3" fmla="*/ 126959 w 179236"/>
                <a:gd name="connsiteY3" fmla="*/ 306621 h 298726"/>
                <a:gd name="connsiteX4" fmla="*/ 85137 w 179236"/>
                <a:gd name="connsiteY4" fmla="*/ 299153 h 298726"/>
                <a:gd name="connsiteX5" fmla="*/ 79163 w 179236"/>
                <a:gd name="connsiteY5" fmla="*/ 296166 h 298726"/>
                <a:gd name="connsiteX6" fmla="*/ 52277 w 179236"/>
                <a:gd name="connsiteY6" fmla="*/ 281229 h 298726"/>
                <a:gd name="connsiteX7" fmla="*/ 49290 w 179236"/>
                <a:gd name="connsiteY7" fmla="*/ 279736 h 298726"/>
                <a:gd name="connsiteX8" fmla="*/ 34354 w 179236"/>
                <a:gd name="connsiteY8" fmla="*/ 270774 h 298726"/>
                <a:gd name="connsiteX9" fmla="*/ 29873 w 179236"/>
                <a:gd name="connsiteY9" fmla="*/ 269280 h 298726"/>
                <a:gd name="connsiteX10" fmla="*/ 0 w 179236"/>
                <a:gd name="connsiteY10" fmla="*/ 218497 h 298726"/>
                <a:gd name="connsiteX11" fmla="*/ 1494 w 179236"/>
                <a:gd name="connsiteY11" fmla="*/ 203560 h 298726"/>
                <a:gd name="connsiteX12" fmla="*/ 2987 w 179236"/>
                <a:gd name="connsiteY12" fmla="*/ 173688 h 298726"/>
                <a:gd name="connsiteX13" fmla="*/ 8962 w 179236"/>
                <a:gd name="connsiteY13" fmla="*/ 107968 h 298726"/>
                <a:gd name="connsiteX14" fmla="*/ 8962 w 179236"/>
                <a:gd name="connsiteY14" fmla="*/ 101993 h 298726"/>
                <a:gd name="connsiteX15" fmla="*/ 10455 w 179236"/>
                <a:gd name="connsiteY15" fmla="*/ 76601 h 298726"/>
                <a:gd name="connsiteX16" fmla="*/ 11949 w 179236"/>
                <a:gd name="connsiteY16" fmla="*/ 57184 h 298726"/>
                <a:gd name="connsiteX17" fmla="*/ 56758 w 179236"/>
                <a:gd name="connsiteY17" fmla="*/ 3413 h 298726"/>
                <a:gd name="connsiteX18" fmla="*/ 115010 w 179236"/>
                <a:gd name="connsiteY18" fmla="*/ 10882 h 298726"/>
                <a:gd name="connsiteX19" fmla="*/ 179236 w 179236"/>
                <a:gd name="connsiteY19" fmla="*/ 72121 h 29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9236" h="298726">
                  <a:moveTo>
                    <a:pt x="179236" y="72121"/>
                  </a:moveTo>
                  <a:lnTo>
                    <a:pt x="174755" y="245382"/>
                  </a:lnTo>
                  <a:lnTo>
                    <a:pt x="174755" y="248369"/>
                  </a:lnTo>
                  <a:cubicBezTo>
                    <a:pt x="174755" y="278242"/>
                    <a:pt x="153844" y="300647"/>
                    <a:pt x="126959" y="306621"/>
                  </a:cubicBezTo>
                  <a:cubicBezTo>
                    <a:pt x="113516" y="309608"/>
                    <a:pt x="98580" y="308115"/>
                    <a:pt x="85137" y="299153"/>
                  </a:cubicBezTo>
                  <a:lnTo>
                    <a:pt x="79163" y="296166"/>
                  </a:lnTo>
                  <a:lnTo>
                    <a:pt x="52277" y="281229"/>
                  </a:lnTo>
                  <a:lnTo>
                    <a:pt x="49290" y="279736"/>
                  </a:lnTo>
                  <a:lnTo>
                    <a:pt x="34354" y="270774"/>
                  </a:lnTo>
                  <a:lnTo>
                    <a:pt x="29873" y="269280"/>
                  </a:lnTo>
                  <a:cubicBezTo>
                    <a:pt x="11949" y="258825"/>
                    <a:pt x="0" y="239408"/>
                    <a:pt x="0" y="218497"/>
                  </a:cubicBezTo>
                  <a:lnTo>
                    <a:pt x="1494" y="203560"/>
                  </a:lnTo>
                  <a:lnTo>
                    <a:pt x="2987" y="173688"/>
                  </a:lnTo>
                  <a:lnTo>
                    <a:pt x="8962" y="107968"/>
                  </a:lnTo>
                  <a:lnTo>
                    <a:pt x="8962" y="101993"/>
                  </a:lnTo>
                  <a:lnTo>
                    <a:pt x="10455" y="76601"/>
                  </a:lnTo>
                  <a:cubicBezTo>
                    <a:pt x="10455" y="69133"/>
                    <a:pt x="10455" y="63159"/>
                    <a:pt x="11949" y="57184"/>
                  </a:cubicBezTo>
                  <a:cubicBezTo>
                    <a:pt x="17924" y="30299"/>
                    <a:pt x="35847" y="10882"/>
                    <a:pt x="56758" y="3413"/>
                  </a:cubicBezTo>
                  <a:cubicBezTo>
                    <a:pt x="74682" y="-2561"/>
                    <a:pt x="95593" y="-1068"/>
                    <a:pt x="115010" y="10882"/>
                  </a:cubicBezTo>
                  <a:cubicBezTo>
                    <a:pt x="144882" y="27312"/>
                    <a:pt x="165793" y="48222"/>
                    <a:pt x="179236" y="72121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0" name="任意多边形: 形状 869"/>
            <p:cNvSpPr/>
            <p:nvPr/>
          </p:nvSpPr>
          <p:spPr>
            <a:xfrm>
              <a:off x="3475207" y="1006358"/>
              <a:ext cx="81801" cy="190869"/>
            </a:xfrm>
            <a:custGeom>
              <a:avLst/>
              <a:gdLst>
                <a:gd name="connsiteX0" fmla="*/ 95593 w 89618"/>
                <a:gd name="connsiteY0" fmla="*/ 152351 h 209108"/>
                <a:gd name="connsiteX1" fmla="*/ 95593 w 89618"/>
                <a:gd name="connsiteY1" fmla="*/ 155338 h 209108"/>
                <a:gd name="connsiteX2" fmla="*/ 47796 w 89618"/>
                <a:gd name="connsiteY2" fmla="*/ 213590 h 209108"/>
                <a:gd name="connsiteX3" fmla="*/ 5975 w 89618"/>
                <a:gd name="connsiteY3" fmla="*/ 206122 h 209108"/>
                <a:gd name="connsiteX4" fmla="*/ 0 w 89618"/>
                <a:gd name="connsiteY4" fmla="*/ 203134 h 209108"/>
                <a:gd name="connsiteX5" fmla="*/ 38835 w 89618"/>
                <a:gd name="connsiteY5" fmla="*/ 132933 h 209108"/>
                <a:gd name="connsiteX6" fmla="*/ 43315 w 89618"/>
                <a:gd name="connsiteY6" fmla="*/ 110529 h 209108"/>
                <a:gd name="connsiteX7" fmla="*/ 44809 w 89618"/>
                <a:gd name="connsiteY7" fmla="*/ 91112 h 209108"/>
                <a:gd name="connsiteX8" fmla="*/ 49290 w 89618"/>
                <a:gd name="connsiteY8" fmla="*/ 0 h 209108"/>
                <a:gd name="connsiteX9" fmla="*/ 56758 w 89618"/>
                <a:gd name="connsiteY9" fmla="*/ 19417 h 209108"/>
                <a:gd name="connsiteX10" fmla="*/ 65720 w 89618"/>
                <a:gd name="connsiteY10" fmla="*/ 64226 h 209108"/>
                <a:gd name="connsiteX11" fmla="*/ 71695 w 89618"/>
                <a:gd name="connsiteY11" fmla="*/ 104554 h 209108"/>
                <a:gd name="connsiteX12" fmla="*/ 91112 w 89618"/>
                <a:gd name="connsiteY12" fmla="*/ 134427 h 209108"/>
                <a:gd name="connsiteX13" fmla="*/ 95593 w 89618"/>
                <a:gd name="connsiteY13" fmla="*/ 152351 h 20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618" h="209108">
                  <a:moveTo>
                    <a:pt x="95593" y="152351"/>
                  </a:moveTo>
                  <a:lnTo>
                    <a:pt x="95593" y="155338"/>
                  </a:lnTo>
                  <a:cubicBezTo>
                    <a:pt x="95593" y="185211"/>
                    <a:pt x="74682" y="207615"/>
                    <a:pt x="47796" y="213590"/>
                  </a:cubicBezTo>
                  <a:cubicBezTo>
                    <a:pt x="34354" y="216577"/>
                    <a:pt x="19418" y="215083"/>
                    <a:pt x="5975" y="206122"/>
                  </a:cubicBezTo>
                  <a:lnTo>
                    <a:pt x="0" y="203134"/>
                  </a:lnTo>
                  <a:cubicBezTo>
                    <a:pt x="25392" y="189692"/>
                    <a:pt x="32860" y="155338"/>
                    <a:pt x="38835" y="132933"/>
                  </a:cubicBezTo>
                  <a:cubicBezTo>
                    <a:pt x="40328" y="125465"/>
                    <a:pt x="43315" y="117997"/>
                    <a:pt x="43315" y="110529"/>
                  </a:cubicBezTo>
                  <a:cubicBezTo>
                    <a:pt x="44809" y="104554"/>
                    <a:pt x="44809" y="97086"/>
                    <a:pt x="44809" y="91112"/>
                  </a:cubicBezTo>
                  <a:cubicBezTo>
                    <a:pt x="46303" y="61239"/>
                    <a:pt x="47796" y="29873"/>
                    <a:pt x="49290" y="0"/>
                  </a:cubicBezTo>
                  <a:cubicBezTo>
                    <a:pt x="53771" y="5975"/>
                    <a:pt x="53771" y="11949"/>
                    <a:pt x="56758" y="19417"/>
                  </a:cubicBezTo>
                  <a:cubicBezTo>
                    <a:pt x="59745" y="34354"/>
                    <a:pt x="62733" y="49290"/>
                    <a:pt x="65720" y="64226"/>
                  </a:cubicBezTo>
                  <a:cubicBezTo>
                    <a:pt x="68707" y="77669"/>
                    <a:pt x="71695" y="91112"/>
                    <a:pt x="71695" y="104554"/>
                  </a:cubicBezTo>
                  <a:cubicBezTo>
                    <a:pt x="71695" y="116503"/>
                    <a:pt x="92606" y="123972"/>
                    <a:pt x="91112" y="134427"/>
                  </a:cubicBezTo>
                  <a:cubicBezTo>
                    <a:pt x="89618" y="143389"/>
                    <a:pt x="92606" y="149363"/>
                    <a:pt x="95593" y="152351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1" name="任意多边形: 形状 870"/>
            <p:cNvSpPr/>
            <p:nvPr/>
          </p:nvSpPr>
          <p:spPr>
            <a:xfrm>
              <a:off x="3453394" y="992189"/>
              <a:ext cx="13633" cy="13633"/>
            </a:xfrm>
            <a:custGeom>
              <a:avLst/>
              <a:gdLst>
                <a:gd name="connsiteX0" fmla="*/ 0 w 0"/>
                <a:gd name="connsiteY0" fmla="*/ 3573 h 0"/>
                <a:gd name="connsiteX1" fmla="*/ 4481 w 0"/>
                <a:gd name="connsiteY1" fmla="*/ 11041 h 0"/>
                <a:gd name="connsiteX2" fmla="*/ 8962 w 0"/>
                <a:gd name="connsiteY2" fmla="*/ 8054 h 0"/>
                <a:gd name="connsiteX3" fmla="*/ 4481 w 0"/>
                <a:gd name="connsiteY3" fmla="*/ 586 h 0"/>
                <a:gd name="connsiteX4" fmla="*/ 0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573"/>
                  </a:moveTo>
                  <a:cubicBezTo>
                    <a:pt x="0" y="6560"/>
                    <a:pt x="1493" y="9548"/>
                    <a:pt x="4481" y="11041"/>
                  </a:cubicBezTo>
                  <a:cubicBezTo>
                    <a:pt x="7468" y="12535"/>
                    <a:pt x="8962" y="11041"/>
                    <a:pt x="8962" y="8054"/>
                  </a:cubicBezTo>
                  <a:cubicBezTo>
                    <a:pt x="8962" y="5067"/>
                    <a:pt x="7468" y="2080"/>
                    <a:pt x="4481" y="586"/>
                  </a:cubicBezTo>
                  <a:cubicBezTo>
                    <a:pt x="1493" y="-908"/>
                    <a:pt x="0" y="586"/>
                    <a:pt x="0" y="3573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2" name="任意多边形: 形状 871"/>
            <p:cNvSpPr/>
            <p:nvPr/>
          </p:nvSpPr>
          <p:spPr>
            <a:xfrm>
              <a:off x="3447940" y="1050814"/>
              <a:ext cx="13633" cy="13633"/>
            </a:xfrm>
            <a:custGeom>
              <a:avLst/>
              <a:gdLst>
                <a:gd name="connsiteX0" fmla="*/ 0 w 0"/>
                <a:gd name="connsiteY0" fmla="*/ 3573 h 0"/>
                <a:gd name="connsiteX1" fmla="*/ 4481 w 0"/>
                <a:gd name="connsiteY1" fmla="*/ 11041 h 0"/>
                <a:gd name="connsiteX2" fmla="*/ 8962 w 0"/>
                <a:gd name="connsiteY2" fmla="*/ 8054 h 0"/>
                <a:gd name="connsiteX3" fmla="*/ 4481 w 0"/>
                <a:gd name="connsiteY3" fmla="*/ 586 h 0"/>
                <a:gd name="connsiteX4" fmla="*/ 0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573"/>
                  </a:moveTo>
                  <a:cubicBezTo>
                    <a:pt x="0" y="6560"/>
                    <a:pt x="1494" y="9548"/>
                    <a:pt x="4481" y="11041"/>
                  </a:cubicBezTo>
                  <a:cubicBezTo>
                    <a:pt x="7468" y="12535"/>
                    <a:pt x="8962" y="11041"/>
                    <a:pt x="8962" y="8054"/>
                  </a:cubicBezTo>
                  <a:cubicBezTo>
                    <a:pt x="8962" y="5067"/>
                    <a:pt x="7468" y="2080"/>
                    <a:pt x="4481" y="586"/>
                  </a:cubicBezTo>
                  <a:cubicBezTo>
                    <a:pt x="1494" y="-908"/>
                    <a:pt x="0" y="586"/>
                    <a:pt x="0" y="3573"/>
                  </a:cubicBezTo>
                  <a:close/>
                </a:path>
              </a:pathLst>
            </a:custGeom>
            <a:solidFill>
              <a:srgbClr val="9D9D9C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3" name="任意多边形: 形状 872"/>
            <p:cNvSpPr/>
            <p:nvPr/>
          </p:nvSpPr>
          <p:spPr>
            <a:xfrm>
              <a:off x="3443487" y="1105347"/>
              <a:ext cx="13633" cy="13633"/>
            </a:xfrm>
            <a:custGeom>
              <a:avLst/>
              <a:gdLst>
                <a:gd name="connsiteX0" fmla="*/ 397 w 0"/>
                <a:gd name="connsiteY0" fmla="*/ 3573 h 0"/>
                <a:gd name="connsiteX1" fmla="*/ 4878 w 0"/>
                <a:gd name="connsiteY1" fmla="*/ 11041 h 0"/>
                <a:gd name="connsiteX2" fmla="*/ 9359 w 0"/>
                <a:gd name="connsiteY2" fmla="*/ 8054 h 0"/>
                <a:gd name="connsiteX3" fmla="*/ 4878 w 0"/>
                <a:gd name="connsiteY3" fmla="*/ 586 h 0"/>
                <a:gd name="connsiteX4" fmla="*/ 397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97" y="3573"/>
                  </a:moveTo>
                  <a:cubicBezTo>
                    <a:pt x="397" y="6560"/>
                    <a:pt x="1891" y="9548"/>
                    <a:pt x="4878" y="11041"/>
                  </a:cubicBezTo>
                  <a:cubicBezTo>
                    <a:pt x="7866" y="12535"/>
                    <a:pt x="9359" y="11041"/>
                    <a:pt x="9359" y="8054"/>
                  </a:cubicBezTo>
                  <a:cubicBezTo>
                    <a:pt x="9359" y="5067"/>
                    <a:pt x="7866" y="2080"/>
                    <a:pt x="4878" y="586"/>
                  </a:cubicBezTo>
                  <a:cubicBezTo>
                    <a:pt x="1891" y="-908"/>
                    <a:pt x="-1096" y="586"/>
                    <a:pt x="397" y="3573"/>
                  </a:cubicBez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4" name="任意多边形: 形状 873"/>
            <p:cNvSpPr/>
            <p:nvPr/>
          </p:nvSpPr>
          <p:spPr>
            <a:xfrm>
              <a:off x="3439759" y="1153064"/>
              <a:ext cx="13633" cy="13633"/>
            </a:xfrm>
            <a:custGeom>
              <a:avLst/>
              <a:gdLst>
                <a:gd name="connsiteX0" fmla="*/ 0 w 0"/>
                <a:gd name="connsiteY0" fmla="*/ 3573 h 0"/>
                <a:gd name="connsiteX1" fmla="*/ 4481 w 0"/>
                <a:gd name="connsiteY1" fmla="*/ 11041 h 0"/>
                <a:gd name="connsiteX2" fmla="*/ 8962 w 0"/>
                <a:gd name="connsiteY2" fmla="*/ 8054 h 0"/>
                <a:gd name="connsiteX3" fmla="*/ 4481 w 0"/>
                <a:gd name="connsiteY3" fmla="*/ 586 h 0"/>
                <a:gd name="connsiteX4" fmla="*/ 0 w 0"/>
                <a:gd name="connsiteY4" fmla="*/ 35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3573"/>
                  </a:moveTo>
                  <a:cubicBezTo>
                    <a:pt x="0" y="6560"/>
                    <a:pt x="1493" y="9548"/>
                    <a:pt x="4481" y="11041"/>
                  </a:cubicBezTo>
                  <a:cubicBezTo>
                    <a:pt x="7468" y="12535"/>
                    <a:pt x="8962" y="11041"/>
                    <a:pt x="8962" y="8054"/>
                  </a:cubicBezTo>
                  <a:cubicBezTo>
                    <a:pt x="8962" y="5067"/>
                    <a:pt x="7468" y="2080"/>
                    <a:pt x="4481" y="586"/>
                  </a:cubicBezTo>
                  <a:cubicBezTo>
                    <a:pt x="1493" y="-908"/>
                    <a:pt x="0" y="586"/>
                    <a:pt x="0" y="3573"/>
                  </a:cubicBezTo>
                  <a:close/>
                </a:path>
              </a:pathLst>
            </a:custGeom>
            <a:solidFill>
              <a:srgbClr val="0E3F60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5" name="任意多边形: 形状 874"/>
            <p:cNvSpPr/>
            <p:nvPr/>
          </p:nvSpPr>
          <p:spPr>
            <a:xfrm>
              <a:off x="3520083" y="980340"/>
              <a:ext cx="54534" cy="177235"/>
            </a:xfrm>
            <a:custGeom>
              <a:avLst/>
              <a:gdLst>
                <a:gd name="connsiteX0" fmla="*/ 13569 w 59745"/>
                <a:gd name="connsiteY0" fmla="*/ 174881 h 194172"/>
                <a:gd name="connsiteX1" fmla="*/ 46428 w 59745"/>
                <a:gd name="connsiteY1" fmla="*/ 201767 h 194172"/>
                <a:gd name="connsiteX2" fmla="*/ 46428 w 59745"/>
                <a:gd name="connsiteY2" fmla="*/ 201767 h 194172"/>
                <a:gd name="connsiteX3" fmla="*/ 73314 w 59745"/>
                <a:gd name="connsiteY3" fmla="*/ 168907 h 194172"/>
                <a:gd name="connsiteX4" fmla="*/ 59871 w 59745"/>
                <a:gd name="connsiteY4" fmla="*/ 27011 h 194172"/>
                <a:gd name="connsiteX5" fmla="*/ 27011 w 59745"/>
                <a:gd name="connsiteY5" fmla="*/ 126 h 194172"/>
                <a:gd name="connsiteX6" fmla="*/ 27011 w 59745"/>
                <a:gd name="connsiteY6" fmla="*/ 126 h 194172"/>
                <a:gd name="connsiteX7" fmla="*/ 126 w 59745"/>
                <a:gd name="connsiteY7" fmla="*/ 32986 h 194172"/>
                <a:gd name="connsiteX8" fmla="*/ 13569 w 59745"/>
                <a:gd name="connsiteY8" fmla="*/ 174881 h 194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194172">
                  <a:moveTo>
                    <a:pt x="13569" y="174881"/>
                  </a:moveTo>
                  <a:cubicBezTo>
                    <a:pt x="15062" y="191311"/>
                    <a:pt x="29999" y="203260"/>
                    <a:pt x="46428" y="201767"/>
                  </a:cubicBezTo>
                  <a:lnTo>
                    <a:pt x="46428" y="201767"/>
                  </a:lnTo>
                  <a:cubicBezTo>
                    <a:pt x="62858" y="200273"/>
                    <a:pt x="74808" y="185337"/>
                    <a:pt x="73314" y="168907"/>
                  </a:cubicBezTo>
                  <a:lnTo>
                    <a:pt x="59871" y="27011"/>
                  </a:lnTo>
                  <a:cubicBezTo>
                    <a:pt x="58378" y="10582"/>
                    <a:pt x="43441" y="-1368"/>
                    <a:pt x="27011" y="126"/>
                  </a:cubicBezTo>
                  <a:lnTo>
                    <a:pt x="27011" y="126"/>
                  </a:lnTo>
                  <a:cubicBezTo>
                    <a:pt x="10581" y="1620"/>
                    <a:pt x="-1368" y="16556"/>
                    <a:pt x="126" y="32986"/>
                  </a:cubicBezTo>
                  <a:lnTo>
                    <a:pt x="13569" y="174881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6" name="任意多边形: 形状 875"/>
            <p:cNvSpPr/>
            <p:nvPr/>
          </p:nvSpPr>
          <p:spPr>
            <a:xfrm>
              <a:off x="3453394" y="957277"/>
              <a:ext cx="13633" cy="13633"/>
            </a:xfrm>
            <a:custGeom>
              <a:avLst/>
              <a:gdLst>
                <a:gd name="connsiteX0" fmla="*/ 0 w 14936"/>
                <a:gd name="connsiteY0" fmla="*/ 22405 h 14936"/>
                <a:gd name="connsiteX1" fmla="*/ 10455 w 14936"/>
                <a:gd name="connsiteY1" fmla="*/ 28379 h 14936"/>
                <a:gd name="connsiteX2" fmla="*/ 17924 w 14936"/>
                <a:gd name="connsiteY2" fmla="*/ 5975 h 14936"/>
                <a:gd name="connsiteX3" fmla="*/ 0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22405"/>
                  </a:moveTo>
                  <a:lnTo>
                    <a:pt x="10455" y="28379"/>
                  </a:lnTo>
                  <a:lnTo>
                    <a:pt x="17924" y="59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42423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7" name="任意多边形: 形状 876"/>
            <p:cNvSpPr/>
            <p:nvPr/>
          </p:nvSpPr>
          <p:spPr>
            <a:xfrm>
              <a:off x="3438397" y="977727"/>
              <a:ext cx="13633" cy="122701"/>
            </a:xfrm>
            <a:custGeom>
              <a:avLst/>
              <a:gdLst>
                <a:gd name="connsiteX0" fmla="*/ 25392 w 14936"/>
                <a:gd name="connsiteY0" fmla="*/ 123972 h 134427"/>
                <a:gd name="connsiteX1" fmla="*/ 26885 w 14936"/>
                <a:gd name="connsiteY1" fmla="*/ 5975 h 134427"/>
                <a:gd name="connsiteX2" fmla="*/ 16430 w 14936"/>
                <a:gd name="connsiteY2" fmla="*/ 0 h 134427"/>
                <a:gd name="connsiteX3" fmla="*/ 0 w 14936"/>
                <a:gd name="connsiteY3" fmla="*/ 112023 h 134427"/>
                <a:gd name="connsiteX4" fmla="*/ 10455 w 14936"/>
                <a:gd name="connsiteY4" fmla="*/ 134427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34427">
                  <a:moveTo>
                    <a:pt x="25392" y="123972"/>
                  </a:moveTo>
                  <a:lnTo>
                    <a:pt x="26885" y="5975"/>
                  </a:lnTo>
                  <a:lnTo>
                    <a:pt x="16430" y="0"/>
                  </a:lnTo>
                  <a:lnTo>
                    <a:pt x="0" y="112023"/>
                  </a:lnTo>
                  <a:lnTo>
                    <a:pt x="10455" y="134427"/>
                  </a:ln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8" name="任意多边形: 形状 877"/>
            <p:cNvSpPr/>
            <p:nvPr/>
          </p:nvSpPr>
          <p:spPr>
            <a:xfrm>
              <a:off x="3441464" y="921830"/>
              <a:ext cx="68168" cy="68168"/>
            </a:xfrm>
            <a:custGeom>
              <a:avLst/>
              <a:gdLst>
                <a:gd name="connsiteX0" fmla="*/ 72815 w 74681"/>
                <a:gd name="connsiteY0" fmla="*/ 4481 h 74681"/>
                <a:gd name="connsiteX1" fmla="*/ 86258 w 74681"/>
                <a:gd name="connsiteY1" fmla="*/ 22405 h 74681"/>
                <a:gd name="connsiteX2" fmla="*/ 86258 w 74681"/>
                <a:gd name="connsiteY2" fmla="*/ 31366 h 74681"/>
                <a:gd name="connsiteX3" fmla="*/ 71321 w 74681"/>
                <a:gd name="connsiteY3" fmla="*/ 52277 h 74681"/>
                <a:gd name="connsiteX4" fmla="*/ 36967 w 74681"/>
                <a:gd name="connsiteY4" fmla="*/ 77669 h 74681"/>
                <a:gd name="connsiteX5" fmla="*/ 20538 w 74681"/>
                <a:gd name="connsiteY5" fmla="*/ 43315 h 74681"/>
                <a:gd name="connsiteX6" fmla="*/ 1120 w 74681"/>
                <a:gd name="connsiteY6" fmla="*/ 61239 h 74681"/>
                <a:gd name="connsiteX7" fmla="*/ 1120 w 74681"/>
                <a:gd name="connsiteY7" fmla="*/ 31366 h 74681"/>
                <a:gd name="connsiteX8" fmla="*/ 16057 w 74681"/>
                <a:gd name="connsiteY8" fmla="*/ 5975 h 74681"/>
                <a:gd name="connsiteX9" fmla="*/ 41448 w 74681"/>
                <a:gd name="connsiteY9" fmla="*/ 0 h 74681"/>
                <a:gd name="connsiteX10" fmla="*/ 66840 w 74681"/>
                <a:gd name="connsiteY10" fmla="*/ 5975 h 74681"/>
                <a:gd name="connsiteX11" fmla="*/ 72815 w 74681"/>
                <a:gd name="connsiteY11" fmla="*/ 4481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74681">
                  <a:moveTo>
                    <a:pt x="72815" y="4481"/>
                  </a:moveTo>
                  <a:cubicBezTo>
                    <a:pt x="75802" y="10455"/>
                    <a:pt x="83270" y="17924"/>
                    <a:pt x="86258" y="22405"/>
                  </a:cubicBezTo>
                  <a:cubicBezTo>
                    <a:pt x="87751" y="25392"/>
                    <a:pt x="87751" y="28379"/>
                    <a:pt x="86258" y="31366"/>
                  </a:cubicBezTo>
                  <a:cubicBezTo>
                    <a:pt x="83270" y="40328"/>
                    <a:pt x="78789" y="44809"/>
                    <a:pt x="71321" y="52277"/>
                  </a:cubicBezTo>
                  <a:cubicBezTo>
                    <a:pt x="63853" y="58252"/>
                    <a:pt x="51904" y="68707"/>
                    <a:pt x="36967" y="77669"/>
                  </a:cubicBezTo>
                  <a:cubicBezTo>
                    <a:pt x="30993" y="67214"/>
                    <a:pt x="25019" y="55264"/>
                    <a:pt x="20538" y="43315"/>
                  </a:cubicBezTo>
                  <a:cubicBezTo>
                    <a:pt x="14563" y="49290"/>
                    <a:pt x="8588" y="55264"/>
                    <a:pt x="1120" y="61239"/>
                  </a:cubicBezTo>
                  <a:cubicBezTo>
                    <a:pt x="-373" y="50784"/>
                    <a:pt x="-373" y="41822"/>
                    <a:pt x="1120" y="31366"/>
                  </a:cubicBezTo>
                  <a:cubicBezTo>
                    <a:pt x="2614" y="20911"/>
                    <a:pt x="8588" y="11949"/>
                    <a:pt x="16057" y="5975"/>
                  </a:cubicBezTo>
                  <a:cubicBezTo>
                    <a:pt x="23525" y="1494"/>
                    <a:pt x="32487" y="0"/>
                    <a:pt x="41448" y="0"/>
                  </a:cubicBezTo>
                  <a:cubicBezTo>
                    <a:pt x="50410" y="0"/>
                    <a:pt x="57878" y="2987"/>
                    <a:pt x="66840" y="5975"/>
                  </a:cubicBezTo>
                  <a:cubicBezTo>
                    <a:pt x="71321" y="5975"/>
                    <a:pt x="71321" y="2987"/>
                    <a:pt x="72815" y="4481"/>
                  </a:cubicBez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9" name="任意多边形: 形状 878"/>
            <p:cNvSpPr/>
            <p:nvPr/>
          </p:nvSpPr>
          <p:spPr>
            <a:xfrm>
              <a:off x="3319568" y="1133617"/>
              <a:ext cx="40900" cy="68168"/>
            </a:xfrm>
            <a:custGeom>
              <a:avLst/>
              <a:gdLst>
                <a:gd name="connsiteX0" fmla="*/ 43553 w 44809"/>
                <a:gd name="connsiteY0" fmla="*/ 2475 h 74681"/>
                <a:gd name="connsiteX1" fmla="*/ 51021 w 44809"/>
                <a:gd name="connsiteY1" fmla="*/ 23386 h 74681"/>
                <a:gd name="connsiteX2" fmla="*/ 40566 w 44809"/>
                <a:gd name="connsiteY2" fmla="*/ 44296 h 74681"/>
                <a:gd name="connsiteX3" fmla="*/ 33098 w 44809"/>
                <a:gd name="connsiteY3" fmla="*/ 60726 h 74681"/>
                <a:gd name="connsiteX4" fmla="*/ 31604 w 44809"/>
                <a:gd name="connsiteY4" fmla="*/ 71182 h 74681"/>
                <a:gd name="connsiteX5" fmla="*/ 21149 w 44809"/>
                <a:gd name="connsiteY5" fmla="*/ 72676 h 74681"/>
                <a:gd name="connsiteX6" fmla="*/ 12187 w 44809"/>
                <a:gd name="connsiteY6" fmla="*/ 69688 h 74681"/>
                <a:gd name="connsiteX7" fmla="*/ 6212 w 44809"/>
                <a:gd name="connsiteY7" fmla="*/ 62220 h 74681"/>
                <a:gd name="connsiteX8" fmla="*/ 238 w 44809"/>
                <a:gd name="connsiteY8" fmla="*/ 54752 h 74681"/>
                <a:gd name="connsiteX9" fmla="*/ 9200 w 44809"/>
                <a:gd name="connsiteY9" fmla="*/ 15917 h 74681"/>
                <a:gd name="connsiteX10" fmla="*/ 22642 w 44809"/>
                <a:gd name="connsiteY10" fmla="*/ 981 h 74681"/>
                <a:gd name="connsiteX11" fmla="*/ 43553 w 44809"/>
                <a:gd name="connsiteY11" fmla="*/ 2475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809" h="74681">
                  <a:moveTo>
                    <a:pt x="43553" y="2475"/>
                  </a:moveTo>
                  <a:cubicBezTo>
                    <a:pt x="49528" y="6956"/>
                    <a:pt x="52515" y="15917"/>
                    <a:pt x="51021" y="23386"/>
                  </a:cubicBezTo>
                  <a:cubicBezTo>
                    <a:pt x="49528" y="30854"/>
                    <a:pt x="45047" y="38322"/>
                    <a:pt x="40566" y="44296"/>
                  </a:cubicBezTo>
                  <a:cubicBezTo>
                    <a:pt x="36085" y="51765"/>
                    <a:pt x="36085" y="53258"/>
                    <a:pt x="33098" y="60726"/>
                  </a:cubicBezTo>
                  <a:cubicBezTo>
                    <a:pt x="31604" y="65207"/>
                    <a:pt x="31604" y="68195"/>
                    <a:pt x="31604" y="71182"/>
                  </a:cubicBezTo>
                  <a:cubicBezTo>
                    <a:pt x="30110" y="81637"/>
                    <a:pt x="19655" y="81637"/>
                    <a:pt x="21149" y="72676"/>
                  </a:cubicBezTo>
                  <a:cubicBezTo>
                    <a:pt x="21149" y="81637"/>
                    <a:pt x="10693" y="81637"/>
                    <a:pt x="12187" y="69688"/>
                  </a:cubicBezTo>
                  <a:cubicBezTo>
                    <a:pt x="10693" y="75663"/>
                    <a:pt x="3225" y="77156"/>
                    <a:pt x="6212" y="62220"/>
                  </a:cubicBezTo>
                  <a:cubicBezTo>
                    <a:pt x="4719" y="68195"/>
                    <a:pt x="-1256" y="63714"/>
                    <a:pt x="238" y="54752"/>
                  </a:cubicBezTo>
                  <a:cubicBezTo>
                    <a:pt x="1731" y="44296"/>
                    <a:pt x="4719" y="26373"/>
                    <a:pt x="9200" y="15917"/>
                  </a:cubicBezTo>
                  <a:cubicBezTo>
                    <a:pt x="12187" y="9943"/>
                    <a:pt x="16668" y="3968"/>
                    <a:pt x="22642" y="981"/>
                  </a:cubicBezTo>
                  <a:cubicBezTo>
                    <a:pt x="30110" y="-513"/>
                    <a:pt x="37579" y="-513"/>
                    <a:pt x="43553" y="2475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0" name="任意多边形: 形状 879"/>
            <p:cNvSpPr/>
            <p:nvPr/>
          </p:nvSpPr>
          <p:spPr>
            <a:xfrm>
              <a:off x="3353053" y="1149509"/>
              <a:ext cx="13633" cy="40900"/>
            </a:xfrm>
            <a:custGeom>
              <a:avLst/>
              <a:gdLst>
                <a:gd name="connsiteX0" fmla="*/ 11349 w 0"/>
                <a:gd name="connsiteY0" fmla="*/ 41822 h 44809"/>
                <a:gd name="connsiteX1" fmla="*/ 9855 w 0"/>
                <a:gd name="connsiteY1" fmla="*/ 47796 h 44809"/>
                <a:gd name="connsiteX2" fmla="*/ 3881 w 0"/>
                <a:gd name="connsiteY2" fmla="*/ 46303 h 44809"/>
                <a:gd name="connsiteX3" fmla="*/ 893 w 0"/>
                <a:gd name="connsiteY3" fmla="*/ 26885 h 44809"/>
                <a:gd name="connsiteX4" fmla="*/ 5374 w 0"/>
                <a:gd name="connsiteY4" fmla="*/ 14936 h 44809"/>
                <a:gd name="connsiteX5" fmla="*/ 14336 w 0"/>
                <a:gd name="connsiteY5" fmla="*/ 0 h 44809"/>
                <a:gd name="connsiteX6" fmla="*/ 11349 w 0"/>
                <a:gd name="connsiteY6" fmla="*/ 41822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44809">
                  <a:moveTo>
                    <a:pt x="11349" y="41822"/>
                  </a:moveTo>
                  <a:cubicBezTo>
                    <a:pt x="11349" y="43315"/>
                    <a:pt x="11349" y="46303"/>
                    <a:pt x="9855" y="47796"/>
                  </a:cubicBezTo>
                  <a:cubicBezTo>
                    <a:pt x="8362" y="49290"/>
                    <a:pt x="5374" y="47796"/>
                    <a:pt x="3881" y="46303"/>
                  </a:cubicBezTo>
                  <a:cubicBezTo>
                    <a:pt x="-600" y="43315"/>
                    <a:pt x="-600" y="32860"/>
                    <a:pt x="893" y="26885"/>
                  </a:cubicBezTo>
                  <a:cubicBezTo>
                    <a:pt x="893" y="20911"/>
                    <a:pt x="2387" y="19417"/>
                    <a:pt x="5374" y="14936"/>
                  </a:cubicBezTo>
                  <a:cubicBezTo>
                    <a:pt x="8362" y="10455"/>
                    <a:pt x="11349" y="5975"/>
                    <a:pt x="14336" y="0"/>
                  </a:cubicBezTo>
                  <a:cubicBezTo>
                    <a:pt x="11349" y="16430"/>
                    <a:pt x="9855" y="29873"/>
                    <a:pt x="11349" y="41822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1" name="任意多边形: 形状 880"/>
            <p:cNvSpPr/>
            <p:nvPr/>
          </p:nvSpPr>
          <p:spPr>
            <a:xfrm>
              <a:off x="3455555" y="924557"/>
              <a:ext cx="54534" cy="27267"/>
            </a:xfrm>
            <a:custGeom>
              <a:avLst/>
              <a:gdLst>
                <a:gd name="connsiteX0" fmla="*/ 2112 w 59745"/>
                <a:gd name="connsiteY0" fmla="*/ 28379 h 29872"/>
                <a:gd name="connsiteX1" fmla="*/ 11074 w 59745"/>
                <a:gd name="connsiteY1" fmla="*/ 34354 h 29872"/>
                <a:gd name="connsiteX2" fmla="*/ 55883 w 59745"/>
                <a:gd name="connsiteY2" fmla="*/ 28379 h 29872"/>
                <a:gd name="connsiteX3" fmla="*/ 52896 w 59745"/>
                <a:gd name="connsiteY3" fmla="*/ 2987 h 29872"/>
                <a:gd name="connsiteX4" fmla="*/ 42440 w 59745"/>
                <a:gd name="connsiteY4" fmla="*/ 0 h 29872"/>
                <a:gd name="connsiteX5" fmla="*/ 36466 w 59745"/>
                <a:gd name="connsiteY5" fmla="*/ 0 h 29872"/>
                <a:gd name="connsiteX6" fmla="*/ 8087 w 59745"/>
                <a:gd name="connsiteY6" fmla="*/ 8962 h 29872"/>
                <a:gd name="connsiteX7" fmla="*/ 619 w 59745"/>
                <a:gd name="connsiteY7" fmla="*/ 17924 h 29872"/>
                <a:gd name="connsiteX8" fmla="*/ 2112 w 59745"/>
                <a:gd name="connsiteY8" fmla="*/ 28379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45" h="29872">
                  <a:moveTo>
                    <a:pt x="2112" y="28379"/>
                  </a:moveTo>
                  <a:cubicBezTo>
                    <a:pt x="3606" y="31366"/>
                    <a:pt x="6593" y="32860"/>
                    <a:pt x="11074" y="34354"/>
                  </a:cubicBezTo>
                  <a:cubicBezTo>
                    <a:pt x="24517" y="40328"/>
                    <a:pt x="43934" y="37341"/>
                    <a:pt x="55883" y="28379"/>
                  </a:cubicBezTo>
                  <a:cubicBezTo>
                    <a:pt x="67832" y="19417"/>
                    <a:pt x="66339" y="8962"/>
                    <a:pt x="52896" y="2987"/>
                  </a:cubicBezTo>
                  <a:cubicBezTo>
                    <a:pt x="49908" y="1494"/>
                    <a:pt x="46921" y="1494"/>
                    <a:pt x="42440" y="0"/>
                  </a:cubicBezTo>
                  <a:cubicBezTo>
                    <a:pt x="40947" y="0"/>
                    <a:pt x="39453" y="0"/>
                    <a:pt x="36466" y="0"/>
                  </a:cubicBezTo>
                  <a:cubicBezTo>
                    <a:pt x="26010" y="0"/>
                    <a:pt x="15555" y="2987"/>
                    <a:pt x="8087" y="8962"/>
                  </a:cubicBezTo>
                  <a:cubicBezTo>
                    <a:pt x="3606" y="11949"/>
                    <a:pt x="2112" y="14936"/>
                    <a:pt x="619" y="17924"/>
                  </a:cubicBezTo>
                  <a:cubicBezTo>
                    <a:pt x="-875" y="22405"/>
                    <a:pt x="619" y="25392"/>
                    <a:pt x="2112" y="2837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2" name="任意多边形: 形状 881"/>
            <p:cNvSpPr/>
            <p:nvPr/>
          </p:nvSpPr>
          <p:spPr>
            <a:xfrm>
              <a:off x="3446304" y="865400"/>
              <a:ext cx="54534" cy="68168"/>
            </a:xfrm>
            <a:custGeom>
              <a:avLst/>
              <a:gdLst>
                <a:gd name="connsiteX0" fmla="*/ 0 w 59745"/>
                <a:gd name="connsiteY0" fmla="*/ 7597 h 74681"/>
                <a:gd name="connsiteX1" fmla="*/ 62269 w 59745"/>
                <a:gd name="connsiteY1" fmla="*/ 0 h 74681"/>
                <a:gd name="connsiteX2" fmla="*/ 72217 w 59745"/>
                <a:gd name="connsiteY2" fmla="*/ 81542 h 74681"/>
                <a:gd name="connsiteX3" fmla="*/ 9949 w 59745"/>
                <a:gd name="connsiteY3" fmla="*/ 89139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74681">
                  <a:moveTo>
                    <a:pt x="0" y="7597"/>
                  </a:moveTo>
                  <a:lnTo>
                    <a:pt x="62269" y="0"/>
                  </a:lnTo>
                  <a:lnTo>
                    <a:pt x="72217" y="81542"/>
                  </a:lnTo>
                  <a:lnTo>
                    <a:pt x="9949" y="89139"/>
                  </a:ln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3" name="任意多边形: 形状 882"/>
            <p:cNvSpPr/>
            <p:nvPr/>
          </p:nvSpPr>
          <p:spPr>
            <a:xfrm>
              <a:off x="3422036" y="815723"/>
              <a:ext cx="68168" cy="109068"/>
            </a:xfrm>
            <a:custGeom>
              <a:avLst/>
              <a:gdLst>
                <a:gd name="connsiteX0" fmla="*/ 79162 w 74681"/>
                <a:gd name="connsiteY0" fmla="*/ 59489 h 119490"/>
                <a:gd name="connsiteX1" fmla="*/ 79162 w 74681"/>
                <a:gd name="connsiteY1" fmla="*/ 86375 h 119490"/>
                <a:gd name="connsiteX2" fmla="*/ 70201 w 74681"/>
                <a:gd name="connsiteY2" fmla="*/ 111766 h 119490"/>
                <a:gd name="connsiteX3" fmla="*/ 35847 w 74681"/>
                <a:gd name="connsiteY3" fmla="*/ 128196 h 119490"/>
                <a:gd name="connsiteX4" fmla="*/ 26885 w 74681"/>
                <a:gd name="connsiteY4" fmla="*/ 125209 h 119490"/>
                <a:gd name="connsiteX5" fmla="*/ 16430 w 74681"/>
                <a:gd name="connsiteY5" fmla="*/ 110273 h 119490"/>
                <a:gd name="connsiteX6" fmla="*/ 0 w 74681"/>
                <a:gd name="connsiteY6" fmla="*/ 35591 h 119490"/>
                <a:gd name="connsiteX7" fmla="*/ 0 w 74681"/>
                <a:gd name="connsiteY7" fmla="*/ 23642 h 119490"/>
                <a:gd name="connsiteX8" fmla="*/ 22405 w 74681"/>
                <a:gd name="connsiteY8" fmla="*/ 1237 h 119490"/>
                <a:gd name="connsiteX9" fmla="*/ 55264 w 74681"/>
                <a:gd name="connsiteY9" fmla="*/ 4225 h 119490"/>
                <a:gd name="connsiteX10" fmla="*/ 64226 w 74681"/>
                <a:gd name="connsiteY10" fmla="*/ 8706 h 119490"/>
                <a:gd name="connsiteX11" fmla="*/ 70201 w 74681"/>
                <a:gd name="connsiteY11" fmla="*/ 14680 h 119490"/>
                <a:gd name="connsiteX12" fmla="*/ 79162 w 74681"/>
                <a:gd name="connsiteY12" fmla="*/ 59489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79162" y="59489"/>
                  </a:moveTo>
                  <a:cubicBezTo>
                    <a:pt x="79162" y="68451"/>
                    <a:pt x="80656" y="77413"/>
                    <a:pt x="79162" y="86375"/>
                  </a:cubicBezTo>
                  <a:cubicBezTo>
                    <a:pt x="77669" y="95336"/>
                    <a:pt x="76175" y="104298"/>
                    <a:pt x="70201" y="111766"/>
                  </a:cubicBezTo>
                  <a:cubicBezTo>
                    <a:pt x="62733" y="122222"/>
                    <a:pt x="49290" y="128196"/>
                    <a:pt x="35847" y="128196"/>
                  </a:cubicBezTo>
                  <a:cubicBezTo>
                    <a:pt x="32860" y="128196"/>
                    <a:pt x="29873" y="126703"/>
                    <a:pt x="26885" y="125209"/>
                  </a:cubicBezTo>
                  <a:cubicBezTo>
                    <a:pt x="20911" y="122222"/>
                    <a:pt x="17924" y="116247"/>
                    <a:pt x="16430" y="110273"/>
                  </a:cubicBezTo>
                  <a:cubicBezTo>
                    <a:pt x="5974" y="86375"/>
                    <a:pt x="1494" y="60983"/>
                    <a:pt x="0" y="35591"/>
                  </a:cubicBezTo>
                  <a:cubicBezTo>
                    <a:pt x="0" y="31110"/>
                    <a:pt x="0" y="28123"/>
                    <a:pt x="0" y="23642"/>
                  </a:cubicBezTo>
                  <a:cubicBezTo>
                    <a:pt x="1494" y="13186"/>
                    <a:pt x="11949" y="4225"/>
                    <a:pt x="22405" y="1237"/>
                  </a:cubicBezTo>
                  <a:cubicBezTo>
                    <a:pt x="32860" y="-1750"/>
                    <a:pt x="44809" y="1237"/>
                    <a:pt x="55264" y="4225"/>
                  </a:cubicBezTo>
                  <a:cubicBezTo>
                    <a:pt x="58252" y="5718"/>
                    <a:pt x="61239" y="5718"/>
                    <a:pt x="64226" y="8706"/>
                  </a:cubicBezTo>
                  <a:cubicBezTo>
                    <a:pt x="67214" y="10199"/>
                    <a:pt x="68707" y="13186"/>
                    <a:pt x="70201" y="14680"/>
                  </a:cubicBezTo>
                  <a:cubicBezTo>
                    <a:pt x="74682" y="19161"/>
                    <a:pt x="79162" y="46046"/>
                    <a:pt x="79162" y="5948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4" name="任意多边形: 形状 883"/>
            <p:cNvSpPr/>
            <p:nvPr/>
          </p:nvSpPr>
          <p:spPr>
            <a:xfrm>
              <a:off x="3423400" y="825267"/>
              <a:ext cx="68168" cy="109068"/>
            </a:xfrm>
            <a:custGeom>
              <a:avLst/>
              <a:gdLst>
                <a:gd name="connsiteX0" fmla="*/ 79162 w 74681"/>
                <a:gd name="connsiteY0" fmla="*/ 59489 h 119490"/>
                <a:gd name="connsiteX1" fmla="*/ 79162 w 74681"/>
                <a:gd name="connsiteY1" fmla="*/ 86375 h 119490"/>
                <a:gd name="connsiteX2" fmla="*/ 70201 w 74681"/>
                <a:gd name="connsiteY2" fmla="*/ 111766 h 119490"/>
                <a:gd name="connsiteX3" fmla="*/ 35847 w 74681"/>
                <a:gd name="connsiteY3" fmla="*/ 128196 h 119490"/>
                <a:gd name="connsiteX4" fmla="*/ 26885 w 74681"/>
                <a:gd name="connsiteY4" fmla="*/ 125209 h 119490"/>
                <a:gd name="connsiteX5" fmla="*/ 16430 w 74681"/>
                <a:gd name="connsiteY5" fmla="*/ 110273 h 119490"/>
                <a:gd name="connsiteX6" fmla="*/ 0 w 74681"/>
                <a:gd name="connsiteY6" fmla="*/ 35591 h 119490"/>
                <a:gd name="connsiteX7" fmla="*/ 0 w 74681"/>
                <a:gd name="connsiteY7" fmla="*/ 23642 h 119490"/>
                <a:gd name="connsiteX8" fmla="*/ 22405 w 74681"/>
                <a:gd name="connsiteY8" fmla="*/ 1237 h 119490"/>
                <a:gd name="connsiteX9" fmla="*/ 55264 w 74681"/>
                <a:gd name="connsiteY9" fmla="*/ 4225 h 119490"/>
                <a:gd name="connsiteX10" fmla="*/ 64226 w 74681"/>
                <a:gd name="connsiteY10" fmla="*/ 8706 h 119490"/>
                <a:gd name="connsiteX11" fmla="*/ 70201 w 74681"/>
                <a:gd name="connsiteY11" fmla="*/ 14680 h 119490"/>
                <a:gd name="connsiteX12" fmla="*/ 79162 w 74681"/>
                <a:gd name="connsiteY12" fmla="*/ 59489 h 11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681" h="119490">
                  <a:moveTo>
                    <a:pt x="79162" y="59489"/>
                  </a:moveTo>
                  <a:cubicBezTo>
                    <a:pt x="79162" y="68451"/>
                    <a:pt x="80656" y="77413"/>
                    <a:pt x="79162" y="86375"/>
                  </a:cubicBezTo>
                  <a:cubicBezTo>
                    <a:pt x="77669" y="95336"/>
                    <a:pt x="76175" y="104298"/>
                    <a:pt x="70201" y="111766"/>
                  </a:cubicBezTo>
                  <a:cubicBezTo>
                    <a:pt x="62733" y="122222"/>
                    <a:pt x="49290" y="128196"/>
                    <a:pt x="35847" y="128196"/>
                  </a:cubicBezTo>
                  <a:cubicBezTo>
                    <a:pt x="32860" y="128196"/>
                    <a:pt x="29873" y="126703"/>
                    <a:pt x="26885" y="125209"/>
                  </a:cubicBezTo>
                  <a:cubicBezTo>
                    <a:pt x="20911" y="122222"/>
                    <a:pt x="17924" y="116247"/>
                    <a:pt x="16430" y="110273"/>
                  </a:cubicBezTo>
                  <a:cubicBezTo>
                    <a:pt x="5974" y="86375"/>
                    <a:pt x="1493" y="60983"/>
                    <a:pt x="0" y="35591"/>
                  </a:cubicBezTo>
                  <a:cubicBezTo>
                    <a:pt x="0" y="31110"/>
                    <a:pt x="0" y="28123"/>
                    <a:pt x="0" y="23642"/>
                  </a:cubicBezTo>
                  <a:cubicBezTo>
                    <a:pt x="1493" y="13186"/>
                    <a:pt x="11949" y="4225"/>
                    <a:pt x="22405" y="1237"/>
                  </a:cubicBezTo>
                  <a:cubicBezTo>
                    <a:pt x="32860" y="-1750"/>
                    <a:pt x="44809" y="1237"/>
                    <a:pt x="55264" y="4225"/>
                  </a:cubicBezTo>
                  <a:cubicBezTo>
                    <a:pt x="58252" y="5718"/>
                    <a:pt x="61239" y="5718"/>
                    <a:pt x="64226" y="8706"/>
                  </a:cubicBezTo>
                  <a:cubicBezTo>
                    <a:pt x="67214" y="10199"/>
                    <a:pt x="68707" y="13186"/>
                    <a:pt x="70201" y="14680"/>
                  </a:cubicBezTo>
                  <a:cubicBezTo>
                    <a:pt x="74682" y="17667"/>
                    <a:pt x="79162" y="44553"/>
                    <a:pt x="79162" y="59489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5" name="任意多边形: 形状 884"/>
            <p:cNvSpPr/>
            <p:nvPr/>
          </p:nvSpPr>
          <p:spPr>
            <a:xfrm>
              <a:off x="3455555" y="872749"/>
              <a:ext cx="40900" cy="68168"/>
            </a:xfrm>
            <a:custGeom>
              <a:avLst/>
              <a:gdLst>
                <a:gd name="connsiteX0" fmla="*/ 2112 w 44809"/>
                <a:gd name="connsiteY0" fmla="*/ 85137 h 74681"/>
                <a:gd name="connsiteX1" fmla="*/ 36466 w 44809"/>
                <a:gd name="connsiteY1" fmla="*/ 68707 h 74681"/>
                <a:gd name="connsiteX2" fmla="*/ 42440 w 44809"/>
                <a:gd name="connsiteY2" fmla="*/ 58252 h 74681"/>
                <a:gd name="connsiteX3" fmla="*/ 45428 w 44809"/>
                <a:gd name="connsiteY3" fmla="*/ 43315 h 74681"/>
                <a:gd name="connsiteX4" fmla="*/ 45428 w 44809"/>
                <a:gd name="connsiteY4" fmla="*/ 16430 h 74681"/>
                <a:gd name="connsiteX5" fmla="*/ 43934 w 44809"/>
                <a:gd name="connsiteY5" fmla="*/ 0 h 74681"/>
                <a:gd name="connsiteX6" fmla="*/ 43934 w 44809"/>
                <a:gd name="connsiteY6" fmla="*/ 5975 h 74681"/>
                <a:gd name="connsiteX7" fmla="*/ 43934 w 44809"/>
                <a:gd name="connsiteY7" fmla="*/ 32860 h 74681"/>
                <a:gd name="connsiteX8" fmla="*/ 36466 w 44809"/>
                <a:gd name="connsiteY8" fmla="*/ 56758 h 74681"/>
                <a:gd name="connsiteX9" fmla="*/ 34972 w 44809"/>
                <a:gd name="connsiteY9" fmla="*/ 58252 h 74681"/>
                <a:gd name="connsiteX10" fmla="*/ 619 w 44809"/>
                <a:gd name="connsiteY10" fmla="*/ 74682 h 74681"/>
                <a:gd name="connsiteX11" fmla="*/ 619 w 44809"/>
                <a:gd name="connsiteY11" fmla="*/ 74682 h 74681"/>
                <a:gd name="connsiteX12" fmla="*/ 2112 w 44809"/>
                <a:gd name="connsiteY12" fmla="*/ 85137 h 7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09" h="74681">
                  <a:moveTo>
                    <a:pt x="2112" y="85137"/>
                  </a:moveTo>
                  <a:cubicBezTo>
                    <a:pt x="15555" y="86631"/>
                    <a:pt x="28998" y="79163"/>
                    <a:pt x="36466" y="68707"/>
                  </a:cubicBezTo>
                  <a:cubicBezTo>
                    <a:pt x="39453" y="65720"/>
                    <a:pt x="40947" y="61239"/>
                    <a:pt x="42440" y="58252"/>
                  </a:cubicBezTo>
                  <a:cubicBezTo>
                    <a:pt x="43934" y="53771"/>
                    <a:pt x="45428" y="49290"/>
                    <a:pt x="45428" y="43315"/>
                  </a:cubicBezTo>
                  <a:cubicBezTo>
                    <a:pt x="46921" y="34354"/>
                    <a:pt x="45428" y="25392"/>
                    <a:pt x="45428" y="16430"/>
                  </a:cubicBezTo>
                  <a:cubicBezTo>
                    <a:pt x="45428" y="11949"/>
                    <a:pt x="43934" y="5975"/>
                    <a:pt x="43934" y="0"/>
                  </a:cubicBezTo>
                  <a:cubicBezTo>
                    <a:pt x="43934" y="2987"/>
                    <a:pt x="43934" y="4481"/>
                    <a:pt x="43934" y="5975"/>
                  </a:cubicBezTo>
                  <a:cubicBezTo>
                    <a:pt x="43934" y="14936"/>
                    <a:pt x="45428" y="23898"/>
                    <a:pt x="43934" y="32860"/>
                  </a:cubicBezTo>
                  <a:cubicBezTo>
                    <a:pt x="42440" y="41822"/>
                    <a:pt x="40947" y="49290"/>
                    <a:pt x="36466" y="56758"/>
                  </a:cubicBezTo>
                  <a:cubicBezTo>
                    <a:pt x="36466" y="56758"/>
                    <a:pt x="36466" y="58252"/>
                    <a:pt x="34972" y="58252"/>
                  </a:cubicBezTo>
                  <a:cubicBezTo>
                    <a:pt x="27504" y="68707"/>
                    <a:pt x="14061" y="74682"/>
                    <a:pt x="619" y="74682"/>
                  </a:cubicBezTo>
                  <a:cubicBezTo>
                    <a:pt x="619" y="74682"/>
                    <a:pt x="619" y="74682"/>
                    <a:pt x="619" y="74682"/>
                  </a:cubicBezTo>
                  <a:cubicBezTo>
                    <a:pt x="-875" y="79163"/>
                    <a:pt x="619" y="82150"/>
                    <a:pt x="2112" y="85137"/>
                  </a:cubicBezTo>
                  <a:close/>
                </a:path>
              </a:pathLst>
            </a:custGeom>
            <a:solidFill>
              <a:srgbClr val="1D1D1B">
                <a:alpha val="10000"/>
              </a:srgbClr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6" name="任意多边形: 形状 885"/>
            <p:cNvSpPr/>
            <p:nvPr/>
          </p:nvSpPr>
          <p:spPr>
            <a:xfrm>
              <a:off x="3425665" y="809220"/>
              <a:ext cx="81801" cy="95434"/>
            </a:xfrm>
            <a:custGeom>
              <a:avLst/>
              <a:gdLst>
                <a:gd name="connsiteX0" fmla="*/ 70705 w 89618"/>
                <a:gd name="connsiteY0" fmla="*/ 74081 h 104554"/>
                <a:gd name="connsiteX1" fmla="*/ 78174 w 89618"/>
                <a:gd name="connsiteY1" fmla="*/ 68107 h 104554"/>
                <a:gd name="connsiteX2" fmla="*/ 78174 w 89618"/>
                <a:gd name="connsiteY2" fmla="*/ 112916 h 104554"/>
                <a:gd name="connsiteX3" fmla="*/ 81161 w 89618"/>
                <a:gd name="connsiteY3" fmla="*/ 118890 h 104554"/>
                <a:gd name="connsiteX4" fmla="*/ 91616 w 89618"/>
                <a:gd name="connsiteY4" fmla="*/ 109929 h 104554"/>
                <a:gd name="connsiteX5" fmla="*/ 96097 w 89618"/>
                <a:gd name="connsiteY5" fmla="*/ 26285 h 104554"/>
                <a:gd name="connsiteX6" fmla="*/ 70705 w 89618"/>
                <a:gd name="connsiteY6" fmla="*/ 3881 h 104554"/>
                <a:gd name="connsiteX7" fmla="*/ 34858 w 89618"/>
                <a:gd name="connsiteY7" fmla="*/ 893 h 104554"/>
                <a:gd name="connsiteX8" fmla="*/ 9466 w 89618"/>
                <a:gd name="connsiteY8" fmla="*/ 12842 h 104554"/>
                <a:gd name="connsiteX9" fmla="*/ 505 w 89618"/>
                <a:gd name="connsiteY9" fmla="*/ 30766 h 104554"/>
                <a:gd name="connsiteX10" fmla="*/ 12454 w 89618"/>
                <a:gd name="connsiteY10" fmla="*/ 47196 h 104554"/>
                <a:gd name="connsiteX11" fmla="*/ 69212 w 89618"/>
                <a:gd name="connsiteY11" fmla="*/ 44209 h 104554"/>
                <a:gd name="connsiteX12" fmla="*/ 70705 w 89618"/>
                <a:gd name="connsiteY12" fmla="*/ 74081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618" h="104554">
                  <a:moveTo>
                    <a:pt x="70705" y="74081"/>
                  </a:moveTo>
                  <a:cubicBezTo>
                    <a:pt x="70705" y="74081"/>
                    <a:pt x="75186" y="69600"/>
                    <a:pt x="78174" y="68107"/>
                  </a:cubicBezTo>
                  <a:cubicBezTo>
                    <a:pt x="76680" y="83043"/>
                    <a:pt x="76680" y="97980"/>
                    <a:pt x="78174" y="112916"/>
                  </a:cubicBezTo>
                  <a:cubicBezTo>
                    <a:pt x="78174" y="114410"/>
                    <a:pt x="79667" y="117397"/>
                    <a:pt x="81161" y="118890"/>
                  </a:cubicBezTo>
                  <a:cubicBezTo>
                    <a:pt x="82654" y="120384"/>
                    <a:pt x="88629" y="114410"/>
                    <a:pt x="91616" y="109929"/>
                  </a:cubicBezTo>
                  <a:cubicBezTo>
                    <a:pt x="103566" y="84537"/>
                    <a:pt x="103566" y="39728"/>
                    <a:pt x="96097" y="26285"/>
                  </a:cubicBezTo>
                  <a:cubicBezTo>
                    <a:pt x="90122" y="15830"/>
                    <a:pt x="81161" y="8361"/>
                    <a:pt x="70705" y="3881"/>
                  </a:cubicBezTo>
                  <a:cubicBezTo>
                    <a:pt x="60250" y="-600"/>
                    <a:pt x="46807" y="-600"/>
                    <a:pt x="34858" y="893"/>
                  </a:cubicBezTo>
                  <a:cubicBezTo>
                    <a:pt x="24403" y="2387"/>
                    <a:pt x="16934" y="5374"/>
                    <a:pt x="9466" y="12842"/>
                  </a:cubicBezTo>
                  <a:cubicBezTo>
                    <a:pt x="505" y="20311"/>
                    <a:pt x="-989" y="27779"/>
                    <a:pt x="505" y="30766"/>
                  </a:cubicBezTo>
                  <a:cubicBezTo>
                    <a:pt x="1998" y="38234"/>
                    <a:pt x="3492" y="45702"/>
                    <a:pt x="12454" y="47196"/>
                  </a:cubicBezTo>
                  <a:cubicBezTo>
                    <a:pt x="46807" y="50183"/>
                    <a:pt x="57263" y="17323"/>
                    <a:pt x="69212" y="44209"/>
                  </a:cubicBezTo>
                  <a:cubicBezTo>
                    <a:pt x="72199" y="56158"/>
                    <a:pt x="69212" y="71094"/>
                    <a:pt x="70705" y="74081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7" name="任意多边形: 形状 886"/>
            <p:cNvSpPr/>
            <p:nvPr/>
          </p:nvSpPr>
          <p:spPr>
            <a:xfrm>
              <a:off x="3490204" y="865933"/>
              <a:ext cx="13633" cy="27267"/>
            </a:xfrm>
            <a:custGeom>
              <a:avLst/>
              <a:gdLst>
                <a:gd name="connsiteX0" fmla="*/ 8962 w 14936"/>
                <a:gd name="connsiteY0" fmla="*/ 0 h 29872"/>
                <a:gd name="connsiteX1" fmla="*/ 1494 w 14936"/>
                <a:gd name="connsiteY1" fmla="*/ 5975 h 29872"/>
                <a:gd name="connsiteX2" fmla="*/ 0 w 14936"/>
                <a:gd name="connsiteY2" fmla="*/ 17924 h 29872"/>
                <a:gd name="connsiteX3" fmla="*/ 2987 w 14936"/>
                <a:gd name="connsiteY3" fmla="*/ 32860 h 29872"/>
                <a:gd name="connsiteX4" fmla="*/ 5974 w 14936"/>
                <a:gd name="connsiteY4" fmla="*/ 35847 h 29872"/>
                <a:gd name="connsiteX5" fmla="*/ 11949 w 14936"/>
                <a:gd name="connsiteY5" fmla="*/ 34354 h 29872"/>
                <a:gd name="connsiteX6" fmla="*/ 14936 w 14936"/>
                <a:gd name="connsiteY6" fmla="*/ 28379 h 29872"/>
                <a:gd name="connsiteX7" fmla="*/ 16430 w 14936"/>
                <a:gd name="connsiteY7" fmla="*/ 10455 h 29872"/>
                <a:gd name="connsiteX8" fmla="*/ 14936 w 14936"/>
                <a:gd name="connsiteY8" fmla="*/ 2987 h 29872"/>
                <a:gd name="connsiteX9" fmla="*/ 8962 w 14936"/>
                <a:gd name="connsiteY9" fmla="*/ 0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36" h="29872">
                  <a:moveTo>
                    <a:pt x="8962" y="0"/>
                  </a:moveTo>
                  <a:cubicBezTo>
                    <a:pt x="5974" y="0"/>
                    <a:pt x="2987" y="2987"/>
                    <a:pt x="1494" y="5975"/>
                  </a:cubicBezTo>
                  <a:cubicBezTo>
                    <a:pt x="0" y="10455"/>
                    <a:pt x="0" y="13443"/>
                    <a:pt x="0" y="17924"/>
                  </a:cubicBezTo>
                  <a:cubicBezTo>
                    <a:pt x="0" y="22405"/>
                    <a:pt x="0" y="28379"/>
                    <a:pt x="2987" y="32860"/>
                  </a:cubicBezTo>
                  <a:cubicBezTo>
                    <a:pt x="2987" y="34354"/>
                    <a:pt x="4481" y="35847"/>
                    <a:pt x="5974" y="35847"/>
                  </a:cubicBezTo>
                  <a:cubicBezTo>
                    <a:pt x="7468" y="37341"/>
                    <a:pt x="10456" y="35847"/>
                    <a:pt x="11949" y="34354"/>
                  </a:cubicBezTo>
                  <a:cubicBezTo>
                    <a:pt x="13443" y="32860"/>
                    <a:pt x="13443" y="31366"/>
                    <a:pt x="14936" y="28379"/>
                  </a:cubicBezTo>
                  <a:cubicBezTo>
                    <a:pt x="16430" y="22405"/>
                    <a:pt x="16430" y="16430"/>
                    <a:pt x="16430" y="10455"/>
                  </a:cubicBezTo>
                  <a:cubicBezTo>
                    <a:pt x="16430" y="7468"/>
                    <a:pt x="16430" y="5975"/>
                    <a:pt x="14936" y="2987"/>
                  </a:cubicBezTo>
                  <a:cubicBezTo>
                    <a:pt x="13443" y="1494"/>
                    <a:pt x="11949" y="0"/>
                    <a:pt x="8962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8" name="任意多边形: 形状 887"/>
            <p:cNvSpPr/>
            <p:nvPr/>
          </p:nvSpPr>
          <p:spPr>
            <a:xfrm>
              <a:off x="3417137" y="812763"/>
              <a:ext cx="68168" cy="40900"/>
            </a:xfrm>
            <a:custGeom>
              <a:avLst/>
              <a:gdLst>
                <a:gd name="connsiteX0" fmla="*/ 80049 w 74681"/>
                <a:gd name="connsiteY0" fmla="*/ 32860 h 44809"/>
                <a:gd name="connsiteX1" fmla="*/ 81543 w 74681"/>
                <a:gd name="connsiteY1" fmla="*/ 26885 h 44809"/>
                <a:gd name="connsiteX2" fmla="*/ 78555 w 74681"/>
                <a:gd name="connsiteY2" fmla="*/ 20911 h 44809"/>
                <a:gd name="connsiteX3" fmla="*/ 57645 w 74681"/>
                <a:gd name="connsiteY3" fmla="*/ 8962 h 44809"/>
                <a:gd name="connsiteX4" fmla="*/ 26278 w 74681"/>
                <a:gd name="connsiteY4" fmla="*/ 0 h 44809"/>
                <a:gd name="connsiteX5" fmla="*/ 6861 w 74681"/>
                <a:gd name="connsiteY5" fmla="*/ 49290 h 44809"/>
                <a:gd name="connsiteX6" fmla="*/ 80049 w 74681"/>
                <a:gd name="connsiteY6" fmla="*/ 32860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681" h="44809">
                  <a:moveTo>
                    <a:pt x="80049" y="32860"/>
                  </a:moveTo>
                  <a:cubicBezTo>
                    <a:pt x="83037" y="32860"/>
                    <a:pt x="83037" y="28379"/>
                    <a:pt x="81543" y="26885"/>
                  </a:cubicBezTo>
                  <a:cubicBezTo>
                    <a:pt x="81543" y="23898"/>
                    <a:pt x="80049" y="22405"/>
                    <a:pt x="78555" y="20911"/>
                  </a:cubicBezTo>
                  <a:cubicBezTo>
                    <a:pt x="72581" y="14936"/>
                    <a:pt x="65113" y="11949"/>
                    <a:pt x="57645" y="8962"/>
                  </a:cubicBezTo>
                  <a:cubicBezTo>
                    <a:pt x="50176" y="7468"/>
                    <a:pt x="30759" y="0"/>
                    <a:pt x="26278" y="0"/>
                  </a:cubicBezTo>
                  <a:cubicBezTo>
                    <a:pt x="18810" y="1494"/>
                    <a:pt x="-14050" y="26885"/>
                    <a:pt x="6861" y="49290"/>
                  </a:cubicBezTo>
                  <a:cubicBezTo>
                    <a:pt x="32253" y="74682"/>
                    <a:pt x="45695" y="25392"/>
                    <a:pt x="80049" y="32860"/>
                  </a:cubicBezTo>
                  <a:close/>
                </a:path>
              </a:pathLst>
            </a:custGeom>
            <a:solidFill>
              <a:srgbClr val="3C3C3B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9" name="任意多边形: 形状 888"/>
            <p:cNvSpPr/>
            <p:nvPr/>
          </p:nvSpPr>
          <p:spPr>
            <a:xfrm>
              <a:off x="3378409" y="1274938"/>
              <a:ext cx="13633" cy="13633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0" name="任意多边形: 形状 889"/>
            <p:cNvSpPr/>
            <p:nvPr/>
          </p:nvSpPr>
          <p:spPr>
            <a:xfrm>
              <a:off x="3248891" y="1151213"/>
              <a:ext cx="218135" cy="122701"/>
            </a:xfrm>
            <a:custGeom>
              <a:avLst/>
              <a:gdLst>
                <a:gd name="connsiteX0" fmla="*/ 1493 w 238981"/>
                <a:gd name="connsiteY0" fmla="*/ 54891 h 134427"/>
                <a:gd name="connsiteX1" fmla="*/ 2987 w 238981"/>
                <a:gd name="connsiteY1" fmla="*/ 56385 h 134427"/>
                <a:gd name="connsiteX2" fmla="*/ 25392 w 238981"/>
                <a:gd name="connsiteY2" fmla="*/ 69827 h 134427"/>
                <a:gd name="connsiteX3" fmla="*/ 26885 w 238981"/>
                <a:gd name="connsiteY3" fmla="*/ 68334 h 134427"/>
                <a:gd name="connsiteX4" fmla="*/ 40328 w 238981"/>
                <a:gd name="connsiteY4" fmla="*/ 75802 h 134427"/>
                <a:gd name="connsiteX5" fmla="*/ 38834 w 238981"/>
                <a:gd name="connsiteY5" fmla="*/ 77296 h 134427"/>
                <a:gd name="connsiteX6" fmla="*/ 109035 w 238981"/>
                <a:gd name="connsiteY6" fmla="*/ 117624 h 134427"/>
                <a:gd name="connsiteX7" fmla="*/ 110529 w 238981"/>
                <a:gd name="connsiteY7" fmla="*/ 116130 h 134427"/>
                <a:gd name="connsiteX8" fmla="*/ 123972 w 238981"/>
                <a:gd name="connsiteY8" fmla="*/ 123598 h 134427"/>
                <a:gd name="connsiteX9" fmla="*/ 122478 w 238981"/>
                <a:gd name="connsiteY9" fmla="*/ 125092 h 134427"/>
                <a:gd name="connsiteX10" fmla="*/ 137414 w 238981"/>
                <a:gd name="connsiteY10" fmla="*/ 134054 h 134427"/>
                <a:gd name="connsiteX11" fmla="*/ 138908 w 238981"/>
                <a:gd name="connsiteY11" fmla="*/ 135547 h 134427"/>
                <a:gd name="connsiteX12" fmla="*/ 138908 w 238981"/>
                <a:gd name="connsiteY12" fmla="*/ 135547 h 134427"/>
                <a:gd name="connsiteX13" fmla="*/ 138908 w 238981"/>
                <a:gd name="connsiteY13" fmla="*/ 135547 h 134427"/>
                <a:gd name="connsiteX14" fmla="*/ 149363 w 238981"/>
                <a:gd name="connsiteY14" fmla="*/ 135547 h 134427"/>
                <a:gd name="connsiteX15" fmla="*/ 235994 w 238981"/>
                <a:gd name="connsiteY15" fmla="*/ 84764 h 134427"/>
                <a:gd name="connsiteX16" fmla="*/ 238982 w 238981"/>
                <a:gd name="connsiteY16" fmla="*/ 81776 h 134427"/>
                <a:gd name="connsiteX17" fmla="*/ 235994 w 238981"/>
                <a:gd name="connsiteY17" fmla="*/ 78789 h 134427"/>
                <a:gd name="connsiteX18" fmla="*/ 97086 w 238981"/>
                <a:gd name="connsiteY18" fmla="*/ 1120 h 134427"/>
                <a:gd name="connsiteX19" fmla="*/ 86631 w 238981"/>
                <a:gd name="connsiteY19" fmla="*/ 1120 h 134427"/>
                <a:gd name="connsiteX20" fmla="*/ 0 w 238981"/>
                <a:gd name="connsiteY20" fmla="*/ 51904 h 134427"/>
                <a:gd name="connsiteX21" fmla="*/ 1493 w 238981"/>
                <a:gd name="connsiteY21" fmla="*/ 54891 h 134427"/>
                <a:gd name="connsiteX22" fmla="*/ 1493 w 238981"/>
                <a:gd name="connsiteY22" fmla="*/ 54891 h 134427"/>
                <a:gd name="connsiteX23" fmla="*/ 183717 w 238981"/>
                <a:gd name="connsiteY23" fmla="*/ 53397 h 134427"/>
                <a:gd name="connsiteX24" fmla="*/ 161313 w 238981"/>
                <a:gd name="connsiteY24" fmla="*/ 66840 h 134427"/>
                <a:gd name="connsiteX25" fmla="*/ 123972 w 238981"/>
                <a:gd name="connsiteY25" fmla="*/ 45929 h 134427"/>
                <a:gd name="connsiteX26" fmla="*/ 146376 w 238981"/>
                <a:gd name="connsiteY26" fmla="*/ 32487 h 134427"/>
                <a:gd name="connsiteX27" fmla="*/ 183717 w 238981"/>
                <a:gd name="connsiteY27" fmla="*/ 53397 h 13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38981" h="134427">
                  <a:moveTo>
                    <a:pt x="1493" y="54891"/>
                  </a:moveTo>
                  <a:cubicBezTo>
                    <a:pt x="1493" y="54891"/>
                    <a:pt x="1493" y="56385"/>
                    <a:pt x="2987" y="56385"/>
                  </a:cubicBezTo>
                  <a:lnTo>
                    <a:pt x="25392" y="69827"/>
                  </a:lnTo>
                  <a:lnTo>
                    <a:pt x="26885" y="68334"/>
                  </a:lnTo>
                  <a:lnTo>
                    <a:pt x="40328" y="75802"/>
                  </a:lnTo>
                  <a:lnTo>
                    <a:pt x="38834" y="77296"/>
                  </a:lnTo>
                  <a:lnTo>
                    <a:pt x="109035" y="117624"/>
                  </a:lnTo>
                  <a:lnTo>
                    <a:pt x="110529" y="116130"/>
                  </a:lnTo>
                  <a:lnTo>
                    <a:pt x="123972" y="123598"/>
                  </a:lnTo>
                  <a:lnTo>
                    <a:pt x="122478" y="125092"/>
                  </a:lnTo>
                  <a:lnTo>
                    <a:pt x="137414" y="134054"/>
                  </a:lnTo>
                  <a:cubicBezTo>
                    <a:pt x="137414" y="134054"/>
                    <a:pt x="138908" y="134054"/>
                    <a:pt x="138908" y="135547"/>
                  </a:cubicBezTo>
                  <a:cubicBezTo>
                    <a:pt x="138908" y="135547"/>
                    <a:pt x="138908" y="135547"/>
                    <a:pt x="138908" y="135547"/>
                  </a:cubicBezTo>
                  <a:lnTo>
                    <a:pt x="138908" y="135547"/>
                  </a:lnTo>
                  <a:cubicBezTo>
                    <a:pt x="141895" y="137041"/>
                    <a:pt x="146376" y="137041"/>
                    <a:pt x="149363" y="135547"/>
                  </a:cubicBezTo>
                  <a:lnTo>
                    <a:pt x="235994" y="84764"/>
                  </a:lnTo>
                  <a:cubicBezTo>
                    <a:pt x="237488" y="83270"/>
                    <a:pt x="238982" y="83270"/>
                    <a:pt x="238982" y="81776"/>
                  </a:cubicBezTo>
                  <a:cubicBezTo>
                    <a:pt x="238982" y="80283"/>
                    <a:pt x="237488" y="78789"/>
                    <a:pt x="235994" y="78789"/>
                  </a:cubicBezTo>
                  <a:lnTo>
                    <a:pt x="97086" y="1120"/>
                  </a:lnTo>
                  <a:cubicBezTo>
                    <a:pt x="94099" y="-373"/>
                    <a:pt x="89618" y="-373"/>
                    <a:pt x="86631" y="1120"/>
                  </a:cubicBezTo>
                  <a:lnTo>
                    <a:pt x="0" y="51904"/>
                  </a:lnTo>
                  <a:cubicBezTo>
                    <a:pt x="2987" y="51904"/>
                    <a:pt x="1493" y="53397"/>
                    <a:pt x="1493" y="54891"/>
                  </a:cubicBezTo>
                  <a:cubicBezTo>
                    <a:pt x="1493" y="54891"/>
                    <a:pt x="1493" y="54891"/>
                    <a:pt x="1493" y="54891"/>
                  </a:cubicBezTo>
                  <a:close/>
                  <a:moveTo>
                    <a:pt x="183717" y="53397"/>
                  </a:moveTo>
                  <a:lnTo>
                    <a:pt x="161313" y="66840"/>
                  </a:lnTo>
                  <a:lnTo>
                    <a:pt x="123972" y="45929"/>
                  </a:lnTo>
                  <a:lnTo>
                    <a:pt x="146376" y="32487"/>
                  </a:lnTo>
                  <a:lnTo>
                    <a:pt x="183717" y="53397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1" name="任意多边形: 形状 890"/>
            <p:cNvSpPr/>
            <p:nvPr/>
          </p:nvSpPr>
          <p:spPr>
            <a:xfrm>
              <a:off x="3362049" y="1180867"/>
              <a:ext cx="54534" cy="27267"/>
            </a:xfrm>
            <a:custGeom>
              <a:avLst/>
              <a:gdLst>
                <a:gd name="connsiteX0" fmla="*/ 0 w 59745"/>
                <a:gd name="connsiteY0" fmla="*/ 13443 h 29872"/>
                <a:gd name="connsiteX1" fmla="*/ 20911 w 59745"/>
                <a:gd name="connsiteY1" fmla="*/ 0 h 29872"/>
                <a:gd name="connsiteX2" fmla="*/ 59745 w 59745"/>
                <a:gd name="connsiteY2" fmla="*/ 20911 h 29872"/>
                <a:gd name="connsiteX3" fmla="*/ 37341 w 59745"/>
                <a:gd name="connsiteY3" fmla="*/ 34354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745" h="29872">
                  <a:moveTo>
                    <a:pt x="0" y="13443"/>
                  </a:moveTo>
                  <a:lnTo>
                    <a:pt x="20911" y="0"/>
                  </a:lnTo>
                  <a:lnTo>
                    <a:pt x="59745" y="20911"/>
                  </a:lnTo>
                  <a:lnTo>
                    <a:pt x="37341" y="34354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2" name="任意多边形: 形状 891"/>
            <p:cNvSpPr/>
            <p:nvPr/>
          </p:nvSpPr>
          <p:spPr>
            <a:xfrm>
              <a:off x="3246164" y="1201316"/>
              <a:ext cx="218135" cy="81801"/>
            </a:xfrm>
            <a:custGeom>
              <a:avLst/>
              <a:gdLst>
                <a:gd name="connsiteX0" fmla="*/ 7468 w 238981"/>
                <a:gd name="connsiteY0" fmla="*/ 2987 h 89618"/>
                <a:gd name="connsiteX1" fmla="*/ 146376 w 238981"/>
                <a:gd name="connsiteY1" fmla="*/ 80656 h 89618"/>
                <a:gd name="connsiteX2" fmla="*/ 156832 w 238981"/>
                <a:gd name="connsiteY2" fmla="*/ 80656 h 89618"/>
                <a:gd name="connsiteX3" fmla="*/ 243462 w 238981"/>
                <a:gd name="connsiteY3" fmla="*/ 29873 h 89618"/>
                <a:gd name="connsiteX4" fmla="*/ 244956 w 238981"/>
                <a:gd name="connsiteY4" fmla="*/ 26885 h 89618"/>
                <a:gd name="connsiteX5" fmla="*/ 244956 w 238981"/>
                <a:gd name="connsiteY5" fmla="*/ 26885 h 89618"/>
                <a:gd name="connsiteX6" fmla="*/ 244956 w 238981"/>
                <a:gd name="connsiteY6" fmla="*/ 34354 h 89618"/>
                <a:gd name="connsiteX7" fmla="*/ 241969 w 238981"/>
                <a:gd name="connsiteY7" fmla="*/ 37341 h 89618"/>
                <a:gd name="connsiteX8" fmla="*/ 224045 w 238981"/>
                <a:gd name="connsiteY8" fmla="*/ 47796 h 89618"/>
                <a:gd name="connsiteX9" fmla="*/ 221058 w 238981"/>
                <a:gd name="connsiteY9" fmla="*/ 49290 h 89618"/>
                <a:gd name="connsiteX10" fmla="*/ 221058 w 238981"/>
                <a:gd name="connsiteY10" fmla="*/ 49290 h 89618"/>
                <a:gd name="connsiteX11" fmla="*/ 153844 w 238981"/>
                <a:gd name="connsiteY11" fmla="*/ 88124 h 89618"/>
                <a:gd name="connsiteX12" fmla="*/ 147870 w 238981"/>
                <a:gd name="connsiteY12" fmla="*/ 89618 h 89618"/>
                <a:gd name="connsiteX13" fmla="*/ 141895 w 238981"/>
                <a:gd name="connsiteY13" fmla="*/ 88124 h 89618"/>
                <a:gd name="connsiteX14" fmla="*/ 2987 w 238981"/>
                <a:gd name="connsiteY14" fmla="*/ 10455 h 89618"/>
                <a:gd name="connsiteX15" fmla="*/ 0 w 238981"/>
                <a:gd name="connsiteY15" fmla="*/ 7468 h 89618"/>
                <a:gd name="connsiteX16" fmla="*/ 0 w 238981"/>
                <a:gd name="connsiteY16" fmla="*/ 7468 h 89618"/>
                <a:gd name="connsiteX17" fmla="*/ 0 w 238981"/>
                <a:gd name="connsiteY17" fmla="*/ 0 h 89618"/>
                <a:gd name="connsiteX18" fmla="*/ 7468 w 238981"/>
                <a:gd name="connsiteY18" fmla="*/ 2987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8981" h="89618">
                  <a:moveTo>
                    <a:pt x="7468" y="2987"/>
                  </a:moveTo>
                  <a:lnTo>
                    <a:pt x="146376" y="80656"/>
                  </a:lnTo>
                  <a:cubicBezTo>
                    <a:pt x="149363" y="82150"/>
                    <a:pt x="153844" y="82150"/>
                    <a:pt x="156832" y="80656"/>
                  </a:cubicBezTo>
                  <a:lnTo>
                    <a:pt x="243462" y="29873"/>
                  </a:lnTo>
                  <a:cubicBezTo>
                    <a:pt x="244956" y="28379"/>
                    <a:pt x="244956" y="28379"/>
                    <a:pt x="244956" y="26885"/>
                  </a:cubicBezTo>
                  <a:lnTo>
                    <a:pt x="244956" y="26885"/>
                  </a:lnTo>
                  <a:lnTo>
                    <a:pt x="244956" y="34354"/>
                  </a:lnTo>
                  <a:cubicBezTo>
                    <a:pt x="244956" y="35847"/>
                    <a:pt x="244956" y="37341"/>
                    <a:pt x="241969" y="37341"/>
                  </a:cubicBezTo>
                  <a:lnTo>
                    <a:pt x="224045" y="47796"/>
                  </a:lnTo>
                  <a:lnTo>
                    <a:pt x="221058" y="49290"/>
                  </a:lnTo>
                  <a:lnTo>
                    <a:pt x="221058" y="49290"/>
                  </a:lnTo>
                  <a:lnTo>
                    <a:pt x="153844" y="88124"/>
                  </a:lnTo>
                  <a:cubicBezTo>
                    <a:pt x="152351" y="89618"/>
                    <a:pt x="150857" y="89618"/>
                    <a:pt x="147870" y="89618"/>
                  </a:cubicBezTo>
                  <a:cubicBezTo>
                    <a:pt x="146376" y="89618"/>
                    <a:pt x="143389" y="89618"/>
                    <a:pt x="141895" y="88124"/>
                  </a:cubicBezTo>
                  <a:lnTo>
                    <a:pt x="2987" y="10455"/>
                  </a:lnTo>
                  <a:cubicBezTo>
                    <a:pt x="1493" y="8962"/>
                    <a:pt x="0" y="8962"/>
                    <a:pt x="0" y="7468"/>
                  </a:cubicBezTo>
                  <a:lnTo>
                    <a:pt x="0" y="7468"/>
                  </a:lnTo>
                  <a:lnTo>
                    <a:pt x="0" y="0"/>
                  </a:lnTo>
                  <a:cubicBezTo>
                    <a:pt x="4481" y="0"/>
                    <a:pt x="5974" y="1494"/>
                    <a:pt x="7468" y="2987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3" name="任意多边形: 形状 892"/>
            <p:cNvSpPr/>
            <p:nvPr/>
          </p:nvSpPr>
          <p:spPr>
            <a:xfrm>
              <a:off x="3267977" y="1195863"/>
              <a:ext cx="13633" cy="13633"/>
            </a:xfrm>
            <a:custGeom>
              <a:avLst/>
              <a:gdLst>
                <a:gd name="connsiteX0" fmla="*/ 11949 w 14936"/>
                <a:gd name="connsiteY0" fmla="*/ 0 h 0"/>
                <a:gd name="connsiteX1" fmla="*/ 25392 w 14936"/>
                <a:gd name="connsiteY1" fmla="*/ 7468 h 0"/>
                <a:gd name="connsiteX2" fmla="*/ 13443 w 14936"/>
                <a:gd name="connsiteY2" fmla="*/ 13443 h 0"/>
                <a:gd name="connsiteX3" fmla="*/ 0 w 14936"/>
                <a:gd name="connsiteY3" fmla="*/ 597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25392" y="7468"/>
                  </a:lnTo>
                  <a:lnTo>
                    <a:pt x="13443" y="13443"/>
                  </a:lnTo>
                  <a:lnTo>
                    <a:pt x="0" y="5975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4" name="任意多边形: 形状 893"/>
            <p:cNvSpPr/>
            <p:nvPr/>
          </p:nvSpPr>
          <p:spPr>
            <a:xfrm>
              <a:off x="3282975" y="1204044"/>
              <a:ext cx="13633" cy="13633"/>
            </a:xfrm>
            <a:custGeom>
              <a:avLst/>
              <a:gdLst>
                <a:gd name="connsiteX0" fmla="*/ 23898 w 14936"/>
                <a:gd name="connsiteY0" fmla="*/ 7468 h 0"/>
                <a:gd name="connsiteX1" fmla="*/ 13443 w 14936"/>
                <a:gd name="connsiteY1" fmla="*/ 13443 h 0"/>
                <a:gd name="connsiteX2" fmla="*/ 0 w 14936"/>
                <a:gd name="connsiteY2" fmla="*/ 5975 h 0"/>
                <a:gd name="connsiteX3" fmla="*/ 10455 w 14936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23898" y="7468"/>
                  </a:moveTo>
                  <a:lnTo>
                    <a:pt x="13443" y="13443"/>
                  </a:lnTo>
                  <a:lnTo>
                    <a:pt x="0" y="5975"/>
                  </a:lnTo>
                  <a:lnTo>
                    <a:pt x="10455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5" name="任意多边形: 形状 894"/>
            <p:cNvSpPr/>
            <p:nvPr/>
          </p:nvSpPr>
          <p:spPr>
            <a:xfrm>
              <a:off x="3296608" y="1212223"/>
              <a:ext cx="13633" cy="13633"/>
            </a:xfrm>
            <a:custGeom>
              <a:avLst/>
              <a:gdLst>
                <a:gd name="connsiteX0" fmla="*/ 25392 w 14936"/>
                <a:gd name="connsiteY0" fmla="*/ 7468 h 0"/>
                <a:gd name="connsiteX1" fmla="*/ 13443 w 14936"/>
                <a:gd name="connsiteY1" fmla="*/ 13443 h 0"/>
                <a:gd name="connsiteX2" fmla="*/ 13443 w 14936"/>
                <a:gd name="connsiteY2" fmla="*/ 13443 h 0"/>
                <a:gd name="connsiteX3" fmla="*/ 0 w 14936"/>
                <a:gd name="connsiteY3" fmla="*/ 5975 h 0"/>
                <a:gd name="connsiteX4" fmla="*/ 10455 w 14936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>
                  <a:moveTo>
                    <a:pt x="25392" y="7468"/>
                  </a:moveTo>
                  <a:lnTo>
                    <a:pt x="13443" y="13443"/>
                  </a:lnTo>
                  <a:lnTo>
                    <a:pt x="13443" y="13443"/>
                  </a:lnTo>
                  <a:lnTo>
                    <a:pt x="0" y="5975"/>
                  </a:lnTo>
                  <a:lnTo>
                    <a:pt x="10455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6" name="任意多边形: 形状 895"/>
            <p:cNvSpPr/>
            <p:nvPr/>
          </p:nvSpPr>
          <p:spPr>
            <a:xfrm>
              <a:off x="3310242" y="1219041"/>
              <a:ext cx="13633" cy="13633"/>
            </a:xfrm>
            <a:custGeom>
              <a:avLst/>
              <a:gdLst>
                <a:gd name="connsiteX0" fmla="*/ 11949 w 14936"/>
                <a:gd name="connsiteY0" fmla="*/ 0 h 14936"/>
                <a:gd name="connsiteX1" fmla="*/ 25392 w 14936"/>
                <a:gd name="connsiteY1" fmla="*/ 7468 h 14936"/>
                <a:gd name="connsiteX2" fmla="*/ 13443 w 14936"/>
                <a:gd name="connsiteY2" fmla="*/ 14936 h 14936"/>
                <a:gd name="connsiteX3" fmla="*/ 0 w 14936"/>
                <a:gd name="connsiteY3" fmla="*/ 7468 h 14936"/>
                <a:gd name="connsiteX4" fmla="*/ 0 w 14936"/>
                <a:gd name="connsiteY4" fmla="*/ 7468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11949" y="0"/>
                  </a:moveTo>
                  <a:lnTo>
                    <a:pt x="25392" y="7468"/>
                  </a:lnTo>
                  <a:lnTo>
                    <a:pt x="13443" y="14936"/>
                  </a:lnTo>
                  <a:lnTo>
                    <a:pt x="0" y="7468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7" name="任意多边形: 形状 896"/>
            <p:cNvSpPr/>
            <p:nvPr/>
          </p:nvSpPr>
          <p:spPr>
            <a:xfrm>
              <a:off x="3323876" y="1227220"/>
              <a:ext cx="13633" cy="13633"/>
            </a:xfrm>
            <a:custGeom>
              <a:avLst/>
              <a:gdLst>
                <a:gd name="connsiteX0" fmla="*/ 25392 w 14936"/>
                <a:gd name="connsiteY0" fmla="*/ 7468 h 14936"/>
                <a:gd name="connsiteX1" fmla="*/ 14936 w 14936"/>
                <a:gd name="connsiteY1" fmla="*/ 14936 h 14936"/>
                <a:gd name="connsiteX2" fmla="*/ 1493 w 14936"/>
                <a:gd name="connsiteY2" fmla="*/ 7468 h 14936"/>
                <a:gd name="connsiteX3" fmla="*/ 0 w 14936"/>
                <a:gd name="connsiteY3" fmla="*/ 7468 h 14936"/>
                <a:gd name="connsiteX4" fmla="*/ 11949 w 14936"/>
                <a:gd name="connsiteY4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25392" y="7468"/>
                  </a:moveTo>
                  <a:lnTo>
                    <a:pt x="14936" y="14936"/>
                  </a:lnTo>
                  <a:lnTo>
                    <a:pt x="1493" y="7468"/>
                  </a:lnTo>
                  <a:lnTo>
                    <a:pt x="0" y="7468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8" name="任意多边形: 形状 897"/>
            <p:cNvSpPr/>
            <p:nvPr/>
          </p:nvSpPr>
          <p:spPr>
            <a:xfrm>
              <a:off x="3338872" y="1235400"/>
              <a:ext cx="13633" cy="13633"/>
            </a:xfrm>
            <a:custGeom>
              <a:avLst/>
              <a:gdLst>
                <a:gd name="connsiteX0" fmla="*/ 23898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5975 h 14936"/>
                <a:gd name="connsiteX3" fmla="*/ 10456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3898" y="7468"/>
                  </a:moveTo>
                  <a:lnTo>
                    <a:pt x="13443" y="14936"/>
                  </a:lnTo>
                  <a:lnTo>
                    <a:pt x="0" y="5975"/>
                  </a:lnTo>
                  <a:lnTo>
                    <a:pt x="10456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9" name="任意多边形: 形状 898"/>
            <p:cNvSpPr/>
            <p:nvPr/>
          </p:nvSpPr>
          <p:spPr>
            <a:xfrm>
              <a:off x="3352506" y="1243580"/>
              <a:ext cx="13633" cy="13633"/>
            </a:xfrm>
            <a:custGeom>
              <a:avLst/>
              <a:gdLst>
                <a:gd name="connsiteX0" fmla="*/ 25392 w 14936"/>
                <a:gd name="connsiteY0" fmla="*/ 7468 h 0"/>
                <a:gd name="connsiteX1" fmla="*/ 13443 w 14936"/>
                <a:gd name="connsiteY1" fmla="*/ 13443 h 0"/>
                <a:gd name="connsiteX2" fmla="*/ 0 w 14936"/>
                <a:gd name="connsiteY2" fmla="*/ 5975 h 0"/>
                <a:gd name="connsiteX3" fmla="*/ 11949 w 14936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25392" y="7468"/>
                  </a:moveTo>
                  <a:lnTo>
                    <a:pt x="13443" y="13443"/>
                  </a:lnTo>
                  <a:lnTo>
                    <a:pt x="0" y="5975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0" name="任意多边形: 形状 899"/>
            <p:cNvSpPr/>
            <p:nvPr/>
          </p:nvSpPr>
          <p:spPr>
            <a:xfrm>
              <a:off x="3366139" y="1251761"/>
              <a:ext cx="13633" cy="13633"/>
            </a:xfrm>
            <a:custGeom>
              <a:avLst/>
              <a:gdLst>
                <a:gd name="connsiteX0" fmla="*/ 11949 w 14936"/>
                <a:gd name="connsiteY0" fmla="*/ 0 h 0"/>
                <a:gd name="connsiteX1" fmla="*/ 25392 w 14936"/>
                <a:gd name="connsiteY1" fmla="*/ 7468 h 0"/>
                <a:gd name="connsiteX2" fmla="*/ 14936 w 14936"/>
                <a:gd name="connsiteY2" fmla="*/ 13443 h 0"/>
                <a:gd name="connsiteX3" fmla="*/ 0 w 14936"/>
                <a:gd name="connsiteY3" fmla="*/ 5975 h 0"/>
                <a:gd name="connsiteX4" fmla="*/ 0 w 14936"/>
                <a:gd name="connsiteY4" fmla="*/ 597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25392" y="7468"/>
                  </a:lnTo>
                  <a:lnTo>
                    <a:pt x="14936" y="13443"/>
                  </a:lnTo>
                  <a:lnTo>
                    <a:pt x="0" y="5975"/>
                  </a:lnTo>
                  <a:lnTo>
                    <a:pt x="0" y="5975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1" name="任意多边形: 形状 900"/>
            <p:cNvSpPr/>
            <p:nvPr/>
          </p:nvSpPr>
          <p:spPr>
            <a:xfrm>
              <a:off x="3280248" y="1189047"/>
              <a:ext cx="13633" cy="13633"/>
            </a:xfrm>
            <a:custGeom>
              <a:avLst/>
              <a:gdLst>
                <a:gd name="connsiteX0" fmla="*/ 13443 w 14936"/>
                <a:gd name="connsiteY0" fmla="*/ 13443 h 0"/>
                <a:gd name="connsiteX1" fmla="*/ 0 w 14936"/>
                <a:gd name="connsiteY1" fmla="*/ 5975 h 0"/>
                <a:gd name="connsiteX2" fmla="*/ 11949 w 14936"/>
                <a:gd name="connsiteY2" fmla="*/ 0 h 0"/>
                <a:gd name="connsiteX3" fmla="*/ 25392 w 14936"/>
                <a:gd name="connsiteY3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3443" y="13443"/>
                  </a:moveTo>
                  <a:lnTo>
                    <a:pt x="0" y="5975"/>
                  </a:lnTo>
                  <a:lnTo>
                    <a:pt x="11949" y="0"/>
                  </a:lnTo>
                  <a:lnTo>
                    <a:pt x="25392" y="7468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2" name="任意多边形: 形状 901"/>
            <p:cNvSpPr/>
            <p:nvPr/>
          </p:nvSpPr>
          <p:spPr>
            <a:xfrm>
              <a:off x="3293882" y="1197226"/>
              <a:ext cx="13633" cy="13633"/>
            </a:xfrm>
            <a:custGeom>
              <a:avLst/>
              <a:gdLst>
                <a:gd name="connsiteX0" fmla="*/ 0 w 14936"/>
                <a:gd name="connsiteY0" fmla="*/ 5975 h 0"/>
                <a:gd name="connsiteX1" fmla="*/ 11949 w 14936"/>
                <a:gd name="connsiteY1" fmla="*/ 0 h 0"/>
                <a:gd name="connsiteX2" fmla="*/ 25392 w 14936"/>
                <a:gd name="connsiteY2" fmla="*/ 7468 h 0"/>
                <a:gd name="connsiteX3" fmla="*/ 13443 w 14936"/>
                <a:gd name="connsiteY3" fmla="*/ 13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0" y="5975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3443" y="13443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3" name="任意多边形: 形状 902"/>
            <p:cNvSpPr/>
            <p:nvPr/>
          </p:nvSpPr>
          <p:spPr>
            <a:xfrm>
              <a:off x="3308878" y="1204044"/>
              <a:ext cx="13633" cy="13633"/>
            </a:xfrm>
            <a:custGeom>
              <a:avLst/>
              <a:gdLst>
                <a:gd name="connsiteX0" fmla="*/ 0 w 14936"/>
                <a:gd name="connsiteY0" fmla="*/ 7468 h 14936"/>
                <a:gd name="connsiteX1" fmla="*/ 10455 w 14936"/>
                <a:gd name="connsiteY1" fmla="*/ 0 h 14936"/>
                <a:gd name="connsiteX2" fmla="*/ 23898 w 14936"/>
                <a:gd name="connsiteY2" fmla="*/ 7468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0455" y="0"/>
                  </a:lnTo>
                  <a:lnTo>
                    <a:pt x="23898" y="7468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4" name="任意多边形: 形状 903"/>
            <p:cNvSpPr/>
            <p:nvPr/>
          </p:nvSpPr>
          <p:spPr>
            <a:xfrm>
              <a:off x="3322512" y="1212223"/>
              <a:ext cx="13633" cy="13633"/>
            </a:xfrm>
            <a:custGeom>
              <a:avLst/>
              <a:gdLst>
                <a:gd name="connsiteX0" fmla="*/ 0 w 14936"/>
                <a:gd name="connsiteY0" fmla="*/ 7468 h 14936"/>
                <a:gd name="connsiteX1" fmla="*/ 10455 w 14936"/>
                <a:gd name="connsiteY1" fmla="*/ 0 h 14936"/>
                <a:gd name="connsiteX2" fmla="*/ 23898 w 14936"/>
                <a:gd name="connsiteY2" fmla="*/ 7468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0455" y="0"/>
                  </a:lnTo>
                  <a:lnTo>
                    <a:pt x="23898" y="7468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5" name="任意多边形: 形状 904"/>
            <p:cNvSpPr/>
            <p:nvPr/>
          </p:nvSpPr>
          <p:spPr>
            <a:xfrm>
              <a:off x="3336145" y="1220403"/>
              <a:ext cx="13633" cy="13633"/>
            </a:xfrm>
            <a:custGeom>
              <a:avLst/>
              <a:gdLst>
                <a:gd name="connsiteX0" fmla="*/ 0 w 14936"/>
                <a:gd name="connsiteY0" fmla="*/ 5975 h 14936"/>
                <a:gd name="connsiteX1" fmla="*/ 11949 w 14936"/>
                <a:gd name="connsiteY1" fmla="*/ 0 h 14936"/>
                <a:gd name="connsiteX2" fmla="*/ 25392 w 14936"/>
                <a:gd name="connsiteY2" fmla="*/ 7468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5975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6" name="任意多边形: 形状 905"/>
            <p:cNvSpPr/>
            <p:nvPr/>
          </p:nvSpPr>
          <p:spPr>
            <a:xfrm>
              <a:off x="3351142" y="1228584"/>
              <a:ext cx="13633" cy="13633"/>
            </a:xfrm>
            <a:custGeom>
              <a:avLst/>
              <a:gdLst>
                <a:gd name="connsiteX0" fmla="*/ 0 w 14936"/>
                <a:gd name="connsiteY0" fmla="*/ 5975 h 0"/>
                <a:gd name="connsiteX1" fmla="*/ 10455 w 14936"/>
                <a:gd name="connsiteY1" fmla="*/ 0 h 0"/>
                <a:gd name="connsiteX2" fmla="*/ 23898 w 14936"/>
                <a:gd name="connsiteY2" fmla="*/ 7468 h 0"/>
                <a:gd name="connsiteX3" fmla="*/ 13443 w 14936"/>
                <a:gd name="connsiteY3" fmla="*/ 13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0" y="5975"/>
                  </a:moveTo>
                  <a:lnTo>
                    <a:pt x="10455" y="0"/>
                  </a:lnTo>
                  <a:lnTo>
                    <a:pt x="23898" y="7468"/>
                  </a:lnTo>
                  <a:lnTo>
                    <a:pt x="13443" y="13443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7" name="任意多边形: 形状 906"/>
            <p:cNvSpPr/>
            <p:nvPr/>
          </p:nvSpPr>
          <p:spPr>
            <a:xfrm>
              <a:off x="3364776" y="1236764"/>
              <a:ext cx="13633" cy="13633"/>
            </a:xfrm>
            <a:custGeom>
              <a:avLst/>
              <a:gdLst>
                <a:gd name="connsiteX0" fmla="*/ 13443 w 14936"/>
                <a:gd name="connsiteY0" fmla="*/ 13443 h 0"/>
                <a:gd name="connsiteX1" fmla="*/ 0 w 14936"/>
                <a:gd name="connsiteY1" fmla="*/ 5975 h 0"/>
                <a:gd name="connsiteX2" fmla="*/ 10455 w 14936"/>
                <a:gd name="connsiteY2" fmla="*/ 0 h 0"/>
                <a:gd name="connsiteX3" fmla="*/ 25392 w 14936"/>
                <a:gd name="connsiteY3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3443" y="13443"/>
                  </a:moveTo>
                  <a:lnTo>
                    <a:pt x="0" y="5975"/>
                  </a:lnTo>
                  <a:lnTo>
                    <a:pt x="10455" y="0"/>
                  </a:lnTo>
                  <a:lnTo>
                    <a:pt x="25392" y="7468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8" name="任意多边形: 形状 907"/>
            <p:cNvSpPr/>
            <p:nvPr/>
          </p:nvSpPr>
          <p:spPr>
            <a:xfrm>
              <a:off x="3292518" y="1182229"/>
              <a:ext cx="13633" cy="13633"/>
            </a:xfrm>
            <a:custGeom>
              <a:avLst/>
              <a:gdLst>
                <a:gd name="connsiteX0" fmla="*/ 13443 w 14936"/>
                <a:gd name="connsiteY0" fmla="*/ 13443 h 0"/>
                <a:gd name="connsiteX1" fmla="*/ 0 w 14936"/>
                <a:gd name="connsiteY1" fmla="*/ 5975 h 0"/>
                <a:gd name="connsiteX2" fmla="*/ 10455 w 14936"/>
                <a:gd name="connsiteY2" fmla="*/ 0 h 0"/>
                <a:gd name="connsiteX3" fmla="*/ 23898 w 14936"/>
                <a:gd name="connsiteY3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3443" y="13443"/>
                  </a:moveTo>
                  <a:lnTo>
                    <a:pt x="0" y="5975"/>
                  </a:lnTo>
                  <a:lnTo>
                    <a:pt x="10455" y="0"/>
                  </a:lnTo>
                  <a:lnTo>
                    <a:pt x="23898" y="7468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9" name="任意多边形: 形状 908"/>
            <p:cNvSpPr/>
            <p:nvPr/>
          </p:nvSpPr>
          <p:spPr>
            <a:xfrm>
              <a:off x="3306151" y="1189047"/>
              <a:ext cx="13633" cy="13633"/>
            </a:xfrm>
            <a:custGeom>
              <a:avLst/>
              <a:gdLst>
                <a:gd name="connsiteX0" fmla="*/ 0 w 14936"/>
                <a:gd name="connsiteY0" fmla="*/ 7468 h 14936"/>
                <a:gd name="connsiteX1" fmla="*/ 10455 w 14936"/>
                <a:gd name="connsiteY1" fmla="*/ 0 h 14936"/>
                <a:gd name="connsiteX2" fmla="*/ 25392 w 14936"/>
                <a:gd name="connsiteY2" fmla="*/ 7468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0455" y="0"/>
                  </a:lnTo>
                  <a:lnTo>
                    <a:pt x="25392" y="7468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0" name="任意多边形: 形状 909"/>
            <p:cNvSpPr/>
            <p:nvPr/>
          </p:nvSpPr>
          <p:spPr>
            <a:xfrm>
              <a:off x="3319785" y="1197226"/>
              <a:ext cx="13633" cy="13633"/>
            </a:xfrm>
            <a:custGeom>
              <a:avLst/>
              <a:gdLst>
                <a:gd name="connsiteX0" fmla="*/ 25392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7468 h 14936"/>
                <a:gd name="connsiteX3" fmla="*/ 11949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5392" y="7468"/>
                  </a:moveTo>
                  <a:lnTo>
                    <a:pt x="13443" y="14936"/>
                  </a:lnTo>
                  <a:lnTo>
                    <a:pt x="0" y="7468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1" name="任意多边形: 形状 910"/>
            <p:cNvSpPr/>
            <p:nvPr/>
          </p:nvSpPr>
          <p:spPr>
            <a:xfrm>
              <a:off x="3334782" y="1205406"/>
              <a:ext cx="13633" cy="13633"/>
            </a:xfrm>
            <a:custGeom>
              <a:avLst/>
              <a:gdLst>
                <a:gd name="connsiteX0" fmla="*/ 23898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5975 h 14936"/>
                <a:gd name="connsiteX3" fmla="*/ 10455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3898" y="7468"/>
                  </a:moveTo>
                  <a:lnTo>
                    <a:pt x="13443" y="14936"/>
                  </a:lnTo>
                  <a:lnTo>
                    <a:pt x="0" y="5975"/>
                  </a:lnTo>
                  <a:lnTo>
                    <a:pt x="10455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2" name="任意多边形: 形状 911"/>
            <p:cNvSpPr/>
            <p:nvPr/>
          </p:nvSpPr>
          <p:spPr>
            <a:xfrm>
              <a:off x="3348416" y="1213587"/>
              <a:ext cx="13633" cy="13633"/>
            </a:xfrm>
            <a:custGeom>
              <a:avLst/>
              <a:gdLst>
                <a:gd name="connsiteX0" fmla="*/ 25392 w 14936"/>
                <a:gd name="connsiteY0" fmla="*/ 7468 h 0"/>
                <a:gd name="connsiteX1" fmla="*/ 13443 w 14936"/>
                <a:gd name="connsiteY1" fmla="*/ 13443 h 0"/>
                <a:gd name="connsiteX2" fmla="*/ 0 w 14936"/>
                <a:gd name="connsiteY2" fmla="*/ 5975 h 0"/>
                <a:gd name="connsiteX3" fmla="*/ 11949 w 14936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25392" y="7468"/>
                  </a:moveTo>
                  <a:lnTo>
                    <a:pt x="13443" y="13443"/>
                  </a:lnTo>
                  <a:lnTo>
                    <a:pt x="0" y="5975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3" name="任意多边形: 形状 912"/>
            <p:cNvSpPr/>
            <p:nvPr/>
          </p:nvSpPr>
          <p:spPr>
            <a:xfrm>
              <a:off x="3362049" y="1221767"/>
              <a:ext cx="13633" cy="13633"/>
            </a:xfrm>
            <a:custGeom>
              <a:avLst/>
              <a:gdLst>
                <a:gd name="connsiteX0" fmla="*/ 25392 w 14936"/>
                <a:gd name="connsiteY0" fmla="*/ 7468 h 0"/>
                <a:gd name="connsiteX1" fmla="*/ 13443 w 14936"/>
                <a:gd name="connsiteY1" fmla="*/ 13443 h 0"/>
                <a:gd name="connsiteX2" fmla="*/ 0 w 14936"/>
                <a:gd name="connsiteY2" fmla="*/ 5975 h 0"/>
                <a:gd name="connsiteX3" fmla="*/ 11949 w 14936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25392" y="7468"/>
                  </a:moveTo>
                  <a:lnTo>
                    <a:pt x="13443" y="13443"/>
                  </a:lnTo>
                  <a:lnTo>
                    <a:pt x="0" y="5975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4" name="任意多边形: 形状 913"/>
            <p:cNvSpPr/>
            <p:nvPr/>
          </p:nvSpPr>
          <p:spPr>
            <a:xfrm>
              <a:off x="3377046" y="1228584"/>
              <a:ext cx="27267" cy="27267"/>
            </a:xfrm>
            <a:custGeom>
              <a:avLst/>
              <a:gdLst>
                <a:gd name="connsiteX0" fmla="*/ 14936 w 29872"/>
                <a:gd name="connsiteY0" fmla="*/ 16430 h 29872"/>
                <a:gd name="connsiteX1" fmla="*/ 0 w 29872"/>
                <a:gd name="connsiteY1" fmla="*/ 7468 h 29872"/>
                <a:gd name="connsiteX2" fmla="*/ 10455 w 29872"/>
                <a:gd name="connsiteY2" fmla="*/ 0 h 29872"/>
                <a:gd name="connsiteX3" fmla="*/ 26885 w 29872"/>
                <a:gd name="connsiteY3" fmla="*/ 8962 h 29872"/>
                <a:gd name="connsiteX4" fmla="*/ 29873 w 29872"/>
                <a:gd name="connsiteY4" fmla="*/ 11949 h 29872"/>
                <a:gd name="connsiteX5" fmla="*/ 40328 w 29872"/>
                <a:gd name="connsiteY5" fmla="*/ 16430 h 29872"/>
                <a:gd name="connsiteX6" fmla="*/ 40328 w 29872"/>
                <a:gd name="connsiteY6" fmla="*/ 17924 h 29872"/>
                <a:gd name="connsiteX7" fmla="*/ 31366 w 29872"/>
                <a:gd name="connsiteY7" fmla="*/ 22405 h 29872"/>
                <a:gd name="connsiteX8" fmla="*/ 28379 w 29872"/>
                <a:gd name="connsiteY8" fmla="*/ 23898 h 29872"/>
                <a:gd name="connsiteX9" fmla="*/ 14936 w 29872"/>
                <a:gd name="connsiteY9" fmla="*/ 31366 h 29872"/>
                <a:gd name="connsiteX10" fmla="*/ 1494 w 29872"/>
                <a:gd name="connsiteY10" fmla="*/ 23898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872" h="29872">
                  <a:moveTo>
                    <a:pt x="14936" y="16430"/>
                  </a:moveTo>
                  <a:lnTo>
                    <a:pt x="0" y="7468"/>
                  </a:lnTo>
                  <a:lnTo>
                    <a:pt x="10455" y="0"/>
                  </a:lnTo>
                  <a:lnTo>
                    <a:pt x="26885" y="8962"/>
                  </a:lnTo>
                  <a:lnTo>
                    <a:pt x="29873" y="11949"/>
                  </a:lnTo>
                  <a:lnTo>
                    <a:pt x="40328" y="16430"/>
                  </a:lnTo>
                  <a:lnTo>
                    <a:pt x="40328" y="17924"/>
                  </a:lnTo>
                  <a:lnTo>
                    <a:pt x="31366" y="22405"/>
                  </a:lnTo>
                  <a:lnTo>
                    <a:pt x="28379" y="23898"/>
                  </a:lnTo>
                  <a:lnTo>
                    <a:pt x="14936" y="31366"/>
                  </a:lnTo>
                  <a:lnTo>
                    <a:pt x="1494" y="23898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5" name="任意多边形: 形状 914"/>
            <p:cNvSpPr/>
            <p:nvPr/>
          </p:nvSpPr>
          <p:spPr>
            <a:xfrm>
              <a:off x="3303425" y="1174050"/>
              <a:ext cx="13633" cy="13633"/>
            </a:xfrm>
            <a:custGeom>
              <a:avLst/>
              <a:gdLst>
                <a:gd name="connsiteX0" fmla="*/ 0 w 14936"/>
                <a:gd name="connsiteY0" fmla="*/ 7468 h 14936"/>
                <a:gd name="connsiteX1" fmla="*/ 11949 w 14936"/>
                <a:gd name="connsiteY1" fmla="*/ 0 h 14936"/>
                <a:gd name="connsiteX2" fmla="*/ 25392 w 14936"/>
                <a:gd name="connsiteY2" fmla="*/ 7468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6" name="任意多边形: 形状 915"/>
            <p:cNvSpPr/>
            <p:nvPr/>
          </p:nvSpPr>
          <p:spPr>
            <a:xfrm>
              <a:off x="3318422" y="1182229"/>
              <a:ext cx="13633" cy="13633"/>
            </a:xfrm>
            <a:custGeom>
              <a:avLst/>
              <a:gdLst>
                <a:gd name="connsiteX0" fmla="*/ 0 w 14936"/>
                <a:gd name="connsiteY0" fmla="*/ 7468 h 14936"/>
                <a:gd name="connsiteX1" fmla="*/ 10456 w 14936"/>
                <a:gd name="connsiteY1" fmla="*/ 0 h 14936"/>
                <a:gd name="connsiteX2" fmla="*/ 23898 w 14936"/>
                <a:gd name="connsiteY2" fmla="*/ 7468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0456" y="0"/>
                  </a:lnTo>
                  <a:lnTo>
                    <a:pt x="23898" y="7468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7" name="任意多边形: 形状 916"/>
            <p:cNvSpPr/>
            <p:nvPr/>
          </p:nvSpPr>
          <p:spPr>
            <a:xfrm>
              <a:off x="3332055" y="1190410"/>
              <a:ext cx="54534" cy="27267"/>
            </a:xfrm>
            <a:custGeom>
              <a:avLst/>
              <a:gdLst>
                <a:gd name="connsiteX0" fmla="*/ 50784 w 59745"/>
                <a:gd name="connsiteY0" fmla="*/ 34354 h 29872"/>
                <a:gd name="connsiteX1" fmla="*/ 46303 w 59745"/>
                <a:gd name="connsiteY1" fmla="*/ 32860 h 29872"/>
                <a:gd name="connsiteX2" fmla="*/ 44809 w 59745"/>
                <a:gd name="connsiteY2" fmla="*/ 31366 h 29872"/>
                <a:gd name="connsiteX3" fmla="*/ 31366 w 59745"/>
                <a:gd name="connsiteY3" fmla="*/ 23898 h 29872"/>
                <a:gd name="connsiteX4" fmla="*/ 28379 w 59745"/>
                <a:gd name="connsiteY4" fmla="*/ 22405 h 29872"/>
                <a:gd name="connsiteX5" fmla="*/ 14936 w 59745"/>
                <a:gd name="connsiteY5" fmla="*/ 14936 h 29872"/>
                <a:gd name="connsiteX6" fmla="*/ 0 w 59745"/>
                <a:gd name="connsiteY6" fmla="*/ 5975 h 29872"/>
                <a:gd name="connsiteX7" fmla="*/ 11949 w 59745"/>
                <a:gd name="connsiteY7" fmla="*/ 0 h 29872"/>
                <a:gd name="connsiteX8" fmla="*/ 26885 w 59745"/>
                <a:gd name="connsiteY8" fmla="*/ 8962 h 29872"/>
                <a:gd name="connsiteX9" fmla="*/ 40328 w 59745"/>
                <a:gd name="connsiteY9" fmla="*/ 16430 h 29872"/>
                <a:gd name="connsiteX10" fmla="*/ 41822 w 59745"/>
                <a:gd name="connsiteY10" fmla="*/ 17924 h 29872"/>
                <a:gd name="connsiteX11" fmla="*/ 55265 w 59745"/>
                <a:gd name="connsiteY11" fmla="*/ 25392 h 29872"/>
                <a:gd name="connsiteX12" fmla="*/ 58252 w 59745"/>
                <a:gd name="connsiteY12" fmla="*/ 25392 h 29872"/>
                <a:gd name="connsiteX13" fmla="*/ 61239 w 59745"/>
                <a:gd name="connsiteY13" fmla="*/ 28379 h 29872"/>
                <a:gd name="connsiteX14" fmla="*/ 71694 w 59745"/>
                <a:gd name="connsiteY14" fmla="*/ 34354 h 29872"/>
                <a:gd name="connsiteX15" fmla="*/ 59745 w 59745"/>
                <a:gd name="connsiteY15" fmla="*/ 40328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745" h="29872">
                  <a:moveTo>
                    <a:pt x="50784" y="34354"/>
                  </a:moveTo>
                  <a:lnTo>
                    <a:pt x="46303" y="32860"/>
                  </a:lnTo>
                  <a:lnTo>
                    <a:pt x="44809" y="31366"/>
                  </a:lnTo>
                  <a:lnTo>
                    <a:pt x="31366" y="23898"/>
                  </a:lnTo>
                  <a:lnTo>
                    <a:pt x="28379" y="22405"/>
                  </a:lnTo>
                  <a:lnTo>
                    <a:pt x="14936" y="14936"/>
                  </a:lnTo>
                  <a:lnTo>
                    <a:pt x="0" y="5975"/>
                  </a:lnTo>
                  <a:lnTo>
                    <a:pt x="11949" y="0"/>
                  </a:lnTo>
                  <a:lnTo>
                    <a:pt x="26885" y="8962"/>
                  </a:lnTo>
                  <a:lnTo>
                    <a:pt x="40328" y="16430"/>
                  </a:lnTo>
                  <a:lnTo>
                    <a:pt x="41822" y="17924"/>
                  </a:lnTo>
                  <a:lnTo>
                    <a:pt x="55265" y="25392"/>
                  </a:lnTo>
                  <a:lnTo>
                    <a:pt x="58252" y="25392"/>
                  </a:lnTo>
                  <a:lnTo>
                    <a:pt x="61239" y="28379"/>
                  </a:lnTo>
                  <a:lnTo>
                    <a:pt x="71694" y="34354"/>
                  </a:lnTo>
                  <a:lnTo>
                    <a:pt x="59745" y="40328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8" name="任意多边形: 形状 917"/>
            <p:cNvSpPr/>
            <p:nvPr/>
          </p:nvSpPr>
          <p:spPr>
            <a:xfrm>
              <a:off x="3387952" y="1221767"/>
              <a:ext cx="13633" cy="13633"/>
            </a:xfrm>
            <a:custGeom>
              <a:avLst/>
              <a:gdLst>
                <a:gd name="connsiteX0" fmla="*/ 0 w 14936"/>
                <a:gd name="connsiteY0" fmla="*/ 7468 h 14936"/>
                <a:gd name="connsiteX1" fmla="*/ 11949 w 14936"/>
                <a:gd name="connsiteY1" fmla="*/ 0 h 14936"/>
                <a:gd name="connsiteX2" fmla="*/ 25392 w 14936"/>
                <a:gd name="connsiteY2" fmla="*/ 7468 h 14936"/>
                <a:gd name="connsiteX3" fmla="*/ 14936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4936" y="14936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9" name="任意多边形: 形状 918"/>
            <p:cNvSpPr/>
            <p:nvPr/>
          </p:nvSpPr>
          <p:spPr>
            <a:xfrm>
              <a:off x="3402949" y="1229947"/>
              <a:ext cx="13633" cy="13633"/>
            </a:xfrm>
            <a:custGeom>
              <a:avLst/>
              <a:gdLst>
                <a:gd name="connsiteX0" fmla="*/ 10455 w 14936"/>
                <a:gd name="connsiteY0" fmla="*/ 0 h 14936"/>
                <a:gd name="connsiteX1" fmla="*/ 23898 w 14936"/>
                <a:gd name="connsiteY1" fmla="*/ 7468 h 14936"/>
                <a:gd name="connsiteX2" fmla="*/ 13443 w 14936"/>
                <a:gd name="connsiteY2" fmla="*/ 14936 h 14936"/>
                <a:gd name="connsiteX3" fmla="*/ 0 w 14936"/>
                <a:gd name="connsiteY3" fmla="*/ 7468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0455" y="0"/>
                  </a:moveTo>
                  <a:lnTo>
                    <a:pt x="23898" y="7468"/>
                  </a:lnTo>
                  <a:lnTo>
                    <a:pt x="13443" y="14936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0" name="任意多边形: 形状 919"/>
            <p:cNvSpPr/>
            <p:nvPr/>
          </p:nvSpPr>
          <p:spPr>
            <a:xfrm>
              <a:off x="3267977" y="1172686"/>
              <a:ext cx="149969" cy="81801"/>
            </a:xfrm>
            <a:custGeom>
              <a:avLst/>
              <a:gdLst>
                <a:gd name="connsiteX0" fmla="*/ 122478 w 164299"/>
                <a:gd name="connsiteY0" fmla="*/ 100074 h 89618"/>
                <a:gd name="connsiteX1" fmla="*/ 171768 w 164299"/>
                <a:gd name="connsiteY1" fmla="*/ 70201 h 89618"/>
                <a:gd name="connsiteX2" fmla="*/ 171768 w 164299"/>
                <a:gd name="connsiteY2" fmla="*/ 68707 h 89618"/>
                <a:gd name="connsiteX3" fmla="*/ 50784 w 164299"/>
                <a:gd name="connsiteY3" fmla="*/ 0 h 89618"/>
                <a:gd name="connsiteX4" fmla="*/ 0 w 164299"/>
                <a:gd name="connsiteY4" fmla="*/ 29873 h 89618"/>
                <a:gd name="connsiteX5" fmla="*/ 0 w 164299"/>
                <a:gd name="connsiteY5" fmla="*/ 31366 h 89618"/>
                <a:gd name="connsiteX6" fmla="*/ 106048 w 164299"/>
                <a:gd name="connsiteY6" fmla="*/ 91112 h 8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299" h="89618">
                  <a:moveTo>
                    <a:pt x="122478" y="100074"/>
                  </a:moveTo>
                  <a:lnTo>
                    <a:pt x="171768" y="70201"/>
                  </a:lnTo>
                  <a:lnTo>
                    <a:pt x="171768" y="68707"/>
                  </a:lnTo>
                  <a:lnTo>
                    <a:pt x="50784" y="0"/>
                  </a:lnTo>
                  <a:lnTo>
                    <a:pt x="0" y="29873"/>
                  </a:lnTo>
                  <a:lnTo>
                    <a:pt x="0" y="31366"/>
                  </a:lnTo>
                  <a:lnTo>
                    <a:pt x="106048" y="91112"/>
                  </a:ln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1" name="任意多边形: 形状 920"/>
            <p:cNvSpPr/>
            <p:nvPr/>
          </p:nvSpPr>
          <p:spPr>
            <a:xfrm>
              <a:off x="3267977" y="1193136"/>
              <a:ext cx="13633" cy="13633"/>
            </a:xfrm>
            <a:custGeom>
              <a:avLst/>
              <a:gdLst>
                <a:gd name="connsiteX0" fmla="*/ 11949 w 14936"/>
                <a:gd name="connsiteY0" fmla="*/ 0 h 14936"/>
                <a:gd name="connsiteX1" fmla="*/ 25392 w 14936"/>
                <a:gd name="connsiteY1" fmla="*/ 7468 h 14936"/>
                <a:gd name="connsiteX2" fmla="*/ 13443 w 14936"/>
                <a:gd name="connsiteY2" fmla="*/ 14936 h 14936"/>
                <a:gd name="connsiteX3" fmla="*/ 0 w 14936"/>
                <a:gd name="connsiteY3" fmla="*/ 7468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1949" y="0"/>
                  </a:moveTo>
                  <a:lnTo>
                    <a:pt x="25392" y="7468"/>
                  </a:lnTo>
                  <a:lnTo>
                    <a:pt x="13443" y="14936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2" name="任意多边形: 形状 921"/>
            <p:cNvSpPr/>
            <p:nvPr/>
          </p:nvSpPr>
          <p:spPr>
            <a:xfrm>
              <a:off x="3282975" y="1201316"/>
              <a:ext cx="13633" cy="13633"/>
            </a:xfrm>
            <a:custGeom>
              <a:avLst/>
              <a:gdLst>
                <a:gd name="connsiteX0" fmla="*/ 23898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5975 h 14936"/>
                <a:gd name="connsiteX3" fmla="*/ 10455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3898" y="7468"/>
                  </a:moveTo>
                  <a:lnTo>
                    <a:pt x="13443" y="14936"/>
                  </a:lnTo>
                  <a:lnTo>
                    <a:pt x="0" y="5975"/>
                  </a:lnTo>
                  <a:lnTo>
                    <a:pt x="10455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3" name="任意多边形: 形状 922"/>
            <p:cNvSpPr/>
            <p:nvPr/>
          </p:nvSpPr>
          <p:spPr>
            <a:xfrm>
              <a:off x="3296608" y="1209497"/>
              <a:ext cx="13633" cy="13633"/>
            </a:xfrm>
            <a:custGeom>
              <a:avLst/>
              <a:gdLst>
                <a:gd name="connsiteX0" fmla="*/ 23898 w 14936"/>
                <a:gd name="connsiteY0" fmla="*/ 7468 h 0"/>
                <a:gd name="connsiteX1" fmla="*/ 13443 w 14936"/>
                <a:gd name="connsiteY1" fmla="*/ 13443 h 0"/>
                <a:gd name="connsiteX2" fmla="*/ 13443 w 14936"/>
                <a:gd name="connsiteY2" fmla="*/ 13443 h 0"/>
                <a:gd name="connsiteX3" fmla="*/ 0 w 14936"/>
                <a:gd name="connsiteY3" fmla="*/ 5975 h 0"/>
                <a:gd name="connsiteX4" fmla="*/ 10455 w 14936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>
                  <a:moveTo>
                    <a:pt x="23898" y="7468"/>
                  </a:moveTo>
                  <a:lnTo>
                    <a:pt x="13443" y="13443"/>
                  </a:lnTo>
                  <a:lnTo>
                    <a:pt x="13443" y="13443"/>
                  </a:lnTo>
                  <a:lnTo>
                    <a:pt x="0" y="5975"/>
                  </a:lnTo>
                  <a:lnTo>
                    <a:pt x="10455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4" name="任意多边形: 形状 923"/>
            <p:cNvSpPr/>
            <p:nvPr/>
          </p:nvSpPr>
          <p:spPr>
            <a:xfrm>
              <a:off x="3310242" y="1217677"/>
              <a:ext cx="13633" cy="13633"/>
            </a:xfrm>
            <a:custGeom>
              <a:avLst/>
              <a:gdLst>
                <a:gd name="connsiteX0" fmla="*/ 11949 w 14936"/>
                <a:gd name="connsiteY0" fmla="*/ 0 h 0"/>
                <a:gd name="connsiteX1" fmla="*/ 25392 w 14936"/>
                <a:gd name="connsiteY1" fmla="*/ 7468 h 0"/>
                <a:gd name="connsiteX2" fmla="*/ 13443 w 14936"/>
                <a:gd name="connsiteY2" fmla="*/ 13443 h 0"/>
                <a:gd name="connsiteX3" fmla="*/ 0 w 14936"/>
                <a:gd name="connsiteY3" fmla="*/ 5975 h 0"/>
                <a:gd name="connsiteX4" fmla="*/ 0 w 14936"/>
                <a:gd name="connsiteY4" fmla="*/ 597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>
                  <a:moveTo>
                    <a:pt x="11949" y="0"/>
                  </a:moveTo>
                  <a:lnTo>
                    <a:pt x="25392" y="7468"/>
                  </a:lnTo>
                  <a:lnTo>
                    <a:pt x="13443" y="13443"/>
                  </a:lnTo>
                  <a:lnTo>
                    <a:pt x="0" y="5975"/>
                  </a:lnTo>
                  <a:lnTo>
                    <a:pt x="0" y="5975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5" name="任意多边形: 形状 924"/>
            <p:cNvSpPr/>
            <p:nvPr/>
          </p:nvSpPr>
          <p:spPr>
            <a:xfrm>
              <a:off x="3323876" y="1224493"/>
              <a:ext cx="13633" cy="13633"/>
            </a:xfrm>
            <a:custGeom>
              <a:avLst/>
              <a:gdLst>
                <a:gd name="connsiteX0" fmla="*/ 25392 w 14936"/>
                <a:gd name="connsiteY0" fmla="*/ 8962 h 14936"/>
                <a:gd name="connsiteX1" fmla="*/ 13443 w 14936"/>
                <a:gd name="connsiteY1" fmla="*/ 14936 h 14936"/>
                <a:gd name="connsiteX2" fmla="*/ 1493 w 14936"/>
                <a:gd name="connsiteY2" fmla="*/ 7468 h 14936"/>
                <a:gd name="connsiteX3" fmla="*/ 0 w 14936"/>
                <a:gd name="connsiteY3" fmla="*/ 7468 h 14936"/>
                <a:gd name="connsiteX4" fmla="*/ 11949 w 14936"/>
                <a:gd name="connsiteY4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25392" y="8962"/>
                  </a:moveTo>
                  <a:lnTo>
                    <a:pt x="13443" y="14936"/>
                  </a:lnTo>
                  <a:lnTo>
                    <a:pt x="1493" y="7468"/>
                  </a:lnTo>
                  <a:lnTo>
                    <a:pt x="0" y="7468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6" name="任意多边形: 形状 925"/>
            <p:cNvSpPr/>
            <p:nvPr/>
          </p:nvSpPr>
          <p:spPr>
            <a:xfrm>
              <a:off x="3338872" y="1232674"/>
              <a:ext cx="13633" cy="13633"/>
            </a:xfrm>
            <a:custGeom>
              <a:avLst/>
              <a:gdLst>
                <a:gd name="connsiteX0" fmla="*/ 23898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7468 h 14936"/>
                <a:gd name="connsiteX3" fmla="*/ 10456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3898" y="7468"/>
                  </a:moveTo>
                  <a:lnTo>
                    <a:pt x="13443" y="14936"/>
                  </a:lnTo>
                  <a:lnTo>
                    <a:pt x="0" y="7468"/>
                  </a:lnTo>
                  <a:lnTo>
                    <a:pt x="10456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7" name="任意多边形: 形状 926"/>
            <p:cNvSpPr/>
            <p:nvPr/>
          </p:nvSpPr>
          <p:spPr>
            <a:xfrm>
              <a:off x="3352506" y="1240854"/>
              <a:ext cx="13633" cy="13633"/>
            </a:xfrm>
            <a:custGeom>
              <a:avLst/>
              <a:gdLst>
                <a:gd name="connsiteX0" fmla="*/ 25392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7468 h 14936"/>
                <a:gd name="connsiteX3" fmla="*/ 11949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5392" y="7468"/>
                  </a:moveTo>
                  <a:lnTo>
                    <a:pt x="13443" y="14936"/>
                  </a:lnTo>
                  <a:lnTo>
                    <a:pt x="0" y="7468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8" name="任意多边形: 形状 927"/>
            <p:cNvSpPr/>
            <p:nvPr/>
          </p:nvSpPr>
          <p:spPr>
            <a:xfrm>
              <a:off x="3366139" y="1249034"/>
              <a:ext cx="13633" cy="13633"/>
            </a:xfrm>
            <a:custGeom>
              <a:avLst/>
              <a:gdLst>
                <a:gd name="connsiteX0" fmla="*/ 11949 w 14936"/>
                <a:gd name="connsiteY0" fmla="*/ 0 h 14936"/>
                <a:gd name="connsiteX1" fmla="*/ 25392 w 14936"/>
                <a:gd name="connsiteY1" fmla="*/ 7468 h 14936"/>
                <a:gd name="connsiteX2" fmla="*/ 14936 w 14936"/>
                <a:gd name="connsiteY2" fmla="*/ 14936 h 14936"/>
                <a:gd name="connsiteX3" fmla="*/ 0 w 14936"/>
                <a:gd name="connsiteY3" fmla="*/ 5975 h 14936"/>
                <a:gd name="connsiteX4" fmla="*/ 0 w 14936"/>
                <a:gd name="connsiteY4" fmla="*/ 5975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11949" y="0"/>
                  </a:moveTo>
                  <a:lnTo>
                    <a:pt x="25392" y="7468"/>
                  </a:lnTo>
                  <a:lnTo>
                    <a:pt x="14936" y="14936"/>
                  </a:lnTo>
                  <a:lnTo>
                    <a:pt x="0" y="5975"/>
                  </a:lnTo>
                  <a:lnTo>
                    <a:pt x="0" y="5975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9" name="任意多边形: 形状 928"/>
            <p:cNvSpPr/>
            <p:nvPr/>
          </p:nvSpPr>
          <p:spPr>
            <a:xfrm>
              <a:off x="3280248" y="1186319"/>
              <a:ext cx="13633" cy="13633"/>
            </a:xfrm>
            <a:custGeom>
              <a:avLst/>
              <a:gdLst>
                <a:gd name="connsiteX0" fmla="*/ 13443 w 14936"/>
                <a:gd name="connsiteY0" fmla="*/ 14936 h 14936"/>
                <a:gd name="connsiteX1" fmla="*/ 0 w 14936"/>
                <a:gd name="connsiteY1" fmla="*/ 5975 h 14936"/>
                <a:gd name="connsiteX2" fmla="*/ 10455 w 14936"/>
                <a:gd name="connsiteY2" fmla="*/ 0 h 14936"/>
                <a:gd name="connsiteX3" fmla="*/ 25392 w 14936"/>
                <a:gd name="connsiteY3" fmla="*/ 7468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3443" y="14936"/>
                  </a:moveTo>
                  <a:lnTo>
                    <a:pt x="0" y="5975"/>
                  </a:lnTo>
                  <a:lnTo>
                    <a:pt x="10455" y="0"/>
                  </a:lnTo>
                  <a:lnTo>
                    <a:pt x="25392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0" name="任意多边形: 形状 929"/>
            <p:cNvSpPr/>
            <p:nvPr/>
          </p:nvSpPr>
          <p:spPr>
            <a:xfrm>
              <a:off x="3293882" y="1194500"/>
              <a:ext cx="13633" cy="13633"/>
            </a:xfrm>
            <a:custGeom>
              <a:avLst/>
              <a:gdLst>
                <a:gd name="connsiteX0" fmla="*/ 0 w 14936"/>
                <a:gd name="connsiteY0" fmla="*/ 5975 h 0"/>
                <a:gd name="connsiteX1" fmla="*/ 11949 w 14936"/>
                <a:gd name="connsiteY1" fmla="*/ 0 h 0"/>
                <a:gd name="connsiteX2" fmla="*/ 25392 w 14936"/>
                <a:gd name="connsiteY2" fmla="*/ 7468 h 0"/>
                <a:gd name="connsiteX3" fmla="*/ 13443 w 14936"/>
                <a:gd name="connsiteY3" fmla="*/ 13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0" y="5975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3443" y="13443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1" name="任意多边形: 形状 930"/>
            <p:cNvSpPr/>
            <p:nvPr/>
          </p:nvSpPr>
          <p:spPr>
            <a:xfrm>
              <a:off x="3307515" y="1202680"/>
              <a:ext cx="13633" cy="13633"/>
            </a:xfrm>
            <a:custGeom>
              <a:avLst/>
              <a:gdLst>
                <a:gd name="connsiteX0" fmla="*/ 0 w 14936"/>
                <a:gd name="connsiteY0" fmla="*/ 5975 h 0"/>
                <a:gd name="connsiteX1" fmla="*/ 11949 w 14936"/>
                <a:gd name="connsiteY1" fmla="*/ 0 h 0"/>
                <a:gd name="connsiteX2" fmla="*/ 25392 w 14936"/>
                <a:gd name="connsiteY2" fmla="*/ 7468 h 0"/>
                <a:gd name="connsiteX3" fmla="*/ 14936 w 14936"/>
                <a:gd name="connsiteY3" fmla="*/ 13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0" y="5975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4936" y="13443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2" name="任意多边形: 形状 931"/>
            <p:cNvSpPr/>
            <p:nvPr/>
          </p:nvSpPr>
          <p:spPr>
            <a:xfrm>
              <a:off x="3322512" y="1209497"/>
              <a:ext cx="13633" cy="13633"/>
            </a:xfrm>
            <a:custGeom>
              <a:avLst/>
              <a:gdLst>
                <a:gd name="connsiteX0" fmla="*/ 0 w 14936"/>
                <a:gd name="connsiteY0" fmla="*/ 7468 h 14936"/>
                <a:gd name="connsiteX1" fmla="*/ 10455 w 14936"/>
                <a:gd name="connsiteY1" fmla="*/ 0 h 14936"/>
                <a:gd name="connsiteX2" fmla="*/ 23898 w 14936"/>
                <a:gd name="connsiteY2" fmla="*/ 8962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0455" y="0"/>
                  </a:lnTo>
                  <a:lnTo>
                    <a:pt x="23898" y="8962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3" name="任意多边形: 形状 932"/>
            <p:cNvSpPr/>
            <p:nvPr/>
          </p:nvSpPr>
          <p:spPr>
            <a:xfrm>
              <a:off x="3336145" y="1217677"/>
              <a:ext cx="13633" cy="13633"/>
            </a:xfrm>
            <a:custGeom>
              <a:avLst/>
              <a:gdLst>
                <a:gd name="connsiteX0" fmla="*/ 0 w 14936"/>
                <a:gd name="connsiteY0" fmla="*/ 7468 h 14936"/>
                <a:gd name="connsiteX1" fmla="*/ 11949 w 14936"/>
                <a:gd name="connsiteY1" fmla="*/ 0 h 14936"/>
                <a:gd name="connsiteX2" fmla="*/ 25392 w 14936"/>
                <a:gd name="connsiteY2" fmla="*/ 7468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4" name="任意多边形: 形状 933"/>
            <p:cNvSpPr/>
            <p:nvPr/>
          </p:nvSpPr>
          <p:spPr>
            <a:xfrm>
              <a:off x="3351142" y="1225857"/>
              <a:ext cx="13633" cy="13633"/>
            </a:xfrm>
            <a:custGeom>
              <a:avLst/>
              <a:gdLst>
                <a:gd name="connsiteX0" fmla="*/ 0 w 14936"/>
                <a:gd name="connsiteY0" fmla="*/ 7468 h 14936"/>
                <a:gd name="connsiteX1" fmla="*/ 10455 w 14936"/>
                <a:gd name="connsiteY1" fmla="*/ 0 h 14936"/>
                <a:gd name="connsiteX2" fmla="*/ 23898 w 14936"/>
                <a:gd name="connsiteY2" fmla="*/ 7468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0455" y="0"/>
                  </a:lnTo>
                  <a:lnTo>
                    <a:pt x="23898" y="7468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5" name="任意多边形: 形状 934"/>
            <p:cNvSpPr/>
            <p:nvPr/>
          </p:nvSpPr>
          <p:spPr>
            <a:xfrm>
              <a:off x="3364776" y="1234037"/>
              <a:ext cx="13633" cy="13633"/>
            </a:xfrm>
            <a:custGeom>
              <a:avLst/>
              <a:gdLst>
                <a:gd name="connsiteX0" fmla="*/ 13443 w 14936"/>
                <a:gd name="connsiteY0" fmla="*/ 14936 h 14936"/>
                <a:gd name="connsiteX1" fmla="*/ 0 w 14936"/>
                <a:gd name="connsiteY1" fmla="*/ 5975 h 14936"/>
                <a:gd name="connsiteX2" fmla="*/ 10455 w 14936"/>
                <a:gd name="connsiteY2" fmla="*/ 0 h 14936"/>
                <a:gd name="connsiteX3" fmla="*/ 23898 w 14936"/>
                <a:gd name="connsiteY3" fmla="*/ 7468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3443" y="14936"/>
                  </a:moveTo>
                  <a:lnTo>
                    <a:pt x="0" y="5975"/>
                  </a:lnTo>
                  <a:lnTo>
                    <a:pt x="10455" y="0"/>
                  </a:lnTo>
                  <a:lnTo>
                    <a:pt x="23898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6" name="任意多边形: 形状 935"/>
            <p:cNvSpPr/>
            <p:nvPr/>
          </p:nvSpPr>
          <p:spPr>
            <a:xfrm>
              <a:off x="3292518" y="1179503"/>
              <a:ext cx="13633" cy="13633"/>
            </a:xfrm>
            <a:custGeom>
              <a:avLst/>
              <a:gdLst>
                <a:gd name="connsiteX0" fmla="*/ 13443 w 14936"/>
                <a:gd name="connsiteY0" fmla="*/ 13443 h 0"/>
                <a:gd name="connsiteX1" fmla="*/ 0 w 14936"/>
                <a:gd name="connsiteY1" fmla="*/ 5975 h 0"/>
                <a:gd name="connsiteX2" fmla="*/ 10455 w 14936"/>
                <a:gd name="connsiteY2" fmla="*/ 0 h 0"/>
                <a:gd name="connsiteX3" fmla="*/ 23898 w 14936"/>
                <a:gd name="connsiteY3" fmla="*/ 746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13443" y="13443"/>
                  </a:moveTo>
                  <a:lnTo>
                    <a:pt x="0" y="5975"/>
                  </a:lnTo>
                  <a:lnTo>
                    <a:pt x="10455" y="0"/>
                  </a:lnTo>
                  <a:lnTo>
                    <a:pt x="23898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7" name="任意多边形: 形状 936"/>
            <p:cNvSpPr/>
            <p:nvPr/>
          </p:nvSpPr>
          <p:spPr>
            <a:xfrm>
              <a:off x="3306151" y="1187683"/>
              <a:ext cx="13633" cy="13633"/>
            </a:xfrm>
            <a:custGeom>
              <a:avLst/>
              <a:gdLst>
                <a:gd name="connsiteX0" fmla="*/ 0 w 14936"/>
                <a:gd name="connsiteY0" fmla="*/ 5975 h 0"/>
                <a:gd name="connsiteX1" fmla="*/ 10455 w 14936"/>
                <a:gd name="connsiteY1" fmla="*/ 0 h 0"/>
                <a:gd name="connsiteX2" fmla="*/ 25392 w 14936"/>
                <a:gd name="connsiteY2" fmla="*/ 7468 h 0"/>
                <a:gd name="connsiteX3" fmla="*/ 13443 w 14936"/>
                <a:gd name="connsiteY3" fmla="*/ 13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0" y="5975"/>
                  </a:moveTo>
                  <a:lnTo>
                    <a:pt x="10455" y="0"/>
                  </a:lnTo>
                  <a:lnTo>
                    <a:pt x="25392" y="7468"/>
                  </a:lnTo>
                  <a:lnTo>
                    <a:pt x="13443" y="13443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8" name="任意多边形: 形状 937"/>
            <p:cNvSpPr/>
            <p:nvPr/>
          </p:nvSpPr>
          <p:spPr>
            <a:xfrm>
              <a:off x="3319785" y="1194500"/>
              <a:ext cx="13633" cy="13633"/>
            </a:xfrm>
            <a:custGeom>
              <a:avLst/>
              <a:gdLst>
                <a:gd name="connsiteX0" fmla="*/ 25392 w 14936"/>
                <a:gd name="connsiteY0" fmla="*/ 8962 h 14936"/>
                <a:gd name="connsiteX1" fmla="*/ 13443 w 14936"/>
                <a:gd name="connsiteY1" fmla="*/ 14936 h 14936"/>
                <a:gd name="connsiteX2" fmla="*/ 0 w 14936"/>
                <a:gd name="connsiteY2" fmla="*/ 7468 h 14936"/>
                <a:gd name="connsiteX3" fmla="*/ 11949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5392" y="8962"/>
                  </a:moveTo>
                  <a:lnTo>
                    <a:pt x="13443" y="14936"/>
                  </a:lnTo>
                  <a:lnTo>
                    <a:pt x="0" y="7468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9" name="任意多边形: 形状 938"/>
            <p:cNvSpPr/>
            <p:nvPr/>
          </p:nvSpPr>
          <p:spPr>
            <a:xfrm>
              <a:off x="3334782" y="1202680"/>
              <a:ext cx="13633" cy="13633"/>
            </a:xfrm>
            <a:custGeom>
              <a:avLst/>
              <a:gdLst>
                <a:gd name="connsiteX0" fmla="*/ 23898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7468 h 14936"/>
                <a:gd name="connsiteX3" fmla="*/ 10455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3898" y="7468"/>
                  </a:moveTo>
                  <a:lnTo>
                    <a:pt x="13443" y="14936"/>
                  </a:lnTo>
                  <a:lnTo>
                    <a:pt x="0" y="7468"/>
                  </a:lnTo>
                  <a:lnTo>
                    <a:pt x="10455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0" name="任意多边形: 形状 939"/>
            <p:cNvSpPr/>
            <p:nvPr/>
          </p:nvSpPr>
          <p:spPr>
            <a:xfrm>
              <a:off x="3348416" y="1210860"/>
              <a:ext cx="13633" cy="13633"/>
            </a:xfrm>
            <a:custGeom>
              <a:avLst/>
              <a:gdLst>
                <a:gd name="connsiteX0" fmla="*/ 25392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7468 h 14936"/>
                <a:gd name="connsiteX3" fmla="*/ 10455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5392" y="7468"/>
                  </a:moveTo>
                  <a:lnTo>
                    <a:pt x="13443" y="14936"/>
                  </a:lnTo>
                  <a:lnTo>
                    <a:pt x="0" y="7468"/>
                  </a:lnTo>
                  <a:lnTo>
                    <a:pt x="10455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1" name="任意多边形: 形状 940"/>
            <p:cNvSpPr/>
            <p:nvPr/>
          </p:nvSpPr>
          <p:spPr>
            <a:xfrm>
              <a:off x="3362049" y="1219041"/>
              <a:ext cx="13633" cy="13633"/>
            </a:xfrm>
            <a:custGeom>
              <a:avLst/>
              <a:gdLst>
                <a:gd name="connsiteX0" fmla="*/ 25392 w 14936"/>
                <a:gd name="connsiteY0" fmla="*/ 7468 h 14936"/>
                <a:gd name="connsiteX1" fmla="*/ 13443 w 14936"/>
                <a:gd name="connsiteY1" fmla="*/ 14936 h 14936"/>
                <a:gd name="connsiteX2" fmla="*/ 0 w 14936"/>
                <a:gd name="connsiteY2" fmla="*/ 5975 h 14936"/>
                <a:gd name="connsiteX3" fmla="*/ 11949 w 14936"/>
                <a:gd name="connsiteY3" fmla="*/ 0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25392" y="7468"/>
                  </a:moveTo>
                  <a:lnTo>
                    <a:pt x="13443" y="14936"/>
                  </a:lnTo>
                  <a:lnTo>
                    <a:pt x="0" y="5975"/>
                  </a:lnTo>
                  <a:lnTo>
                    <a:pt x="11949" y="0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2" name="任意多边形: 形状 941"/>
            <p:cNvSpPr/>
            <p:nvPr/>
          </p:nvSpPr>
          <p:spPr>
            <a:xfrm>
              <a:off x="3377046" y="1227220"/>
              <a:ext cx="27267" cy="27267"/>
            </a:xfrm>
            <a:custGeom>
              <a:avLst/>
              <a:gdLst>
                <a:gd name="connsiteX0" fmla="*/ 14936 w 29872"/>
                <a:gd name="connsiteY0" fmla="*/ 14936 h 29872"/>
                <a:gd name="connsiteX1" fmla="*/ 0 w 29872"/>
                <a:gd name="connsiteY1" fmla="*/ 5975 h 29872"/>
                <a:gd name="connsiteX2" fmla="*/ 10455 w 29872"/>
                <a:gd name="connsiteY2" fmla="*/ 0 h 29872"/>
                <a:gd name="connsiteX3" fmla="*/ 26885 w 29872"/>
                <a:gd name="connsiteY3" fmla="*/ 8962 h 29872"/>
                <a:gd name="connsiteX4" fmla="*/ 29873 w 29872"/>
                <a:gd name="connsiteY4" fmla="*/ 10455 h 29872"/>
                <a:gd name="connsiteX5" fmla="*/ 40328 w 29872"/>
                <a:gd name="connsiteY5" fmla="*/ 16430 h 29872"/>
                <a:gd name="connsiteX6" fmla="*/ 38835 w 29872"/>
                <a:gd name="connsiteY6" fmla="*/ 16430 h 29872"/>
                <a:gd name="connsiteX7" fmla="*/ 31366 w 29872"/>
                <a:gd name="connsiteY7" fmla="*/ 20911 h 29872"/>
                <a:gd name="connsiteX8" fmla="*/ 28379 w 29872"/>
                <a:gd name="connsiteY8" fmla="*/ 22405 h 29872"/>
                <a:gd name="connsiteX9" fmla="*/ 14936 w 29872"/>
                <a:gd name="connsiteY9" fmla="*/ 29873 h 29872"/>
                <a:gd name="connsiteX10" fmla="*/ 1494 w 29872"/>
                <a:gd name="connsiteY10" fmla="*/ 22405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872" h="29872">
                  <a:moveTo>
                    <a:pt x="14936" y="14936"/>
                  </a:moveTo>
                  <a:lnTo>
                    <a:pt x="0" y="5975"/>
                  </a:lnTo>
                  <a:lnTo>
                    <a:pt x="10455" y="0"/>
                  </a:lnTo>
                  <a:lnTo>
                    <a:pt x="26885" y="8962"/>
                  </a:lnTo>
                  <a:lnTo>
                    <a:pt x="29873" y="10455"/>
                  </a:lnTo>
                  <a:lnTo>
                    <a:pt x="40328" y="16430"/>
                  </a:lnTo>
                  <a:lnTo>
                    <a:pt x="38835" y="16430"/>
                  </a:lnTo>
                  <a:lnTo>
                    <a:pt x="31366" y="20911"/>
                  </a:lnTo>
                  <a:lnTo>
                    <a:pt x="28379" y="22405"/>
                  </a:lnTo>
                  <a:lnTo>
                    <a:pt x="14936" y="29873"/>
                  </a:lnTo>
                  <a:lnTo>
                    <a:pt x="1494" y="22405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3" name="任意多边形: 形状 942"/>
            <p:cNvSpPr/>
            <p:nvPr/>
          </p:nvSpPr>
          <p:spPr>
            <a:xfrm>
              <a:off x="3303425" y="1172686"/>
              <a:ext cx="13633" cy="13633"/>
            </a:xfrm>
            <a:custGeom>
              <a:avLst/>
              <a:gdLst>
                <a:gd name="connsiteX0" fmla="*/ 0 w 14936"/>
                <a:gd name="connsiteY0" fmla="*/ 5975 h 0"/>
                <a:gd name="connsiteX1" fmla="*/ 11949 w 14936"/>
                <a:gd name="connsiteY1" fmla="*/ 0 h 0"/>
                <a:gd name="connsiteX2" fmla="*/ 25392 w 14936"/>
                <a:gd name="connsiteY2" fmla="*/ 7468 h 0"/>
                <a:gd name="connsiteX3" fmla="*/ 13443 w 14936"/>
                <a:gd name="connsiteY3" fmla="*/ 13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0" y="5975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3443" y="13443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4" name="任意多边形: 形状 943"/>
            <p:cNvSpPr/>
            <p:nvPr/>
          </p:nvSpPr>
          <p:spPr>
            <a:xfrm>
              <a:off x="3318422" y="1179503"/>
              <a:ext cx="13633" cy="13633"/>
            </a:xfrm>
            <a:custGeom>
              <a:avLst/>
              <a:gdLst>
                <a:gd name="connsiteX0" fmla="*/ 0 w 14936"/>
                <a:gd name="connsiteY0" fmla="*/ 7468 h 14936"/>
                <a:gd name="connsiteX1" fmla="*/ 10456 w 14936"/>
                <a:gd name="connsiteY1" fmla="*/ 0 h 14936"/>
                <a:gd name="connsiteX2" fmla="*/ 23898 w 14936"/>
                <a:gd name="connsiteY2" fmla="*/ 8962 h 14936"/>
                <a:gd name="connsiteX3" fmla="*/ 13443 w 14936"/>
                <a:gd name="connsiteY3" fmla="*/ 1493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0" y="7468"/>
                  </a:moveTo>
                  <a:lnTo>
                    <a:pt x="10456" y="0"/>
                  </a:lnTo>
                  <a:lnTo>
                    <a:pt x="23898" y="8962"/>
                  </a:lnTo>
                  <a:lnTo>
                    <a:pt x="13443" y="14936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5" name="任意多边形: 形状 944"/>
            <p:cNvSpPr/>
            <p:nvPr/>
          </p:nvSpPr>
          <p:spPr>
            <a:xfrm>
              <a:off x="3332055" y="1187683"/>
              <a:ext cx="54534" cy="27267"/>
            </a:xfrm>
            <a:custGeom>
              <a:avLst/>
              <a:gdLst>
                <a:gd name="connsiteX0" fmla="*/ 50784 w 59745"/>
                <a:gd name="connsiteY0" fmla="*/ 35847 h 29872"/>
                <a:gd name="connsiteX1" fmla="*/ 46303 w 59745"/>
                <a:gd name="connsiteY1" fmla="*/ 32860 h 29872"/>
                <a:gd name="connsiteX2" fmla="*/ 44809 w 59745"/>
                <a:gd name="connsiteY2" fmla="*/ 31366 h 29872"/>
                <a:gd name="connsiteX3" fmla="*/ 31366 w 59745"/>
                <a:gd name="connsiteY3" fmla="*/ 23898 h 29872"/>
                <a:gd name="connsiteX4" fmla="*/ 28379 w 59745"/>
                <a:gd name="connsiteY4" fmla="*/ 23898 h 29872"/>
                <a:gd name="connsiteX5" fmla="*/ 14936 w 59745"/>
                <a:gd name="connsiteY5" fmla="*/ 16430 h 29872"/>
                <a:gd name="connsiteX6" fmla="*/ 0 w 59745"/>
                <a:gd name="connsiteY6" fmla="*/ 7468 h 29872"/>
                <a:gd name="connsiteX7" fmla="*/ 11949 w 59745"/>
                <a:gd name="connsiteY7" fmla="*/ 0 h 29872"/>
                <a:gd name="connsiteX8" fmla="*/ 26885 w 59745"/>
                <a:gd name="connsiteY8" fmla="*/ 8962 h 29872"/>
                <a:gd name="connsiteX9" fmla="*/ 40328 w 59745"/>
                <a:gd name="connsiteY9" fmla="*/ 16430 h 29872"/>
                <a:gd name="connsiteX10" fmla="*/ 41822 w 59745"/>
                <a:gd name="connsiteY10" fmla="*/ 17924 h 29872"/>
                <a:gd name="connsiteX11" fmla="*/ 55265 w 59745"/>
                <a:gd name="connsiteY11" fmla="*/ 25392 h 29872"/>
                <a:gd name="connsiteX12" fmla="*/ 58252 w 59745"/>
                <a:gd name="connsiteY12" fmla="*/ 26885 h 29872"/>
                <a:gd name="connsiteX13" fmla="*/ 61239 w 59745"/>
                <a:gd name="connsiteY13" fmla="*/ 28379 h 29872"/>
                <a:gd name="connsiteX14" fmla="*/ 71694 w 59745"/>
                <a:gd name="connsiteY14" fmla="*/ 34354 h 29872"/>
                <a:gd name="connsiteX15" fmla="*/ 59745 w 59745"/>
                <a:gd name="connsiteY15" fmla="*/ 40328 h 2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745" h="29872">
                  <a:moveTo>
                    <a:pt x="50784" y="35847"/>
                  </a:moveTo>
                  <a:lnTo>
                    <a:pt x="46303" y="32860"/>
                  </a:lnTo>
                  <a:lnTo>
                    <a:pt x="44809" y="31366"/>
                  </a:lnTo>
                  <a:lnTo>
                    <a:pt x="31366" y="23898"/>
                  </a:lnTo>
                  <a:lnTo>
                    <a:pt x="28379" y="23898"/>
                  </a:lnTo>
                  <a:lnTo>
                    <a:pt x="14936" y="16430"/>
                  </a:lnTo>
                  <a:lnTo>
                    <a:pt x="0" y="7468"/>
                  </a:lnTo>
                  <a:lnTo>
                    <a:pt x="11949" y="0"/>
                  </a:lnTo>
                  <a:lnTo>
                    <a:pt x="26885" y="8962"/>
                  </a:lnTo>
                  <a:lnTo>
                    <a:pt x="40328" y="16430"/>
                  </a:lnTo>
                  <a:lnTo>
                    <a:pt x="41822" y="17924"/>
                  </a:lnTo>
                  <a:lnTo>
                    <a:pt x="55265" y="25392"/>
                  </a:lnTo>
                  <a:lnTo>
                    <a:pt x="58252" y="26885"/>
                  </a:lnTo>
                  <a:lnTo>
                    <a:pt x="61239" y="28379"/>
                  </a:lnTo>
                  <a:lnTo>
                    <a:pt x="71694" y="34354"/>
                  </a:lnTo>
                  <a:lnTo>
                    <a:pt x="59745" y="4032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6" name="任意多边形: 形状 945"/>
            <p:cNvSpPr/>
            <p:nvPr/>
          </p:nvSpPr>
          <p:spPr>
            <a:xfrm>
              <a:off x="3387952" y="1220403"/>
              <a:ext cx="13633" cy="13633"/>
            </a:xfrm>
            <a:custGeom>
              <a:avLst/>
              <a:gdLst>
                <a:gd name="connsiteX0" fmla="*/ 0 w 14936"/>
                <a:gd name="connsiteY0" fmla="*/ 5975 h 0"/>
                <a:gd name="connsiteX1" fmla="*/ 11949 w 14936"/>
                <a:gd name="connsiteY1" fmla="*/ 0 h 0"/>
                <a:gd name="connsiteX2" fmla="*/ 25392 w 14936"/>
                <a:gd name="connsiteY2" fmla="*/ 7468 h 0"/>
                <a:gd name="connsiteX3" fmla="*/ 14936 w 14936"/>
                <a:gd name="connsiteY3" fmla="*/ 13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>
                  <a:moveTo>
                    <a:pt x="0" y="5975"/>
                  </a:moveTo>
                  <a:lnTo>
                    <a:pt x="11949" y="0"/>
                  </a:lnTo>
                  <a:lnTo>
                    <a:pt x="25392" y="7468"/>
                  </a:lnTo>
                  <a:lnTo>
                    <a:pt x="14936" y="13443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7" name="任意多边形: 形状 946"/>
            <p:cNvSpPr/>
            <p:nvPr/>
          </p:nvSpPr>
          <p:spPr>
            <a:xfrm>
              <a:off x="3402949" y="1227220"/>
              <a:ext cx="13633" cy="13633"/>
            </a:xfrm>
            <a:custGeom>
              <a:avLst/>
              <a:gdLst>
                <a:gd name="connsiteX0" fmla="*/ 10455 w 14936"/>
                <a:gd name="connsiteY0" fmla="*/ 0 h 14936"/>
                <a:gd name="connsiteX1" fmla="*/ 23898 w 14936"/>
                <a:gd name="connsiteY1" fmla="*/ 8962 h 14936"/>
                <a:gd name="connsiteX2" fmla="*/ 13443 w 14936"/>
                <a:gd name="connsiteY2" fmla="*/ 14936 h 14936"/>
                <a:gd name="connsiteX3" fmla="*/ 0 w 14936"/>
                <a:gd name="connsiteY3" fmla="*/ 7468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36" h="14936">
                  <a:moveTo>
                    <a:pt x="10455" y="0"/>
                  </a:moveTo>
                  <a:lnTo>
                    <a:pt x="23898" y="8962"/>
                  </a:lnTo>
                  <a:lnTo>
                    <a:pt x="13443" y="14936"/>
                  </a:lnTo>
                  <a:lnTo>
                    <a:pt x="0" y="7468"/>
                  </a:lnTo>
                  <a:close/>
                </a:path>
              </a:pathLst>
            </a:custGeom>
            <a:solidFill>
              <a:srgbClr val="C6C6C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8" name="任意多边形: 形状 947"/>
            <p:cNvSpPr/>
            <p:nvPr/>
          </p:nvSpPr>
          <p:spPr>
            <a:xfrm>
              <a:off x="3247528" y="1101792"/>
              <a:ext cx="136334" cy="177235"/>
            </a:xfrm>
            <a:custGeom>
              <a:avLst/>
              <a:gdLst>
                <a:gd name="connsiteX0" fmla="*/ 149363 w 149363"/>
                <a:gd name="connsiteY0" fmla="*/ 191185 h 194172"/>
                <a:gd name="connsiteX1" fmla="*/ 147870 w 149363"/>
                <a:gd name="connsiteY1" fmla="*/ 91112 h 194172"/>
                <a:gd name="connsiteX2" fmla="*/ 147870 w 149363"/>
                <a:gd name="connsiteY2" fmla="*/ 88124 h 194172"/>
                <a:gd name="connsiteX3" fmla="*/ 144882 w 149363"/>
                <a:gd name="connsiteY3" fmla="*/ 83643 h 194172"/>
                <a:gd name="connsiteX4" fmla="*/ 143389 w 149363"/>
                <a:gd name="connsiteY4" fmla="*/ 82150 h 194172"/>
                <a:gd name="connsiteX5" fmla="*/ 4481 w 149363"/>
                <a:gd name="connsiteY5" fmla="*/ 4481 h 194172"/>
                <a:gd name="connsiteX6" fmla="*/ 1494 w 149363"/>
                <a:gd name="connsiteY6" fmla="*/ 4481 h 194172"/>
                <a:gd name="connsiteX7" fmla="*/ 0 w 149363"/>
                <a:gd name="connsiteY7" fmla="*/ 4481 h 194172"/>
                <a:gd name="connsiteX8" fmla="*/ 5975 w 149363"/>
                <a:gd name="connsiteY8" fmla="*/ 0 h 194172"/>
                <a:gd name="connsiteX9" fmla="*/ 5975 w 149363"/>
                <a:gd name="connsiteY9" fmla="*/ 0 h 194172"/>
                <a:gd name="connsiteX10" fmla="*/ 10455 w 149363"/>
                <a:gd name="connsiteY10" fmla="*/ 0 h 194172"/>
                <a:gd name="connsiteX11" fmla="*/ 149363 w 149363"/>
                <a:gd name="connsiteY11" fmla="*/ 77669 h 194172"/>
                <a:gd name="connsiteX12" fmla="*/ 155338 w 149363"/>
                <a:gd name="connsiteY12" fmla="*/ 86631 h 194172"/>
                <a:gd name="connsiteX13" fmla="*/ 155338 w 149363"/>
                <a:gd name="connsiteY13" fmla="*/ 88124 h 194172"/>
                <a:gd name="connsiteX14" fmla="*/ 156832 w 149363"/>
                <a:gd name="connsiteY14" fmla="*/ 174755 h 194172"/>
                <a:gd name="connsiteX15" fmla="*/ 156832 w 149363"/>
                <a:gd name="connsiteY15" fmla="*/ 174755 h 194172"/>
                <a:gd name="connsiteX16" fmla="*/ 156832 w 149363"/>
                <a:gd name="connsiteY16" fmla="*/ 174755 h 194172"/>
                <a:gd name="connsiteX17" fmla="*/ 156832 w 149363"/>
                <a:gd name="connsiteY17" fmla="*/ 189692 h 194172"/>
                <a:gd name="connsiteX18" fmla="*/ 155338 w 149363"/>
                <a:gd name="connsiteY18" fmla="*/ 192679 h 194172"/>
                <a:gd name="connsiteX19" fmla="*/ 155338 w 149363"/>
                <a:gd name="connsiteY19" fmla="*/ 192679 h 194172"/>
                <a:gd name="connsiteX20" fmla="*/ 149363 w 149363"/>
                <a:gd name="connsiteY20" fmla="*/ 197160 h 194172"/>
                <a:gd name="connsiteX21" fmla="*/ 149363 w 149363"/>
                <a:gd name="connsiteY21" fmla="*/ 197160 h 194172"/>
                <a:gd name="connsiteX22" fmla="*/ 149363 w 149363"/>
                <a:gd name="connsiteY22" fmla="*/ 191185 h 194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9363" h="194172">
                  <a:moveTo>
                    <a:pt x="149363" y="191185"/>
                  </a:moveTo>
                  <a:lnTo>
                    <a:pt x="147870" y="91112"/>
                  </a:lnTo>
                  <a:cubicBezTo>
                    <a:pt x="147870" y="89618"/>
                    <a:pt x="147870" y="89618"/>
                    <a:pt x="147870" y="88124"/>
                  </a:cubicBezTo>
                  <a:cubicBezTo>
                    <a:pt x="147870" y="86631"/>
                    <a:pt x="146376" y="85137"/>
                    <a:pt x="144882" y="83643"/>
                  </a:cubicBezTo>
                  <a:cubicBezTo>
                    <a:pt x="144882" y="83643"/>
                    <a:pt x="143389" y="82150"/>
                    <a:pt x="143389" y="82150"/>
                  </a:cubicBezTo>
                  <a:lnTo>
                    <a:pt x="4481" y="4481"/>
                  </a:lnTo>
                  <a:cubicBezTo>
                    <a:pt x="2987" y="4481"/>
                    <a:pt x="2987" y="2987"/>
                    <a:pt x="1494" y="4481"/>
                  </a:cubicBezTo>
                  <a:cubicBezTo>
                    <a:pt x="1494" y="4481"/>
                    <a:pt x="1494" y="4481"/>
                    <a:pt x="0" y="4481"/>
                  </a:cubicBezTo>
                  <a:lnTo>
                    <a:pt x="5975" y="0"/>
                  </a:lnTo>
                  <a:lnTo>
                    <a:pt x="5975" y="0"/>
                  </a:lnTo>
                  <a:cubicBezTo>
                    <a:pt x="7468" y="0"/>
                    <a:pt x="8962" y="0"/>
                    <a:pt x="10455" y="0"/>
                  </a:cubicBezTo>
                  <a:lnTo>
                    <a:pt x="149363" y="77669"/>
                  </a:lnTo>
                  <a:cubicBezTo>
                    <a:pt x="152351" y="79163"/>
                    <a:pt x="153844" y="82150"/>
                    <a:pt x="155338" y="86631"/>
                  </a:cubicBezTo>
                  <a:cubicBezTo>
                    <a:pt x="155338" y="86631"/>
                    <a:pt x="155338" y="88124"/>
                    <a:pt x="155338" y="88124"/>
                  </a:cubicBezTo>
                  <a:lnTo>
                    <a:pt x="156832" y="174755"/>
                  </a:lnTo>
                  <a:lnTo>
                    <a:pt x="156832" y="174755"/>
                  </a:lnTo>
                  <a:lnTo>
                    <a:pt x="156832" y="174755"/>
                  </a:lnTo>
                  <a:lnTo>
                    <a:pt x="156832" y="189692"/>
                  </a:lnTo>
                  <a:cubicBezTo>
                    <a:pt x="156832" y="191185"/>
                    <a:pt x="156832" y="192679"/>
                    <a:pt x="155338" y="192679"/>
                  </a:cubicBezTo>
                  <a:cubicBezTo>
                    <a:pt x="155338" y="192679"/>
                    <a:pt x="155338" y="192679"/>
                    <a:pt x="155338" y="192679"/>
                  </a:cubicBezTo>
                  <a:lnTo>
                    <a:pt x="149363" y="197160"/>
                  </a:lnTo>
                  <a:lnTo>
                    <a:pt x="149363" y="197160"/>
                  </a:lnTo>
                  <a:cubicBezTo>
                    <a:pt x="147870" y="194172"/>
                    <a:pt x="149363" y="192679"/>
                    <a:pt x="149363" y="191185"/>
                  </a:cubicBezTo>
                  <a:close/>
                </a:path>
              </a:pathLst>
            </a:custGeom>
            <a:solidFill>
              <a:srgbClr val="575756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9" name="任意多边形: 形状 948"/>
            <p:cNvSpPr/>
            <p:nvPr/>
          </p:nvSpPr>
          <p:spPr>
            <a:xfrm>
              <a:off x="3246164" y="1104519"/>
              <a:ext cx="136334" cy="163602"/>
            </a:xfrm>
            <a:custGeom>
              <a:avLst/>
              <a:gdLst>
                <a:gd name="connsiteX0" fmla="*/ 0 w 149363"/>
                <a:gd name="connsiteY0" fmla="*/ 2987 h 179236"/>
                <a:gd name="connsiteX1" fmla="*/ 0 w 149363"/>
                <a:gd name="connsiteY1" fmla="*/ 2987 h 179236"/>
                <a:gd name="connsiteX2" fmla="*/ 1493 w 149363"/>
                <a:gd name="connsiteY2" fmla="*/ 0 h 179236"/>
                <a:gd name="connsiteX3" fmla="*/ 1493 w 149363"/>
                <a:gd name="connsiteY3" fmla="*/ 0 h 179236"/>
                <a:gd name="connsiteX4" fmla="*/ 1493 w 149363"/>
                <a:gd name="connsiteY4" fmla="*/ 0 h 179236"/>
                <a:gd name="connsiteX5" fmla="*/ 2987 w 149363"/>
                <a:gd name="connsiteY5" fmla="*/ 0 h 179236"/>
                <a:gd name="connsiteX6" fmla="*/ 5974 w 149363"/>
                <a:gd name="connsiteY6" fmla="*/ 0 h 179236"/>
                <a:gd name="connsiteX7" fmla="*/ 144882 w 149363"/>
                <a:gd name="connsiteY7" fmla="*/ 77669 h 179236"/>
                <a:gd name="connsiteX8" fmla="*/ 146376 w 149363"/>
                <a:gd name="connsiteY8" fmla="*/ 79163 h 179236"/>
                <a:gd name="connsiteX9" fmla="*/ 149363 w 149363"/>
                <a:gd name="connsiteY9" fmla="*/ 83644 h 179236"/>
                <a:gd name="connsiteX10" fmla="*/ 149363 w 149363"/>
                <a:gd name="connsiteY10" fmla="*/ 86631 h 179236"/>
                <a:gd name="connsiteX11" fmla="*/ 150857 w 149363"/>
                <a:gd name="connsiteY11" fmla="*/ 186704 h 179236"/>
                <a:gd name="connsiteX12" fmla="*/ 149363 w 149363"/>
                <a:gd name="connsiteY12" fmla="*/ 189692 h 179236"/>
                <a:gd name="connsiteX13" fmla="*/ 144882 w 149363"/>
                <a:gd name="connsiteY13" fmla="*/ 189692 h 179236"/>
                <a:gd name="connsiteX14" fmla="*/ 143389 w 149363"/>
                <a:gd name="connsiteY14" fmla="*/ 189692 h 179236"/>
                <a:gd name="connsiteX15" fmla="*/ 120984 w 149363"/>
                <a:gd name="connsiteY15" fmla="*/ 176249 h 179236"/>
                <a:gd name="connsiteX16" fmla="*/ 107542 w 149363"/>
                <a:gd name="connsiteY16" fmla="*/ 168781 h 179236"/>
                <a:gd name="connsiteX17" fmla="*/ 37341 w 149363"/>
                <a:gd name="connsiteY17" fmla="*/ 128453 h 179236"/>
                <a:gd name="connsiteX18" fmla="*/ 23898 w 149363"/>
                <a:gd name="connsiteY18" fmla="*/ 120984 h 179236"/>
                <a:gd name="connsiteX19" fmla="*/ 8962 w 149363"/>
                <a:gd name="connsiteY19" fmla="*/ 112023 h 179236"/>
                <a:gd name="connsiteX20" fmla="*/ 7468 w 149363"/>
                <a:gd name="connsiteY20" fmla="*/ 110529 h 179236"/>
                <a:gd name="connsiteX21" fmla="*/ 5974 w 149363"/>
                <a:gd name="connsiteY21" fmla="*/ 109035 h 179236"/>
                <a:gd name="connsiteX22" fmla="*/ 4481 w 149363"/>
                <a:gd name="connsiteY22" fmla="*/ 106048 h 179236"/>
                <a:gd name="connsiteX23" fmla="*/ 2987 w 149363"/>
                <a:gd name="connsiteY23" fmla="*/ 103061 h 179236"/>
                <a:gd name="connsiteX24" fmla="*/ 2987 w 149363"/>
                <a:gd name="connsiteY24" fmla="*/ 101567 h 179236"/>
                <a:gd name="connsiteX25" fmla="*/ 0 w 149363"/>
                <a:gd name="connsiteY25" fmla="*/ 2987 h 17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9363" h="179236">
                  <a:moveTo>
                    <a:pt x="0" y="2987"/>
                  </a:moveTo>
                  <a:cubicBezTo>
                    <a:pt x="0" y="2987"/>
                    <a:pt x="0" y="1494"/>
                    <a:pt x="0" y="2987"/>
                  </a:cubicBezTo>
                  <a:cubicBezTo>
                    <a:pt x="0" y="0"/>
                    <a:pt x="1493" y="0"/>
                    <a:pt x="1493" y="0"/>
                  </a:cubicBezTo>
                  <a:cubicBezTo>
                    <a:pt x="1493" y="0"/>
                    <a:pt x="1493" y="0"/>
                    <a:pt x="1493" y="0"/>
                  </a:cubicBezTo>
                  <a:cubicBezTo>
                    <a:pt x="1493" y="0"/>
                    <a:pt x="1493" y="0"/>
                    <a:pt x="1493" y="0"/>
                  </a:cubicBezTo>
                  <a:cubicBezTo>
                    <a:pt x="1493" y="0"/>
                    <a:pt x="1493" y="0"/>
                    <a:pt x="2987" y="0"/>
                  </a:cubicBezTo>
                  <a:cubicBezTo>
                    <a:pt x="4481" y="0"/>
                    <a:pt x="4481" y="0"/>
                    <a:pt x="5974" y="0"/>
                  </a:cubicBezTo>
                  <a:lnTo>
                    <a:pt x="144882" y="77669"/>
                  </a:lnTo>
                  <a:cubicBezTo>
                    <a:pt x="146376" y="77669"/>
                    <a:pt x="146376" y="79163"/>
                    <a:pt x="146376" y="79163"/>
                  </a:cubicBezTo>
                  <a:cubicBezTo>
                    <a:pt x="147870" y="80656"/>
                    <a:pt x="149363" y="82150"/>
                    <a:pt x="149363" y="83644"/>
                  </a:cubicBezTo>
                  <a:cubicBezTo>
                    <a:pt x="149363" y="85137"/>
                    <a:pt x="149363" y="85137"/>
                    <a:pt x="149363" y="86631"/>
                  </a:cubicBezTo>
                  <a:lnTo>
                    <a:pt x="150857" y="186704"/>
                  </a:lnTo>
                  <a:cubicBezTo>
                    <a:pt x="150857" y="188198"/>
                    <a:pt x="150857" y="189692"/>
                    <a:pt x="149363" y="189692"/>
                  </a:cubicBezTo>
                  <a:cubicBezTo>
                    <a:pt x="147870" y="189692"/>
                    <a:pt x="146376" y="189692"/>
                    <a:pt x="144882" y="189692"/>
                  </a:cubicBezTo>
                  <a:lnTo>
                    <a:pt x="143389" y="189692"/>
                  </a:lnTo>
                  <a:lnTo>
                    <a:pt x="120984" y="176249"/>
                  </a:lnTo>
                  <a:lnTo>
                    <a:pt x="107542" y="168781"/>
                  </a:lnTo>
                  <a:lnTo>
                    <a:pt x="37341" y="128453"/>
                  </a:lnTo>
                  <a:lnTo>
                    <a:pt x="23898" y="120984"/>
                  </a:lnTo>
                  <a:lnTo>
                    <a:pt x="8962" y="112023"/>
                  </a:lnTo>
                  <a:cubicBezTo>
                    <a:pt x="8962" y="112023"/>
                    <a:pt x="7468" y="112023"/>
                    <a:pt x="7468" y="110529"/>
                  </a:cubicBezTo>
                  <a:cubicBezTo>
                    <a:pt x="7468" y="110529"/>
                    <a:pt x="5974" y="109035"/>
                    <a:pt x="5974" y="109035"/>
                  </a:cubicBezTo>
                  <a:cubicBezTo>
                    <a:pt x="5974" y="107542"/>
                    <a:pt x="4481" y="107542"/>
                    <a:pt x="4481" y="106048"/>
                  </a:cubicBezTo>
                  <a:cubicBezTo>
                    <a:pt x="4481" y="104554"/>
                    <a:pt x="4481" y="104554"/>
                    <a:pt x="2987" y="103061"/>
                  </a:cubicBezTo>
                  <a:cubicBezTo>
                    <a:pt x="2987" y="103061"/>
                    <a:pt x="2987" y="101567"/>
                    <a:pt x="2987" y="101567"/>
                  </a:cubicBezTo>
                  <a:lnTo>
                    <a:pt x="0" y="2987"/>
                  </a:lnTo>
                  <a:close/>
                </a:path>
              </a:pathLst>
            </a:custGeom>
            <a:solidFill>
              <a:srgbClr val="DADADA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0" name="任意多边形: 形状 949"/>
            <p:cNvSpPr/>
            <p:nvPr/>
          </p:nvSpPr>
          <p:spPr>
            <a:xfrm>
              <a:off x="3297759" y="1179797"/>
              <a:ext cx="13633" cy="13633"/>
            </a:xfrm>
            <a:custGeom>
              <a:avLst/>
              <a:gdLst>
                <a:gd name="connsiteX0" fmla="*/ 232 w 14936"/>
                <a:gd name="connsiteY0" fmla="*/ 7146 h 14936"/>
                <a:gd name="connsiteX1" fmla="*/ 10688 w 14936"/>
                <a:gd name="connsiteY1" fmla="*/ 25070 h 14936"/>
                <a:gd name="connsiteX2" fmla="*/ 21143 w 14936"/>
                <a:gd name="connsiteY2" fmla="*/ 19096 h 14936"/>
                <a:gd name="connsiteX3" fmla="*/ 10688 w 14936"/>
                <a:gd name="connsiteY3" fmla="*/ 1172 h 14936"/>
                <a:gd name="connsiteX4" fmla="*/ 232 w 14936"/>
                <a:gd name="connsiteY4" fmla="*/ 7146 h 14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36" h="14936">
                  <a:moveTo>
                    <a:pt x="232" y="7146"/>
                  </a:moveTo>
                  <a:cubicBezTo>
                    <a:pt x="232" y="13121"/>
                    <a:pt x="4713" y="22083"/>
                    <a:pt x="10688" y="25070"/>
                  </a:cubicBezTo>
                  <a:cubicBezTo>
                    <a:pt x="16662" y="28057"/>
                    <a:pt x="21143" y="25070"/>
                    <a:pt x="21143" y="19096"/>
                  </a:cubicBezTo>
                  <a:cubicBezTo>
                    <a:pt x="21143" y="13121"/>
                    <a:pt x="16662" y="4159"/>
                    <a:pt x="10688" y="1172"/>
                  </a:cubicBezTo>
                  <a:cubicBezTo>
                    <a:pt x="4713" y="-1815"/>
                    <a:pt x="-1261" y="1172"/>
                    <a:pt x="232" y="7146"/>
                  </a:cubicBezTo>
                  <a:close/>
                </a:path>
              </a:pathLst>
            </a:custGeom>
            <a:solidFill>
              <a:srgbClr val="FFFFFF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1" name="任意多边形: 形状 950"/>
            <p:cNvSpPr/>
            <p:nvPr/>
          </p:nvSpPr>
          <p:spPr>
            <a:xfrm>
              <a:off x="3394714" y="1181207"/>
              <a:ext cx="68168" cy="40900"/>
            </a:xfrm>
            <a:custGeom>
              <a:avLst/>
              <a:gdLst>
                <a:gd name="connsiteX0" fmla="*/ 79223 w 74681"/>
                <a:gd name="connsiteY0" fmla="*/ 17550 h 44809"/>
                <a:gd name="connsiteX1" fmla="*/ 68768 w 74681"/>
                <a:gd name="connsiteY1" fmla="*/ 36967 h 44809"/>
                <a:gd name="connsiteX2" fmla="*/ 46363 w 74681"/>
                <a:gd name="connsiteY2" fmla="*/ 44436 h 44809"/>
                <a:gd name="connsiteX3" fmla="*/ 29933 w 74681"/>
                <a:gd name="connsiteY3" fmla="*/ 50410 h 44809"/>
                <a:gd name="connsiteX4" fmla="*/ 22465 w 74681"/>
                <a:gd name="connsiteY4" fmla="*/ 54891 h 44809"/>
                <a:gd name="connsiteX5" fmla="*/ 17984 w 74681"/>
                <a:gd name="connsiteY5" fmla="*/ 48917 h 44809"/>
                <a:gd name="connsiteX6" fmla="*/ 7529 w 74681"/>
                <a:gd name="connsiteY6" fmla="*/ 45929 h 44809"/>
                <a:gd name="connsiteX7" fmla="*/ 4541 w 74681"/>
                <a:gd name="connsiteY7" fmla="*/ 36967 h 44809"/>
                <a:gd name="connsiteX8" fmla="*/ 1554 w 74681"/>
                <a:gd name="connsiteY8" fmla="*/ 29499 h 44809"/>
                <a:gd name="connsiteX9" fmla="*/ 47857 w 74681"/>
                <a:gd name="connsiteY9" fmla="*/ 1120 h 44809"/>
                <a:gd name="connsiteX10" fmla="*/ 68768 w 74681"/>
                <a:gd name="connsiteY10" fmla="*/ 1120 h 44809"/>
                <a:gd name="connsiteX11" fmla="*/ 79223 w 74681"/>
                <a:gd name="connsiteY11" fmla="*/ 17550 h 4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81" h="44809">
                  <a:moveTo>
                    <a:pt x="79223" y="17550"/>
                  </a:moveTo>
                  <a:cubicBezTo>
                    <a:pt x="80717" y="25018"/>
                    <a:pt x="74742" y="32487"/>
                    <a:pt x="68768" y="36967"/>
                  </a:cubicBezTo>
                  <a:cubicBezTo>
                    <a:pt x="61300" y="41448"/>
                    <a:pt x="53831" y="42942"/>
                    <a:pt x="46363" y="44436"/>
                  </a:cubicBezTo>
                  <a:cubicBezTo>
                    <a:pt x="38895" y="45929"/>
                    <a:pt x="35908" y="47423"/>
                    <a:pt x="29933" y="50410"/>
                  </a:cubicBezTo>
                  <a:cubicBezTo>
                    <a:pt x="26946" y="51904"/>
                    <a:pt x="25452" y="53397"/>
                    <a:pt x="22465" y="54891"/>
                  </a:cubicBezTo>
                  <a:cubicBezTo>
                    <a:pt x="19478" y="56385"/>
                    <a:pt x="12010" y="53397"/>
                    <a:pt x="17984" y="48917"/>
                  </a:cubicBezTo>
                  <a:cubicBezTo>
                    <a:pt x="7529" y="56385"/>
                    <a:pt x="4541" y="47423"/>
                    <a:pt x="7529" y="45929"/>
                  </a:cubicBezTo>
                  <a:cubicBezTo>
                    <a:pt x="3048" y="47423"/>
                    <a:pt x="-1433" y="41448"/>
                    <a:pt x="4541" y="36967"/>
                  </a:cubicBezTo>
                  <a:cubicBezTo>
                    <a:pt x="61" y="39955"/>
                    <a:pt x="-1433" y="33980"/>
                    <a:pt x="1554" y="29499"/>
                  </a:cubicBezTo>
                  <a:cubicBezTo>
                    <a:pt x="13503" y="16057"/>
                    <a:pt x="29933" y="5601"/>
                    <a:pt x="47857" y="1120"/>
                  </a:cubicBezTo>
                  <a:cubicBezTo>
                    <a:pt x="55325" y="-373"/>
                    <a:pt x="61300" y="-373"/>
                    <a:pt x="68768" y="1120"/>
                  </a:cubicBezTo>
                  <a:cubicBezTo>
                    <a:pt x="71755" y="5601"/>
                    <a:pt x="77729" y="10082"/>
                    <a:pt x="79223" y="1755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2" name="任意多边形: 形状 951"/>
            <p:cNvSpPr/>
            <p:nvPr/>
          </p:nvSpPr>
          <p:spPr>
            <a:xfrm>
              <a:off x="3403290" y="1180867"/>
              <a:ext cx="40900" cy="13633"/>
            </a:xfrm>
            <a:custGeom>
              <a:avLst/>
              <a:gdLst>
                <a:gd name="connsiteX0" fmla="*/ 7095 w 44809"/>
                <a:gd name="connsiteY0" fmla="*/ 0 h 0"/>
                <a:gd name="connsiteX1" fmla="*/ 1120 w 44809"/>
                <a:gd name="connsiteY1" fmla="*/ 1494 h 0"/>
                <a:gd name="connsiteX2" fmla="*/ 1120 w 44809"/>
                <a:gd name="connsiteY2" fmla="*/ 7468 h 0"/>
                <a:gd name="connsiteX3" fmla="*/ 19044 w 44809"/>
                <a:gd name="connsiteY3" fmla="*/ 13443 h 0"/>
                <a:gd name="connsiteX4" fmla="*/ 32487 w 44809"/>
                <a:gd name="connsiteY4" fmla="*/ 10455 h 0"/>
                <a:gd name="connsiteX5" fmla="*/ 47423 w 44809"/>
                <a:gd name="connsiteY5" fmla="*/ 2987 h 0"/>
                <a:gd name="connsiteX6" fmla="*/ 7095 w 44809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09">
                  <a:moveTo>
                    <a:pt x="7095" y="0"/>
                  </a:moveTo>
                  <a:cubicBezTo>
                    <a:pt x="5601" y="0"/>
                    <a:pt x="2614" y="0"/>
                    <a:pt x="1120" y="1494"/>
                  </a:cubicBezTo>
                  <a:cubicBezTo>
                    <a:pt x="-373" y="2987"/>
                    <a:pt x="-373" y="5975"/>
                    <a:pt x="1120" y="7468"/>
                  </a:cubicBezTo>
                  <a:cubicBezTo>
                    <a:pt x="4107" y="11949"/>
                    <a:pt x="14563" y="13443"/>
                    <a:pt x="19044" y="13443"/>
                  </a:cubicBezTo>
                  <a:cubicBezTo>
                    <a:pt x="25018" y="13443"/>
                    <a:pt x="26512" y="11949"/>
                    <a:pt x="32487" y="10455"/>
                  </a:cubicBezTo>
                  <a:cubicBezTo>
                    <a:pt x="36967" y="7468"/>
                    <a:pt x="42942" y="4481"/>
                    <a:pt x="47423" y="2987"/>
                  </a:cubicBezTo>
                  <a:cubicBezTo>
                    <a:pt x="32487" y="4481"/>
                    <a:pt x="17550" y="2987"/>
                    <a:pt x="7095" y="0"/>
                  </a:cubicBezTo>
                  <a:close/>
                </a:path>
              </a:pathLst>
            </a:custGeom>
            <a:solidFill>
              <a:srgbClr val="FFCEA1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3" name="任意多边形: 形状 952"/>
            <p:cNvSpPr/>
            <p:nvPr/>
          </p:nvSpPr>
          <p:spPr>
            <a:xfrm>
              <a:off x="3447584" y="1109460"/>
              <a:ext cx="136334" cy="95434"/>
            </a:xfrm>
            <a:custGeom>
              <a:avLst/>
              <a:gdLst>
                <a:gd name="connsiteX0" fmla="*/ 18314 w 149363"/>
                <a:gd name="connsiteY0" fmla="*/ 66280 h 104554"/>
                <a:gd name="connsiteX1" fmla="*/ 391 w 149363"/>
                <a:gd name="connsiteY1" fmla="*/ 79723 h 104554"/>
                <a:gd name="connsiteX2" fmla="*/ 18314 w 149363"/>
                <a:gd name="connsiteY2" fmla="*/ 109596 h 104554"/>
                <a:gd name="connsiteX3" fmla="*/ 36238 w 149363"/>
                <a:gd name="connsiteY3" fmla="*/ 102128 h 104554"/>
                <a:gd name="connsiteX4" fmla="*/ 139299 w 149363"/>
                <a:gd name="connsiteY4" fmla="*/ 57318 h 104554"/>
                <a:gd name="connsiteX5" fmla="*/ 151248 w 149363"/>
                <a:gd name="connsiteY5" fmla="*/ 15497 h 104554"/>
                <a:gd name="connsiteX6" fmla="*/ 151248 w 149363"/>
                <a:gd name="connsiteY6" fmla="*/ 15497 h 104554"/>
                <a:gd name="connsiteX7" fmla="*/ 109426 w 149363"/>
                <a:gd name="connsiteY7" fmla="*/ 3548 h 104554"/>
                <a:gd name="connsiteX8" fmla="*/ 18314 w 149363"/>
                <a:gd name="connsiteY8" fmla="*/ 66280 h 10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363" h="104554">
                  <a:moveTo>
                    <a:pt x="18314" y="66280"/>
                  </a:moveTo>
                  <a:cubicBezTo>
                    <a:pt x="7859" y="70761"/>
                    <a:pt x="1884" y="75242"/>
                    <a:pt x="391" y="79723"/>
                  </a:cubicBezTo>
                  <a:cubicBezTo>
                    <a:pt x="-2597" y="85698"/>
                    <a:pt x="12340" y="109596"/>
                    <a:pt x="18314" y="109596"/>
                  </a:cubicBezTo>
                  <a:cubicBezTo>
                    <a:pt x="22795" y="108102"/>
                    <a:pt x="28770" y="105115"/>
                    <a:pt x="36238" y="102128"/>
                  </a:cubicBezTo>
                  <a:lnTo>
                    <a:pt x="139299" y="57318"/>
                  </a:lnTo>
                  <a:cubicBezTo>
                    <a:pt x="154235" y="49850"/>
                    <a:pt x="158716" y="30433"/>
                    <a:pt x="151248" y="15497"/>
                  </a:cubicBezTo>
                  <a:lnTo>
                    <a:pt x="151248" y="15497"/>
                  </a:lnTo>
                  <a:cubicBezTo>
                    <a:pt x="143780" y="560"/>
                    <a:pt x="124363" y="-3920"/>
                    <a:pt x="109426" y="3548"/>
                  </a:cubicBezTo>
                  <a:lnTo>
                    <a:pt x="18314" y="66280"/>
                  </a:lnTo>
                  <a:close/>
                </a:path>
              </a:pathLst>
            </a:custGeom>
            <a:solidFill>
              <a:srgbClr val="EDEDED"/>
            </a:solidFill>
            <a:ln w="14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A0BDC20F-6DA1-4D4B-B7FB-4BE48C5E4CA7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7" Type="http://schemas.openxmlformats.org/officeDocument/2006/relationships/slideLayout" Target="../slideLayouts/slideLayout1.xml"/><Relationship Id="rId6" Type="http://schemas.openxmlformats.org/officeDocument/2006/relationships/themeOverride" Target="../theme/themeOverride1.xml"/><Relationship Id="rId5" Type="http://schemas.openxmlformats.org/officeDocument/2006/relationships/image" Target="../media/image2.png"/><Relationship Id="rId4" Type="http://schemas.openxmlformats.org/officeDocument/2006/relationships/tags" Target="../tags/tag2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themeOverride" Target="../theme/themeOverride5.xml"/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image" Target="../media/image1.tiff"/></Relationships>
</file>

<file path=ppt/slides/_rels/slide1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themeOverride" Target="../theme/themeOverride6.xml"/><Relationship Id="rId3" Type="http://schemas.openxmlformats.org/officeDocument/2006/relationships/image" Target="../media/image38.png"/><Relationship Id="rId2" Type="http://schemas.openxmlformats.org/officeDocument/2006/relationships/image" Target="../media/image19.emf"/><Relationship Id="rId1" Type="http://schemas.openxmlformats.org/officeDocument/2006/relationships/image" Target="../media/image37.emf"/></Relationships>
</file>

<file path=ppt/slides/_rels/slide1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themeOverride" Target="../theme/themeOverride7.xml"/><Relationship Id="rId3" Type="http://schemas.openxmlformats.org/officeDocument/2006/relationships/image" Target="../media/image39.png"/><Relationship Id="rId2" Type="http://schemas.openxmlformats.org/officeDocument/2006/relationships/image" Target="../media/image26.png"/><Relationship Id="rId1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themeOverride" Target="../theme/themeOverride8.xml"/><Relationship Id="rId3" Type="http://schemas.openxmlformats.org/officeDocument/2006/relationships/image" Target="../media/image29.png"/><Relationship Id="rId2" Type="http://schemas.openxmlformats.org/officeDocument/2006/relationships/image" Target="../media/image27.png"/><Relationship Id="rId1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2.vml"/><Relationship Id="rId8" Type="http://schemas.openxmlformats.org/officeDocument/2006/relationships/slideLayout" Target="../slideLayouts/slideLayout6.xml"/><Relationship Id="rId7" Type="http://schemas.openxmlformats.org/officeDocument/2006/relationships/themeOverride" Target="../theme/themeOverride9.xml"/><Relationship Id="rId6" Type="http://schemas.openxmlformats.org/officeDocument/2006/relationships/image" Target="../media/image43.jpeg"/><Relationship Id="rId5" Type="http://schemas.openxmlformats.org/officeDocument/2006/relationships/image" Target="../media/image2.png"/><Relationship Id="rId4" Type="http://schemas.openxmlformats.org/officeDocument/2006/relationships/tags" Target="../tags/tag4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2.bin"/><Relationship Id="rId10" Type="http://schemas.openxmlformats.org/officeDocument/2006/relationships/notesSlide" Target="../notesSlides/notesSlide1.xml"/><Relationship Id="rId1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themeOverride" Target="../theme/themeOverride2.xml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themeOverride" Target="../theme/themeOverride3.xml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image" Target="../media/image24.png"/><Relationship Id="rId8" Type="http://schemas.openxmlformats.org/officeDocument/2006/relationships/image" Target="../media/image2.tiff"/><Relationship Id="rId7" Type="http://schemas.openxmlformats.org/officeDocument/2006/relationships/image" Target="../media/image23.png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3" Type="http://schemas.openxmlformats.org/officeDocument/2006/relationships/image" Target="../media/image19.emf"/><Relationship Id="rId2" Type="http://schemas.openxmlformats.org/officeDocument/2006/relationships/image" Target="../media/image18.jpeg"/><Relationship Id="rId17" Type="http://schemas.openxmlformats.org/officeDocument/2006/relationships/slideLayout" Target="../slideLayouts/slideLayout4.xml"/><Relationship Id="rId16" Type="http://schemas.openxmlformats.org/officeDocument/2006/relationships/image" Target="../media/image31.png"/><Relationship Id="rId15" Type="http://schemas.openxmlformats.org/officeDocument/2006/relationships/image" Target="../media/image30.png"/><Relationship Id="rId14" Type="http://schemas.openxmlformats.org/officeDocument/2006/relationships/image" Target="../media/image29.png"/><Relationship Id="rId13" Type="http://schemas.openxmlformats.org/officeDocument/2006/relationships/image" Target="../media/image28.png"/><Relationship Id="rId12" Type="http://schemas.openxmlformats.org/officeDocument/2006/relationships/image" Target="../media/image27.png"/><Relationship Id="rId11" Type="http://schemas.openxmlformats.org/officeDocument/2006/relationships/image" Target="../media/image26.png"/><Relationship Id="rId10" Type="http://schemas.openxmlformats.org/officeDocument/2006/relationships/image" Target="../media/image25.png"/><Relationship Id="rId1" Type="http://schemas.openxmlformats.org/officeDocument/2006/relationships/image" Target="../media/image1.tiff"/></Relationships>
</file>

<file path=ppt/slides/_rels/slide9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themeOverride" Target="../theme/themeOverride4.xml"/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image" Target="../media/image3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图片 4" descr="LOGO-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62305" y="484188"/>
            <a:ext cx="2149475" cy="515937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4" name="TextBox 4"/>
          <p:cNvSpPr txBox="1"/>
          <p:nvPr/>
        </p:nvSpPr>
        <p:spPr>
          <a:xfrm>
            <a:off x="275590" y="1685925"/>
            <a:ext cx="5955030" cy="16916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fontAlgn="base">
              <a:lnSpc>
                <a:spcPct val="200000"/>
              </a:lnSpc>
            </a:pPr>
            <a:r>
              <a:rPr lang="en-US" altLang="zh-CN" sz="2800" b="1" strike="noStrike" noProof="1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Power relay for EV charaging system</a:t>
            </a:r>
            <a:endParaRPr lang="en-US" altLang="zh-CN" sz="2800" b="1" strike="noStrike" noProof="1">
              <a:solidFill>
                <a:schemeClr val="tx1">
                  <a:lumMod val="65000"/>
                  <a:lumOff val="35000"/>
                </a:schemeClr>
              </a:solidFill>
              <a:effectLst/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lvl="0" fontAlgn="base">
              <a:lnSpc>
                <a:spcPct val="200000"/>
              </a:lnSpc>
            </a:pPr>
            <a:r>
              <a:rPr lang="en-US" altLang="zh-CN" sz="2400" b="1" i="1" noProof="1">
                <a:solidFill>
                  <a:schemeClr val="tx1">
                    <a:lumMod val="65000"/>
                    <a:lumOff val="35000"/>
                  </a:schemeClr>
                </a:solidFill>
                <a:effectLst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Hongfa Product Solution</a:t>
            </a:r>
            <a:endParaRPr lang="en-US" altLang="zh-CN" sz="2400" b="1" i="1" noProof="1">
              <a:solidFill>
                <a:schemeClr val="tx1">
                  <a:lumMod val="65000"/>
                  <a:lumOff val="35000"/>
                </a:schemeClr>
              </a:solidFill>
              <a:effectLst/>
              <a:uFillTx/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Featured products</a:t>
            </a:r>
            <a:endParaRPr lang="en-US" altLang="zh-CN" dirty="0"/>
          </a:p>
        </p:txBody>
      </p:sp>
      <p:sp>
        <p:nvSpPr>
          <p:cNvPr id="64516" name="Text Box 5"/>
          <p:cNvSpPr txBox="1">
            <a:spLocks noChangeArrowheads="1"/>
          </p:cNvSpPr>
          <p:nvPr/>
        </p:nvSpPr>
        <p:spPr bwMode="auto">
          <a:xfrm>
            <a:off x="207010" y="3669030"/>
            <a:ext cx="4201160" cy="2205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marL="285750" indent="-285750" eaLnBrk="1" hangingPunct="1">
              <a:lnSpc>
                <a:spcPct val="120000"/>
              </a:lnSpc>
              <a:buFont typeface="Wingdings" panose="05000000000000000000" charset="0"/>
              <a:buChar char="l"/>
              <a:defRPr/>
            </a:pPr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arrangement: 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1 Form A</a:t>
            </a:r>
            <a:endParaRPr lang="zh-CN" altLang="en-US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pPr marL="285750" indent="-285750" eaLnBrk="1" hangingPunct="1">
              <a:lnSpc>
                <a:spcPct val="120000"/>
              </a:lnSpc>
              <a:spcAft>
                <a:spcPct val="10000"/>
              </a:spcAft>
              <a:buFont typeface="Wingdings" panose="05000000000000000000" charset="0"/>
              <a:buChar char="l"/>
              <a:defRPr/>
            </a:pP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rating:</a:t>
            </a:r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26~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33A 250VAC </a:t>
            </a:r>
            <a:r>
              <a:rPr lang="sv-SE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85℃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</a:t>
            </a:r>
            <a:endParaRPr lang="en-US" altLang="zh-CN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eaLnBrk="1" hangingPunct="1">
              <a:lnSpc>
                <a:spcPct val="120000"/>
              </a:lnSpc>
              <a:spcAft>
                <a:spcPct val="10000"/>
              </a:spcAft>
              <a:defRPr/>
            </a:pP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                             </a:t>
            </a:r>
            <a:r>
              <a:rPr lang="sv-SE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HP 250VAC  </a:t>
            </a:r>
            <a:endParaRPr lang="sv-SE" altLang="en-US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eaLnBrk="1" hangingPunct="1">
              <a:lnSpc>
                <a:spcPct val="120000"/>
              </a:lnSpc>
              <a:spcAft>
                <a:spcPct val="10000"/>
              </a:spcAft>
              <a:defRPr/>
            </a:pPr>
            <a:r>
              <a:rPr lang="en-US" altLang="sv-SE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	             </a:t>
            </a:r>
            <a:r>
              <a:rPr lang="en-US" altLang="sv-SE" sz="1600" i="1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*35A type is optional</a:t>
            </a:r>
            <a:r>
              <a:rPr lang="sv-SE" altLang="en-US" sz="1600" i="1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endParaRPr lang="en-US" altLang="zh-CN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285750" indent="-285750" eaLnBrk="1" hangingPunct="1">
              <a:lnSpc>
                <a:spcPct val="120000"/>
              </a:lnSpc>
              <a:spcAft>
                <a:spcPct val="10000"/>
              </a:spcAft>
              <a:buFont typeface="Wingdings" panose="05000000000000000000" charset="0"/>
              <a:buChar char="l"/>
              <a:defRPr/>
            </a:pP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Size: 30.4×15.9×23.3 mm</a:t>
            </a:r>
            <a:endParaRPr lang="zh-CN" altLang="en-US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 eaLnBrk="1" hangingPunct="1">
              <a:lnSpc>
                <a:spcPct val="120000"/>
              </a:lnSpc>
              <a:spcAft>
                <a:spcPct val="10000"/>
              </a:spcAft>
              <a:buFont typeface="Wingdings" panose="05000000000000000000" charset="0"/>
              <a:buChar char="l"/>
              <a:defRPr/>
            </a:pP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Contact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 gap: 1.5/1.8/2.0/2.3mm</a:t>
            </a: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 </a:t>
            </a:r>
            <a:endParaRPr lang="en-US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spcAft>
                <a:spcPct val="10000"/>
              </a:spcAft>
              <a:buFont typeface="Wingdings" panose="05000000000000000000" charset="0"/>
              <a:buChar char="l"/>
              <a:defRPr/>
            </a:pP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Dielectric strength (</a:t>
            </a:r>
            <a:r>
              <a:rPr lang="en-US" altLang="zh-CN" sz="1600" dirty="0" err="1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il-contacts): </a:t>
            </a: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≥ 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4500VAC</a:t>
            </a:r>
            <a:endParaRPr lang="en-US" altLang="zh-CN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72707" name="Rectangle 3"/>
          <p:cNvSpPr>
            <a:spLocks noChangeArrowheads="1"/>
          </p:cNvSpPr>
          <p:nvPr/>
        </p:nvSpPr>
        <p:spPr bwMode="auto">
          <a:xfrm>
            <a:off x="879475" y="1119505"/>
            <a:ext cx="1682115" cy="459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0"/>
          <a:lstStyle>
            <a:lvl1pPr marL="190500" indent="-1905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None/>
            </a:pPr>
            <a:r>
              <a:rPr lang="en-US" altLang="zh-CN" sz="2400" b="1" dirty="0">
                <a:solidFill>
                  <a:srgbClr val="0070C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HF161F-W</a:t>
            </a:r>
            <a:endParaRPr lang="en-US" altLang="zh-CN" sz="2400" b="1" dirty="0">
              <a:solidFill>
                <a:srgbClr val="0070C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6" name="图片 34"/>
          <p:cNvPicPr>
            <a:picLocks noChangeAspect="1"/>
          </p:cNvPicPr>
          <p:nvPr/>
        </p:nvPicPr>
        <p:blipFill>
          <a:blip r:embed="rId1"/>
          <a:srcRect l="9011" t="6527" r="10355" b="891"/>
          <a:stretch>
            <a:fillRect/>
          </a:stretch>
        </p:blipFill>
        <p:spPr>
          <a:xfrm>
            <a:off x="879475" y="1859915"/>
            <a:ext cx="1576705" cy="13874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1" name="Rectangle 4"/>
          <p:cNvSpPr txBox="1">
            <a:spLocks noChangeArrowheads="1"/>
          </p:cNvSpPr>
          <p:nvPr/>
        </p:nvSpPr>
        <p:spPr bwMode="auto">
          <a:xfrm>
            <a:off x="10558780" y="6492240"/>
            <a:ext cx="1151890" cy="39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ctr" anchorCtr="0" compatLnSpc="1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latin typeface="+mn-lt"/>
                <a:ea typeface="仿宋_GB2312" pitchFamily="49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en-US" altLang="zh-CN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endParaRPr lang="en-US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5091430" y="1075055"/>
            <a:ext cx="1656715" cy="626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0"/>
          <a:lstStyle>
            <a:lvl1pPr marL="190500" indent="-1905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None/>
            </a:pPr>
            <a:r>
              <a:rPr lang="en-US" altLang="zh-CN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F165FD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Text Box 8"/>
          <p:cNvSpPr txBox="1">
            <a:spLocks noChangeArrowheads="1"/>
          </p:cNvSpPr>
          <p:nvPr/>
        </p:nvSpPr>
        <p:spPr bwMode="auto">
          <a:xfrm>
            <a:off x="4601845" y="3669030"/>
            <a:ext cx="2985770" cy="1906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marL="285750" indent="-285750" algn="l" eaLnBrk="1" hangingPunct="1">
              <a:lnSpc>
                <a:spcPct val="120000"/>
              </a:lnSpc>
              <a:spcAft>
                <a:spcPct val="10000"/>
              </a:spcAft>
              <a:buFont typeface="Wingdings" panose="05000000000000000000" charset="0"/>
              <a:buChar char="l"/>
              <a:defRPr/>
            </a:pPr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Contact arrangement: 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1 Form A</a:t>
            </a:r>
            <a:endParaRPr lang="en-US" altLang="zh-CN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 algn="l" eaLnBrk="1" hangingPunct="1">
              <a:lnSpc>
                <a:spcPct val="120000"/>
              </a:lnSpc>
              <a:spcAft>
                <a:spcPct val="10000"/>
              </a:spcAft>
              <a:buFont typeface="Wingdings" panose="05000000000000000000" charset="0"/>
              <a:buChar char="l"/>
              <a:defRPr/>
            </a:pP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rating: 40A 250VAC</a:t>
            </a:r>
            <a:endParaRPr lang="zh-CN" altLang="en-US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l" eaLnBrk="1" hangingPunct="1">
              <a:lnSpc>
                <a:spcPct val="120000"/>
              </a:lnSpc>
              <a:spcAft>
                <a:spcPct val="10000"/>
              </a:spcAft>
              <a:defRPr/>
            </a:pP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	            30A 250VAC</a:t>
            </a:r>
            <a:endParaRPr lang="en-US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l" eaLnBrk="1" hangingPunct="1">
              <a:lnSpc>
                <a:spcPct val="120000"/>
              </a:lnSpc>
              <a:spcAft>
                <a:spcPct val="10000"/>
              </a:spcAft>
              <a:defRPr/>
            </a:pPr>
            <a:r>
              <a:rPr lang="en-US" altLang="sv-SE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	            </a:t>
            </a:r>
            <a:r>
              <a:rPr lang="sv-SE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HP 240VAC</a:t>
            </a:r>
            <a:endParaRPr lang="sv-SE" altLang="en-US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l" eaLnBrk="1" hangingPunct="1">
              <a:lnSpc>
                <a:spcPct val="120000"/>
              </a:lnSpc>
              <a:spcAft>
                <a:spcPct val="10000"/>
              </a:spcAft>
              <a:defRPr/>
            </a:pPr>
            <a:r>
              <a:rPr lang="en-US" altLang="sv-SE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	            </a:t>
            </a:r>
            <a:r>
              <a:rPr lang="sv-SE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TV</a:t>
            </a:r>
            <a:r>
              <a:rPr lang="en-US" altLang="sv-SE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-8</a:t>
            </a:r>
            <a:r>
              <a:rPr lang="sv-SE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125VAC</a:t>
            </a:r>
            <a:endParaRPr lang="zh-CN" altLang="en-US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285750" indent="-285750" algn="l" eaLnBrk="1" hangingPunct="1">
              <a:lnSpc>
                <a:spcPct val="120000"/>
              </a:lnSpc>
              <a:spcAft>
                <a:spcPct val="10000"/>
              </a:spcAft>
              <a:buFont typeface="Wingdings" panose="05000000000000000000" charset="0"/>
              <a:buChar char="l"/>
              <a:defRPr/>
            </a:pP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ze: 32.2×27.5×20.4mm</a:t>
            </a:r>
            <a:endParaRPr lang="en-US" altLang="zh-CN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7" name="Picture 8" descr="C:\Users\1001762\Desktop\165FD新品推广\HF165FD图片\HF165FD.jp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2693" y="1747520"/>
            <a:ext cx="1805298" cy="161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418" name="Rectangle 3"/>
          <p:cNvSpPr>
            <a:spLocks noChangeArrowheads="1"/>
          </p:cNvSpPr>
          <p:nvPr/>
        </p:nvSpPr>
        <p:spPr bwMode="auto">
          <a:xfrm>
            <a:off x="9169400" y="1214755"/>
            <a:ext cx="1301750" cy="459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90500" indent="-1905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None/>
            </a:pPr>
            <a:r>
              <a:rPr lang="en-US" altLang="zh-CN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F165F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2229" name="Text Box 6"/>
          <p:cNvSpPr txBox="1">
            <a:spLocks noChangeArrowheads="1"/>
          </p:cNvSpPr>
          <p:nvPr/>
        </p:nvSpPr>
        <p:spPr bwMode="auto">
          <a:xfrm>
            <a:off x="8028940" y="3669030"/>
            <a:ext cx="4234180" cy="1919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marL="285750" indent="-285750" eaLnBrk="1" hangingPunct="1">
              <a:lnSpc>
                <a:spcPct val="130000"/>
              </a:lnSpc>
              <a:buFont typeface="Wingdings" panose="05000000000000000000" charset="0"/>
              <a:buChar char="l"/>
              <a:defRPr/>
            </a:pPr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Contact arrangement: 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1 Form A</a:t>
            </a:r>
            <a:endParaRPr lang="en-US" altLang="zh-CN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 eaLnBrk="1" hangingPunct="1">
              <a:lnSpc>
                <a:spcPct val="130000"/>
              </a:lnSpc>
              <a:buFont typeface="Wingdings" panose="05000000000000000000" charset="0"/>
              <a:buChar char="l"/>
              <a:defRPr/>
            </a:pP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rating: 35/43A 250VAC</a:t>
            </a:r>
            <a:endParaRPr lang="en-US" altLang="zh-CN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indent="0" eaLnBrk="1" hangingPunct="1">
              <a:lnSpc>
                <a:spcPct val="130000"/>
              </a:lnSpc>
              <a:buFont typeface="Wingdings" panose="05000000000000000000" charset="0"/>
              <a:buNone/>
              <a:defRPr/>
            </a:pPr>
            <a:r>
              <a:rPr lang="en-US" altLang="sv-SE" sz="1600" i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                             *60A type is optional</a:t>
            </a:r>
            <a:r>
              <a:rPr lang="sv-SE" altLang="en-US" sz="1600" i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 </a:t>
            </a:r>
            <a:endParaRPr lang="en-US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285750" indent="-285750" eaLnBrk="1" hangingPunct="1">
              <a:lnSpc>
                <a:spcPct val="130000"/>
              </a:lnSpc>
              <a:buFont typeface="Wingdings" panose="05000000000000000000" charset="0"/>
              <a:buChar char="l"/>
              <a:defRPr/>
            </a:pP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ze: 32.2×27.4×15.4mm</a:t>
            </a:r>
            <a:endParaRPr lang="zh-CN" altLang="en-US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 eaLnBrk="1" hangingPunct="1">
              <a:lnSpc>
                <a:spcPct val="130000"/>
              </a:lnSpc>
              <a:buFont typeface="Wingdings" panose="05000000000000000000" charset="0"/>
              <a:buChar char="l"/>
              <a:defRPr/>
            </a:pP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Contact 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Gap: </a:t>
            </a: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≥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1.8/2.0mm</a:t>
            </a:r>
            <a:endParaRPr lang="en-US" altLang="zh-CN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 eaLnBrk="1" hangingPunct="1">
              <a:lnSpc>
                <a:spcPct val="130000"/>
              </a:lnSpc>
              <a:buFont typeface="Wingdings" panose="05000000000000000000" charset="0"/>
              <a:buChar char="l"/>
              <a:defRPr/>
            </a:pP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Dielectric strength (</a:t>
            </a:r>
            <a:r>
              <a:rPr lang="en-US" altLang="zh-CN" sz="1600" dirty="0" err="1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il-contacts): </a:t>
            </a: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≥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2500VAC</a:t>
            </a:r>
            <a:endParaRPr lang="en-US" altLang="zh-CN" sz="16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pic>
        <p:nvPicPr>
          <p:cNvPr id="60420" name="图片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7067" y="1859732"/>
            <a:ext cx="1732754" cy="1296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New products</a:t>
            </a:r>
            <a:endParaRPr lang="en-US" altLang="zh-CN" dirty="0"/>
          </a:p>
        </p:txBody>
      </p:sp>
      <p:sp>
        <p:nvSpPr>
          <p:cNvPr id="15" name="矩形 14"/>
          <p:cNvSpPr/>
          <p:nvPr/>
        </p:nvSpPr>
        <p:spPr>
          <a:xfrm>
            <a:off x="669896" y="1028475"/>
            <a:ext cx="3097530" cy="977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20000"/>
              </a:lnSpc>
            </a:pPr>
            <a:r>
              <a:rPr lang="en-US" altLang="zh-CN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HF178F/HF178F-T</a:t>
            </a:r>
            <a:endParaRPr lang="en-US" altLang="zh-CN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微软雅黑" panose="020B0503020204020204" pitchFamily="34" charset="-122"/>
            </a:endParaRPr>
          </a:p>
          <a:p>
            <a:pPr fontAlgn="auto">
              <a:lnSpc>
                <a:spcPct val="120000"/>
              </a:lnSpc>
            </a:pPr>
            <a:r>
              <a:rPr lang="en-US" altLang="zh-CN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HF179F/HF179F-W</a:t>
            </a:r>
            <a:endParaRPr lang="en-US" altLang="zh-CN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4982998" y="1396775"/>
            <a:ext cx="186140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HF165F-50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361950" y="3955415"/>
            <a:ext cx="4156075" cy="2249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ze: 21.5x16x20.6mm(</a:t>
            </a: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the same as HF152F</a:t>
            </a: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)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rating:</a:t>
            </a:r>
            <a:endParaRPr lang="zh-CN" altLang="en-US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indent="0">
              <a:lnSpc>
                <a:spcPct val="130000"/>
              </a:lnSpc>
              <a:buFont typeface="Wingdings" panose="05000000000000000000" charset="0"/>
              <a:buNone/>
            </a:pP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  HF178F/HF178F-T: 85</a:t>
            </a:r>
            <a:r>
              <a:rPr lang="zh-CN" altLang="en-US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℃</a:t>
            </a: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/105</a:t>
            </a:r>
            <a:r>
              <a:rPr lang="zh-CN" altLang="en-US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℃</a:t>
            </a: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, 32A </a:t>
            </a: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current-carrying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indent="0">
              <a:lnSpc>
                <a:spcPct val="130000"/>
              </a:lnSpc>
              <a:buNone/>
            </a:pP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  HF179F/HF179F-W: Gap=1.8/2.4mm, 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indent="0">
              <a:lnSpc>
                <a:spcPct val="130000"/>
              </a:lnSpc>
              <a:buNone/>
            </a:pP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                                     16A-32A-16A 600VAC 105</a:t>
            </a:r>
            <a:r>
              <a:rPr lang="zh-CN" altLang="en-US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℃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Withstands up to 1.5kA short circuit current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indent="0">
              <a:lnSpc>
                <a:spcPct val="130000"/>
              </a:lnSpc>
              <a:buFont typeface="Wingdings" panose="05000000000000000000" charset="0"/>
              <a:buNone/>
            </a:pP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     (according to IEC62752) (Standard type coil)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Approval: UL/TUV/CQC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marL="171450" indent="-1714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ass production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8841985" y="1397365"/>
            <a:ext cx="217487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HF161F-40W</a:t>
            </a:r>
            <a:endParaRPr lang="en-US" altLang="zh-CN" sz="2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微软雅黑" panose="020B0503020204020204" pitchFamily="34" charset="-122"/>
            </a:endParaRPr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1"/>
          <a:srcRect l="5261" t="4114" r="6749" b="5470"/>
          <a:stretch>
            <a:fillRect/>
          </a:stretch>
        </p:blipFill>
        <p:spPr>
          <a:xfrm>
            <a:off x="1557655" y="2323465"/>
            <a:ext cx="1322070" cy="1491615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/>
          <a:srcRect l="5134" t="7382" r="5770" b="5877"/>
          <a:stretch>
            <a:fillRect/>
          </a:stretch>
        </p:blipFill>
        <p:spPr>
          <a:xfrm>
            <a:off x="5187315" y="2451100"/>
            <a:ext cx="1452880" cy="1235710"/>
          </a:xfrm>
          <a:prstGeom prst="rect">
            <a:avLst/>
          </a:prstGeom>
        </p:spPr>
      </p:pic>
      <p:sp>
        <p:nvSpPr>
          <p:cNvPr id="36" name="文本框 35"/>
          <p:cNvSpPr txBox="1"/>
          <p:nvPr/>
        </p:nvSpPr>
        <p:spPr>
          <a:xfrm>
            <a:off x="8275320" y="3955415"/>
            <a:ext cx="3706495" cy="15297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285750" indent="-285750">
              <a:lnSpc>
                <a:spcPct val="130000"/>
              </a:lnSpc>
              <a:buFont typeface="Wingdings" panose="05000000000000000000" pitchFamily="2" charset="2"/>
              <a:buChar char="u"/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fontAlgn="auto">
              <a:buFont typeface="Wingdings" panose="05000000000000000000" charset="0"/>
              <a:buChar char="l"/>
            </a:pP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ze: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30.4×15.9×23.3 mm(the same as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F161F-W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）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altLang="zh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buFont typeface="Wingdings" panose="05000000000000000000" charset="0"/>
              <a:buChar char="l"/>
            </a:pP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tact rating: 40A @105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℃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43A @85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℃</a:t>
            </a:r>
            <a:endParaRPr lang="zh-CN" alt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fontAlgn="auto">
              <a:buFont typeface="Wingdings" panose="05000000000000000000" charset="0"/>
              <a:buNone/>
            </a:pP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</a:t>
            </a:r>
            <a:r>
              <a:rPr lang="en-US" altLang="sv-SE" i="1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*50A type is optional</a:t>
            </a:r>
            <a:r>
              <a:rPr lang="sv-SE" altLang="en-US" i="1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</a:t>
            </a:r>
            <a:endParaRPr lang="zh-CN" alt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buFont typeface="Wingdings" panose="05000000000000000000" charset="0"/>
              <a:buChar char="l"/>
            </a:pP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tact gap: 2.0/1.8mm</a:t>
            </a:r>
            <a:endParaRPr lang="zh-CN" alt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buFont typeface="Wingdings" panose="05000000000000000000" charset="0"/>
              <a:buChar char="l"/>
            </a:pP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roval: UL/TUV/CQC</a:t>
            </a:r>
            <a:endParaRPr lang="en-US" altLang="zh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buFont typeface="Wingdings" panose="05000000000000000000" charset="0"/>
              <a:buChar char="l"/>
            </a:pP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ss production</a:t>
            </a:r>
            <a:endParaRPr lang="en-US" altLang="zh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4650" y="2401570"/>
            <a:ext cx="1346835" cy="133604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517390" y="3955415"/>
            <a:ext cx="3322955" cy="15297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342900" indent="-171450" algn="l" fontAlgn="auto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Size: the same as HF165F</a:t>
            </a:r>
            <a:endParaRPr lang="en-US" altLang="zh-CN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171450" algn="l" fontAlgn="auto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Contact rating:</a:t>
            </a:r>
            <a:endParaRPr lang="zh-CN" alt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 algn="l" fontAlgn="auto">
              <a:lnSpc>
                <a:spcPct val="130000"/>
              </a:lnSpc>
              <a:buNone/>
            </a:pPr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        32A 105</a:t>
            </a:r>
            <a:r>
              <a:rPr lang="zh-CN" altLang="zh-CN" sz="12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℃</a:t>
            </a:r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/40A 85</a:t>
            </a:r>
            <a:r>
              <a:rPr lang="zh-CN" altLang="en-US" sz="12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℃</a:t>
            </a:r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/50A 65</a:t>
            </a:r>
            <a:r>
              <a:rPr lang="zh-CN" altLang="en-US" sz="12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℃</a:t>
            </a:r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/60A 60</a:t>
            </a:r>
            <a:r>
              <a:rPr lang="zh-CN" altLang="en-US" sz="12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℃</a:t>
            </a:r>
            <a:endParaRPr lang="zh-CN" altLang="en-US" sz="1200" dirty="0"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  <a:p>
            <a:pPr indent="0" algn="l" fontAlgn="auto">
              <a:lnSpc>
                <a:spcPct val="130000"/>
              </a:lnSpc>
              <a:buNone/>
            </a:pPr>
            <a:r>
              <a:rPr lang="zh-CN" altLang="en-US" sz="12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</a:t>
            </a:r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       </a:t>
            </a:r>
            <a:r>
              <a:rPr lang="en-US" altLang="sv-SE" sz="1200" i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*60A @85℃ type is optional</a:t>
            </a:r>
            <a:r>
              <a:rPr lang="sv-SE" altLang="en-US" sz="1200" i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 </a:t>
            </a:r>
            <a:endParaRPr lang="zh-CN" alt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171450" algn="l" fontAlgn="auto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Approval: UL/TUV/CQC</a:t>
            </a:r>
            <a:endParaRPr lang="en-US" altLang="zh-CN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171450" algn="l" fontAlgn="auto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Mass production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 bwMode="auto">
          <a:xfrm>
            <a:off x="10558780" y="6492240"/>
            <a:ext cx="1151890" cy="39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ctr" anchorCtr="0" compatLnSpc="1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latin typeface="+mn-lt"/>
                <a:ea typeface="仿宋_GB2312" pitchFamily="49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en-US" altLang="zh-CN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endParaRPr lang="en-US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New products</a:t>
            </a:r>
            <a:endParaRPr lang="en-US" altLang="zh-CN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95703" y="2053378"/>
            <a:ext cx="1728598" cy="1774771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482600" y="4178300"/>
            <a:ext cx="2910840" cy="20478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ze: 36x30x40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Contact arrangement: 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 Form A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Contact gap: </a:t>
            </a:r>
            <a:r>
              <a:rPr lang="zh-CN" alt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≥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3.6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rating: 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indent="0">
              <a:lnSpc>
                <a:spcPct val="130000"/>
              </a:lnSpc>
              <a:buFont typeface="Wingdings" panose="05000000000000000000" charset="0"/>
              <a:buNone/>
            </a:pPr>
            <a:r>
              <a:rPr lang="pt-BR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    40A 277VAC 85℃</a:t>
            </a:r>
            <a:endParaRPr lang="pt-BR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Approval: UL/TUV/CQC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ass production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6885144" y="1359091"/>
            <a:ext cx="1348446" cy="461665"/>
          </a:xfrm>
          <a:prstGeom prst="rect">
            <a:avLst/>
          </a:prstGeom>
        </p:spPr>
        <p:txBody>
          <a:bodyPr wrap="none">
            <a:spAutoFit/>
          </a:bodyPr>
          <a:p>
            <a:r>
              <a:rPr lang="en-US" altLang="zh-CN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HF176F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9690402" y="1360038"/>
            <a:ext cx="1348446" cy="461665"/>
          </a:xfrm>
          <a:prstGeom prst="rect">
            <a:avLst/>
          </a:prstGeom>
        </p:spPr>
        <p:txBody>
          <a:bodyPr wrap="none">
            <a:spAutoFit/>
          </a:bodyPr>
          <a:p>
            <a:r>
              <a:rPr lang="en-US" altLang="zh-CN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HF186F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9146540" y="4178300"/>
            <a:ext cx="2736215" cy="20478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ze: 30x20x31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Contact gap: </a:t>
            </a:r>
            <a:r>
              <a:rPr lang="zh-CN" alt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≥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tact rating:</a:t>
            </a:r>
            <a:endParaRPr lang="en-US" altLang="zh-CN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>
              <a:lnSpc>
                <a:spcPct val="130000"/>
              </a:lnSpc>
              <a:buFont typeface="Wingdings" panose="05000000000000000000" charset="0"/>
              <a:buNone/>
            </a:pPr>
            <a:r>
              <a:rPr lang="pt-BR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20A/55A/20A 277VAC 105℃</a:t>
            </a:r>
            <a:endParaRPr lang="pt-BR" altLang="zh-CN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pt-BR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20A/66A/20A 600VAC 85℃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Approval: UL/TUV/CQC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ass production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766445" y="1360170"/>
            <a:ext cx="1969135" cy="460375"/>
          </a:xfrm>
          <a:prstGeom prst="rect">
            <a:avLst/>
          </a:prstGeom>
        </p:spPr>
        <p:txBody>
          <a:bodyPr wrap="square">
            <a:spAutoFit/>
          </a:bodyPr>
          <a:p>
            <a:pPr algn="ctr"/>
            <a:r>
              <a:rPr lang="en-US" altLang="zh-CN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HF170F/2H</a:t>
            </a:r>
            <a:endParaRPr lang="en-US" altLang="zh-CN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3203239" y="1361486"/>
            <a:ext cx="2348865" cy="460375"/>
          </a:xfrm>
          <a:prstGeom prst="rect">
            <a:avLst/>
          </a:prstGeom>
        </p:spPr>
        <p:txBody>
          <a:bodyPr wrap="none">
            <a:spAutoFit/>
          </a:bodyPr>
          <a:p>
            <a:r>
              <a:rPr lang="en-US" altLang="zh-CN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HF170F/2H1D</a:t>
            </a:r>
            <a:endParaRPr lang="en-US" altLang="zh-CN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172200" y="4178300"/>
            <a:ext cx="2776220" cy="20478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ze: 38x33x36.3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Contact gap: </a:t>
            </a:r>
            <a:r>
              <a:rPr lang="zh-CN" alt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≥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Contact rating:</a:t>
            </a:r>
            <a:endParaRPr lang="en-US" altLang="zh-CN" sz="1400" dirty="0"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  <a:p>
            <a:pPr indent="0">
              <a:lnSpc>
                <a:spcPct val="130000"/>
              </a:lnSpc>
              <a:buFont typeface="Wingdings" panose="05000000000000000000" charset="0"/>
              <a:buNone/>
            </a:pPr>
            <a:r>
              <a:rPr lang="pt-BR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20A/65A/20A 400VAC 85℃</a:t>
            </a:r>
            <a:endParaRPr lang="pt-BR" altLang="zh-CN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0">
              <a:lnSpc>
                <a:spcPct val="130000"/>
              </a:lnSpc>
              <a:buFont typeface="Wingdings" panose="05000000000000000000" charset="0"/>
              <a:buNone/>
            </a:pPr>
            <a:r>
              <a:rPr lang="pt-BR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pt-BR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altLang="sv-SE" sz="1400" i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*80A type is optional</a:t>
            </a:r>
            <a:r>
              <a:rPr lang="sv-SE" altLang="en-US" sz="1400" i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 </a:t>
            </a:r>
            <a:endParaRPr lang="pt-BR" altLang="zh-CN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Approval: UL/TUV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Mass production</a:t>
            </a:r>
            <a:endParaRPr lang="zh-CN" altLang="en-US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202940" y="4457700"/>
            <a:ext cx="3163570" cy="12096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Contact arrangement: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indent="0">
              <a:lnSpc>
                <a:spcPct val="130000"/>
              </a:lnSpc>
              <a:buFont typeface="Wingdings" panose="05000000000000000000" charset="0"/>
              <a:buNone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     2 Form A+1 Form B</a:t>
            </a:r>
            <a:endParaRPr lang="pt-BR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Approval: UL/TUV/CQC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ass production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68510" y="2234565"/>
            <a:ext cx="1391285" cy="1715770"/>
          </a:xfrm>
          <a:prstGeom prst="rect">
            <a:avLst/>
          </a:prstGeom>
        </p:spPr>
      </p:pic>
      <p:sp>
        <p:nvSpPr>
          <p:cNvPr id="13" name="横卷形 12"/>
          <p:cNvSpPr/>
          <p:nvPr/>
        </p:nvSpPr>
        <p:spPr>
          <a:xfrm>
            <a:off x="3794760" y="3950335"/>
            <a:ext cx="1164590" cy="626745"/>
          </a:xfrm>
          <a:prstGeom prst="horizontalScroll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0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With 1 form B aux. contact</a:t>
            </a:r>
            <a:endParaRPr lang="en-US" altLang="zh-CN" sz="1000" b="1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1245" y="2206625"/>
            <a:ext cx="1360170" cy="154178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6970" y="2206625"/>
            <a:ext cx="1360170" cy="1541780"/>
          </a:xfrm>
          <a:prstGeom prst="rect">
            <a:avLst/>
          </a:prstGeom>
        </p:spPr>
      </p:pic>
      <p:sp>
        <p:nvSpPr>
          <p:cNvPr id="18" name="Rectangle 4"/>
          <p:cNvSpPr txBox="1">
            <a:spLocks noChangeArrowheads="1"/>
          </p:cNvSpPr>
          <p:nvPr/>
        </p:nvSpPr>
        <p:spPr bwMode="auto">
          <a:xfrm>
            <a:off x="10558780" y="6492240"/>
            <a:ext cx="1151890" cy="39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ctr" anchorCtr="0" compatLnSpc="1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latin typeface="+mn-lt"/>
                <a:ea typeface="仿宋_GB2312" pitchFamily="49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en-US" altLang="zh-CN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endParaRPr lang="en-US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八角星 19"/>
          <p:cNvSpPr/>
          <p:nvPr/>
        </p:nvSpPr>
        <p:spPr>
          <a:xfrm>
            <a:off x="11059795" y="2343150"/>
            <a:ext cx="955675" cy="857250"/>
          </a:xfrm>
          <a:prstGeom prst="star8">
            <a:avLst/>
          </a:prstGeom>
          <a:solidFill>
            <a:schemeClr val="accent1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/>
              <a:t>Tiny</a:t>
            </a:r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New products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4232910" y="4109720"/>
            <a:ext cx="3934460" cy="23279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ze: 35x25x28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arrangement: 1 Form A+1 Form B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Contact gap: </a:t>
            </a:r>
            <a:r>
              <a:rPr lang="zh-CN" alt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≥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25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Contact rating: </a:t>
            </a:r>
            <a:r>
              <a:rPr lang="pt-BR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48A 277VAC 85℃</a:t>
            </a: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(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Main contact)</a:t>
            </a:r>
            <a:endParaRPr lang="pt-BR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Withstands up to 1.5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kA </a:t>
            </a: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short circuit current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  <a:p>
            <a:pPr indent="0">
              <a:lnSpc>
                <a:spcPct val="130000"/>
              </a:lnSpc>
              <a:buFont typeface="Wingdings" panose="05000000000000000000" charset="0"/>
              <a:buNone/>
            </a:pP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       (according to IEC62752)</a:t>
            </a:r>
            <a:endParaRPr lang="pt-BR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Approval: UL/TUV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ass production</a:t>
            </a:r>
            <a:endParaRPr lang="en-US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1450199" y="1165271"/>
            <a:ext cx="1249045" cy="460375"/>
          </a:xfrm>
          <a:prstGeom prst="rect">
            <a:avLst/>
          </a:prstGeom>
        </p:spPr>
        <p:txBody>
          <a:bodyPr wrap="none">
            <a:spAutoFit/>
          </a:bodyPr>
          <a:p>
            <a:r>
              <a:rPr lang="en-US" altLang="zh-CN" sz="2400" b="1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HF190F</a:t>
            </a:r>
            <a:endParaRPr lang="en-US" altLang="zh-CN" sz="2400" b="1" dirty="0">
              <a:solidFill>
                <a:srgbClr val="FF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微软雅黑" panose="020B050302020402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5187480" y="1164001"/>
            <a:ext cx="1348446" cy="461665"/>
          </a:xfrm>
          <a:prstGeom prst="rect">
            <a:avLst/>
          </a:prstGeom>
        </p:spPr>
        <p:txBody>
          <a:bodyPr wrap="none">
            <a:spAutoFit/>
          </a:bodyPr>
          <a:p>
            <a:r>
              <a:rPr lang="en-US" altLang="zh-CN" sz="2400" b="1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HF189F</a:t>
            </a:r>
            <a:endParaRPr lang="en-US" altLang="zh-CN" sz="2400" b="1" dirty="0">
              <a:solidFill>
                <a:srgbClr val="FF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微软雅黑" panose="020B0503020204020204" pitchFamily="34" charset="-122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226060" y="4109720"/>
            <a:ext cx="4121150" cy="23279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ze: 35x16x28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arrangement: 1 Form A+1 form B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gap: </a:t>
            </a:r>
            <a:r>
              <a:rPr lang="zh-CN" alt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≥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25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rating: </a:t>
            </a:r>
            <a:r>
              <a:rPr lang="pt-BR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32A 277VAC 85</a:t>
            </a: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℃ (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ain contact)</a:t>
            </a:r>
            <a:endParaRPr lang="pt-BR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Withstands up to 1.5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kA </a:t>
            </a: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short circuit current</a:t>
            </a:r>
            <a:endParaRPr lang="pt-BR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indent="0">
              <a:lnSpc>
                <a:spcPct val="130000"/>
              </a:lnSpc>
              <a:buFont typeface="Wingdings" panose="05000000000000000000" charset="0"/>
              <a:buNone/>
            </a:pP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       (according to IEC62752)</a:t>
            </a:r>
            <a:endParaRPr lang="pt-BR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Approval: UL/TUV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ass production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3" name="横卷形 12"/>
          <p:cNvSpPr/>
          <p:nvPr/>
        </p:nvSpPr>
        <p:spPr>
          <a:xfrm>
            <a:off x="1492885" y="3415665"/>
            <a:ext cx="1164590" cy="626745"/>
          </a:xfrm>
          <a:prstGeom prst="horizontalScroll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0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With 1 form B aux. contact</a:t>
            </a:r>
            <a:endParaRPr lang="en-US" altLang="zh-CN" sz="1000" b="1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8" name="横卷形 7"/>
          <p:cNvSpPr/>
          <p:nvPr/>
        </p:nvSpPr>
        <p:spPr>
          <a:xfrm>
            <a:off x="5371465" y="3415665"/>
            <a:ext cx="1164590" cy="626745"/>
          </a:xfrm>
          <a:prstGeom prst="horizontalScroll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0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With 1 form B aux. contact</a:t>
            </a:r>
            <a:endParaRPr lang="en-US" altLang="zh-CN" sz="1000" b="1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03985" y="1965325"/>
            <a:ext cx="1441450" cy="157988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4920" y="2016125"/>
            <a:ext cx="1574165" cy="1477645"/>
          </a:xfrm>
          <a:prstGeom prst="rect">
            <a:avLst/>
          </a:prstGeom>
        </p:spPr>
      </p:pic>
      <p:sp>
        <p:nvSpPr>
          <p:cNvPr id="4" name="Rectangle 4"/>
          <p:cNvSpPr txBox="1">
            <a:spLocks noChangeArrowheads="1"/>
          </p:cNvSpPr>
          <p:nvPr/>
        </p:nvSpPr>
        <p:spPr bwMode="auto">
          <a:xfrm>
            <a:off x="10558780" y="6492240"/>
            <a:ext cx="1151890" cy="39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ctr" anchorCtr="0" compatLnSpc="1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latin typeface="+mn-lt"/>
                <a:ea typeface="仿宋_GB2312" pitchFamily="49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en-US" altLang="zh-CN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3</a:t>
            </a:r>
            <a:endParaRPr lang="en-US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9261334" y="1164001"/>
            <a:ext cx="1249045" cy="460375"/>
          </a:xfrm>
          <a:prstGeom prst="rect">
            <a:avLst/>
          </a:prstGeom>
        </p:spPr>
        <p:txBody>
          <a:bodyPr wrap="none">
            <a:spAutoFit/>
          </a:bodyPr>
          <a:p>
            <a:r>
              <a:rPr lang="en-US" altLang="zh-CN" sz="2400" b="1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HF185F</a:t>
            </a:r>
            <a:endParaRPr lang="en-US" altLang="zh-CN" sz="2400" b="1" dirty="0">
              <a:solidFill>
                <a:srgbClr val="FF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微软雅黑" panose="020B0503020204020204" pitchFamily="34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8787130" y="4109720"/>
            <a:ext cx="3197860" cy="17684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ze: 40x35x38.8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arrangement: 2 Form A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gap: </a:t>
            </a:r>
            <a:r>
              <a:rPr lang="zh-CN" alt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≥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3.0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rating: 50</a:t>
            </a:r>
            <a:r>
              <a:rPr lang="pt-BR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A 277VAC 85</a:t>
            </a: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℃</a:t>
            </a:r>
            <a:endParaRPr lang="pt-BR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Approval: UL/TUV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Mass production</a:t>
            </a:r>
            <a:endParaRPr lang="en-US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0190" y="2017395"/>
            <a:ext cx="1492250" cy="14668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dirty="0">
                <a:sym typeface="+mn-ea"/>
              </a:rPr>
              <a:t>New products</a:t>
            </a:r>
            <a:endParaRPr lang="zh-CN" altLang="en-US"/>
          </a:p>
        </p:txBody>
      </p:sp>
      <p:pic>
        <p:nvPicPr>
          <p:cNvPr id="38913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997315" y="1656715"/>
            <a:ext cx="1635125" cy="18415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38924" name="文本框 17"/>
          <p:cNvSpPr txBox="1"/>
          <p:nvPr/>
        </p:nvSpPr>
        <p:spPr>
          <a:xfrm>
            <a:off x="8192135" y="4074160"/>
            <a:ext cx="3732530" cy="2047875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p>
            <a:pPr marL="285750" indent="-285750" eaLnBrk="0" hangingPunct="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ze: 38x35x47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 eaLnBrk="0" hangingPunct="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arrangement:</a:t>
            </a:r>
            <a:r>
              <a:rPr lang="en-US" altLang="zh-CN" sz="14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2 form A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+1 form B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 eaLnBrk="0" hangingPunct="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gap</a:t>
            </a:r>
            <a:r>
              <a:rPr lang="zh-CN" alt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：≥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3.6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marL="285750" indent="-285750" eaLnBrk="0" hangingPunct="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rating</a:t>
            </a:r>
            <a:r>
              <a:rPr lang="zh-CN" alt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r>
              <a:rPr lang="pt-BR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40A  440VAC 85℃</a:t>
            </a:r>
            <a:endParaRPr lang="pt-BR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Withstands up to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3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kA </a:t>
            </a: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short circuit current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  <a:p>
            <a:pPr indent="0">
              <a:lnSpc>
                <a:spcPct val="130000"/>
              </a:lnSpc>
              <a:buFont typeface="Wingdings" panose="05000000000000000000" charset="0"/>
              <a:buNone/>
            </a:pP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       (according to IEC62955)</a:t>
            </a:r>
            <a:endParaRPr lang="pt-BR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 eaLnBrk="0" hangingPunct="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P: 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Q1/2023</a:t>
            </a:r>
            <a:endParaRPr lang="zh-CN" altLang="en-US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8925" name="矩形 15"/>
          <p:cNvSpPr/>
          <p:nvPr/>
        </p:nvSpPr>
        <p:spPr>
          <a:xfrm>
            <a:off x="9209088" y="1196340"/>
            <a:ext cx="1249045" cy="460375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p>
            <a:pPr>
              <a:buFont typeface="Arial" panose="020B0604020202020204" pitchFamily="34" charset="0"/>
            </a:pPr>
            <a:r>
              <a:rPr lang="en-US" altLang="zh-CN" sz="2400" b="1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HF198F</a:t>
            </a:r>
            <a:endParaRPr lang="en-US" altLang="zh-CN" sz="2400" b="1" dirty="0">
              <a:solidFill>
                <a:srgbClr val="FF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153960" y="1196386"/>
            <a:ext cx="1337310" cy="460375"/>
          </a:xfrm>
          <a:prstGeom prst="rect">
            <a:avLst/>
          </a:prstGeom>
        </p:spPr>
        <p:txBody>
          <a:bodyPr wrap="none">
            <a:spAutoFit/>
          </a:bodyPr>
          <a:p>
            <a:r>
              <a:rPr lang="en-US" altLang="zh-CN" sz="2400" b="1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HF187F</a:t>
            </a:r>
            <a:endParaRPr lang="en-US" altLang="zh-CN" sz="2400" b="1" dirty="0">
              <a:solidFill>
                <a:srgbClr val="FF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微软雅黑" panose="020B0503020204020204" pitchFamily="3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273685" y="4074160"/>
            <a:ext cx="3944620" cy="23279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ze: 59x35x47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Contact arrangement: </a:t>
            </a:r>
            <a:r>
              <a:rPr lang="en-US" altLang="zh-CN" sz="14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4 Form A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+1 Form B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Contact gap: </a:t>
            </a:r>
            <a:r>
              <a:rPr lang="zh-CN" alt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≥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3.9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Contact rating: </a:t>
            </a:r>
            <a:r>
              <a:rPr lang="pt-BR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4</a:t>
            </a: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0</a:t>
            </a:r>
            <a:r>
              <a:rPr lang="pt-BR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A 277VAC 85℃</a:t>
            </a: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(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Main contact)</a:t>
            </a:r>
            <a:endParaRPr lang="pt-BR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Withstands up to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3kA </a:t>
            </a: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short circuit current</a:t>
            </a:r>
            <a:endParaRPr lang="pt-BR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indent="0">
              <a:lnSpc>
                <a:spcPct val="130000"/>
              </a:lnSpc>
              <a:buFont typeface="Wingdings" panose="05000000000000000000" charset="0"/>
              <a:buNone/>
            </a:pP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       (according to IEC62955)</a:t>
            </a:r>
            <a:endParaRPr lang="pt-BR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Approval: UL/TUV/CQC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ass production</a:t>
            </a:r>
            <a:endParaRPr lang="en-US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9" name="横卷形 8"/>
          <p:cNvSpPr/>
          <p:nvPr/>
        </p:nvSpPr>
        <p:spPr>
          <a:xfrm>
            <a:off x="1240155" y="3380105"/>
            <a:ext cx="1164590" cy="626745"/>
          </a:xfrm>
          <a:prstGeom prst="horizontalScroll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0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With 1 form B aux. contact</a:t>
            </a:r>
            <a:endParaRPr lang="en-US" altLang="zh-CN" sz="1000" b="1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2025" y="1678940"/>
            <a:ext cx="1720850" cy="183070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4943334" y="1196386"/>
            <a:ext cx="1909445" cy="460375"/>
          </a:xfrm>
          <a:prstGeom prst="rect">
            <a:avLst/>
          </a:prstGeom>
        </p:spPr>
        <p:txBody>
          <a:bodyPr wrap="none">
            <a:spAutoFit/>
          </a:bodyPr>
          <a:p>
            <a:r>
              <a:rPr lang="en-US" altLang="zh-CN" sz="2400" b="1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HF177F(954)</a:t>
            </a:r>
            <a:endParaRPr lang="en-US" altLang="zh-CN" sz="2400" b="1" dirty="0">
              <a:solidFill>
                <a:srgbClr val="FF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微软雅黑" panose="020B0503020204020204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4465320" y="4074160"/>
            <a:ext cx="3726815" cy="23279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Size: 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50x25x31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Contact arrangement: 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 Form A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Contact gap: </a:t>
            </a:r>
            <a:r>
              <a:rPr lang="zh-CN" alt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≥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3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mm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Contact rating: </a:t>
            </a: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40</a:t>
            </a:r>
            <a:r>
              <a:rPr lang="pt-BR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A</a:t>
            </a: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/35A</a:t>
            </a:r>
            <a:r>
              <a:rPr lang="pt-BR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277VAC 85</a:t>
            </a: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℃</a:t>
            </a:r>
            <a:endParaRPr lang="en-US" altLang="pt-BR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Withstands up to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4</a:t>
            </a: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.5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kA </a:t>
            </a: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short circuit current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  <a:p>
            <a:pPr indent="0">
              <a:lnSpc>
                <a:spcPct val="130000"/>
              </a:lnSpc>
              <a:buFont typeface="Wingdings" panose="05000000000000000000" charset="0"/>
              <a:buNone/>
            </a:pPr>
            <a:r>
              <a:rPr lang="en-US" altLang="pt-BR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       (according to IEC62955)</a:t>
            </a:r>
            <a:endParaRPr lang="pt-BR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Approval: 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UL/TUV/CQC</a:t>
            </a:r>
            <a:endParaRPr lang="en-US" altLang="zh-CN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l"/>
            </a:pPr>
            <a:r>
              <a:rPr 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Mass production</a:t>
            </a:r>
            <a:endParaRPr lang="en-US" sz="14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5540" y="1903095"/>
            <a:ext cx="1897380" cy="1520825"/>
          </a:xfrm>
          <a:prstGeom prst="rect">
            <a:avLst/>
          </a:prstGeom>
        </p:spPr>
      </p:pic>
      <p:sp>
        <p:nvSpPr>
          <p:cNvPr id="20" name="八角星 19"/>
          <p:cNvSpPr/>
          <p:nvPr/>
        </p:nvSpPr>
        <p:spPr>
          <a:xfrm>
            <a:off x="10822940" y="-5080"/>
            <a:ext cx="1369060" cy="1033780"/>
          </a:xfrm>
          <a:prstGeom prst="star8">
            <a:avLst>
              <a:gd name="adj" fmla="val 40888"/>
            </a:avLst>
          </a:prstGeom>
          <a:solidFill>
            <a:schemeClr val="accent1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600">
                <a:latin typeface="Times New Roman" panose="02020603050405020304" pitchFamily="18" charset="0"/>
                <a:cs typeface="Times New Roman" panose="02020603050405020304" pitchFamily="18" charset="0"/>
              </a:rPr>
              <a:t>EU AC Charging</a:t>
            </a:r>
            <a:endParaRPr lang="en-US" altLang="zh-CN" sz="16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ectangle 4"/>
          <p:cNvSpPr txBox="1">
            <a:spLocks noChangeArrowheads="1"/>
          </p:cNvSpPr>
          <p:nvPr/>
        </p:nvSpPr>
        <p:spPr bwMode="auto">
          <a:xfrm>
            <a:off x="10558780" y="6492240"/>
            <a:ext cx="1151890" cy="39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ctr" anchorCtr="0" compatLnSpc="1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latin typeface="+mn-lt"/>
                <a:ea typeface="仿宋_GB2312" pitchFamily="49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en-US" altLang="zh-CN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4</a:t>
            </a:r>
            <a:endParaRPr lang="en-US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横卷形 9"/>
          <p:cNvSpPr/>
          <p:nvPr/>
        </p:nvSpPr>
        <p:spPr>
          <a:xfrm>
            <a:off x="9248775" y="3380105"/>
            <a:ext cx="1164590" cy="626745"/>
          </a:xfrm>
          <a:prstGeom prst="horizontalScroll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0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With 1 form B aux. contact</a:t>
            </a:r>
            <a:endParaRPr lang="en-US" altLang="zh-CN" sz="1000" b="1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10632440" y="2299970"/>
            <a:ext cx="1240790" cy="54165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600" b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eloping</a:t>
            </a:r>
            <a:endParaRPr lang="en-US" altLang="zh-CN" sz="1600" b="1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978400" y="1146810"/>
            <a:ext cx="5879465" cy="1671955"/>
          </a:xfrm>
        </p:spPr>
        <p:txBody>
          <a:bodyPr/>
          <a:lstStyle/>
          <a:p>
            <a:pPr algn="l"/>
            <a:r>
              <a:rPr lang="en-US" altLang="zh-CN" sz="6600" dirty="0">
                <a:solidFill>
                  <a:srgbClr val="0078ED"/>
                </a:solidFill>
                <a:latin typeface="Arial Black" panose="020B0A04020102020204" pitchFamily="34" charset="0"/>
              </a:rPr>
              <a:t>Thanks</a:t>
            </a:r>
            <a:endParaRPr lang="en-US" altLang="zh-CN" sz="6600" dirty="0">
              <a:solidFill>
                <a:srgbClr val="0078ED"/>
              </a:solidFill>
              <a:latin typeface="Arial Black" panose="020B0A040201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4978400" y="3631565"/>
            <a:ext cx="6031230" cy="2708910"/>
          </a:xfrm>
        </p:spPr>
        <p:txBody>
          <a:bodyPr/>
          <a:lstStyle/>
          <a:p>
            <a:pPr algn="l"/>
            <a:r>
              <a:rPr lang="en-US" altLang="zh-CN" sz="32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Contact us</a:t>
            </a:r>
            <a:endParaRPr lang="zh-CN" altLang="en-US" sz="180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  <a:p>
            <a:pPr algn="l"/>
            <a:r>
              <a:rPr lang="en-US" altLang="zh-CN" sz="1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Website: www.hongfa.com</a:t>
            </a:r>
            <a:endParaRPr lang="zh-CN" altLang="en-US" sz="1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/>
            <a:r>
              <a:rPr lang="en-US" altLang="zh-CN" sz="1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el: 189604550106</a:t>
            </a:r>
            <a:endParaRPr lang="en-US" altLang="zh-CN" sz="1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/>
            <a:r>
              <a:rPr lang="en-US" altLang="zh-CN" sz="1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E-mail: power-product05@hongfa.com</a:t>
            </a:r>
            <a:endParaRPr lang="zh-CN" altLang="en-US" sz="1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/>
            <a:r>
              <a:rPr lang="en-US" altLang="zh-CN" sz="1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ower Relay Dept. of HQ Marketing Center</a:t>
            </a:r>
            <a:endParaRPr lang="en-US" altLang="zh-CN" sz="1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/>
            <a:r>
              <a:rPr lang="en-US" altLang="zh-CN" sz="1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Xiamen Hongfa Electroacoustic Co.,Ltd.</a:t>
            </a:r>
            <a:endParaRPr lang="en-US" altLang="zh-CN" sz="1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9" name="图片 4" descr="LOGO-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9558787" y="484188"/>
            <a:ext cx="2149475" cy="515937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7" name="图片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475" y="5133975"/>
            <a:ext cx="1441450" cy="144145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文本框 7"/>
          <p:cNvSpPr txBox="1"/>
          <p:nvPr/>
        </p:nvSpPr>
        <p:spPr>
          <a:xfrm>
            <a:off x="10403840" y="6575425"/>
            <a:ext cx="154241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1400">
                <a:solidFill>
                  <a:schemeClr val="bg1">
                    <a:lumMod val="65000"/>
                  </a:schemeClr>
                </a:solidFill>
              </a:rPr>
              <a:t>Rev.2     2211</a:t>
            </a:r>
            <a:endParaRPr lang="en-US" altLang="zh-CN" sz="140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V Systems</a:t>
            </a:r>
            <a:endParaRPr lang="en-US" altLang="zh-CN" dirty="0"/>
          </a:p>
        </p:txBody>
      </p:sp>
      <p:grpSp>
        <p:nvGrpSpPr>
          <p:cNvPr id="30" name="组合 29"/>
          <p:cNvGrpSpPr/>
          <p:nvPr/>
        </p:nvGrpSpPr>
        <p:grpSpPr>
          <a:xfrm>
            <a:off x="571500" y="1261110"/>
            <a:ext cx="10881996" cy="4880608"/>
            <a:chOff x="1919" y="1988"/>
            <a:chExt cx="13829" cy="7881"/>
          </a:xfrm>
        </p:grpSpPr>
        <p:grpSp>
          <p:nvGrpSpPr>
            <p:cNvPr id="4" name="组合 3"/>
            <p:cNvGrpSpPr/>
            <p:nvPr/>
          </p:nvGrpSpPr>
          <p:grpSpPr>
            <a:xfrm rot="0">
              <a:off x="1919" y="1988"/>
              <a:ext cx="13829" cy="7881"/>
              <a:chOff x="590894" y="1039301"/>
              <a:chExt cx="9459903" cy="5421921"/>
            </a:xfrm>
          </p:grpSpPr>
          <p:pic>
            <p:nvPicPr>
              <p:cNvPr id="10" name="图片 9"/>
              <p:cNvPicPr>
                <a:picLocks noChangeAspect="1"/>
              </p:cNvPicPr>
              <p:nvPr/>
            </p:nvPicPr>
            <p:blipFill>
              <a:blip r:embed="rId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787" r="17621"/>
              <a:stretch>
                <a:fillRect/>
              </a:stretch>
            </p:blipFill>
            <p:spPr>
              <a:xfrm>
                <a:off x="590894" y="1039301"/>
                <a:ext cx="9459903" cy="5421921"/>
              </a:xfrm>
              <a:prstGeom prst="rect">
                <a:avLst/>
              </a:prstGeom>
            </p:spPr>
          </p:pic>
          <p:sp>
            <p:nvSpPr>
              <p:cNvPr id="12" name="文本框 11"/>
              <p:cNvSpPr txBox="1"/>
              <p:nvPr/>
            </p:nvSpPr>
            <p:spPr>
              <a:xfrm>
                <a:off x="1156711" y="1193078"/>
                <a:ext cx="1109001" cy="819002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400" b="1" dirty="0">
                    <a:latin typeface="Times New Roman" panose="02020603050405020304" pitchFamily="18" charset="0"/>
                    <a:ea typeface="黑体" panose="02010609060101010101" pitchFamily="49" charset="-122"/>
                    <a:cs typeface="Times New Roman" panose="02020603050405020304" pitchFamily="18" charset="0"/>
                  </a:rPr>
                  <a:t>AC/DC</a:t>
                </a:r>
                <a:endParaRPr lang="en-US" altLang="zh-CN" sz="1400" b="1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altLang="zh-CN" sz="1400" b="1" dirty="0">
                    <a:latin typeface="Times New Roman" panose="02020603050405020304" pitchFamily="18" charset="0"/>
                    <a:ea typeface="黑体" panose="02010609060101010101" pitchFamily="49" charset="-122"/>
                    <a:cs typeface="Times New Roman" panose="02020603050405020304" pitchFamily="18" charset="0"/>
                  </a:rPr>
                  <a:t>Charging Points</a:t>
                </a:r>
                <a:endParaRPr lang="zh-CN" altLang="en-US" sz="1400" b="1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4" name="矩形 13"/>
            <p:cNvSpPr/>
            <p:nvPr/>
          </p:nvSpPr>
          <p:spPr>
            <a:xfrm>
              <a:off x="8576" y="6926"/>
              <a:ext cx="905" cy="322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矩形 14"/>
            <p:cNvSpPr/>
            <p:nvPr/>
          </p:nvSpPr>
          <p:spPr>
            <a:xfrm>
              <a:off x="11824" y="6335"/>
              <a:ext cx="1155" cy="342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5158" y="6684"/>
              <a:ext cx="2201" cy="445"/>
            </a:xfrm>
            <a:prstGeom prst="rect">
              <a:avLst/>
            </a:prstGeom>
            <a:solidFill>
              <a:srgbClr val="F6818D"/>
            </a:solidFill>
            <a:ln w="19050">
              <a:solidFill>
                <a:srgbClr val="F6818D"/>
              </a:solidFill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defRPr sz="1200" b="1"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ortable Charger</a:t>
              </a:r>
              <a:endPara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7" name="组合 16"/>
            <p:cNvGrpSpPr/>
            <p:nvPr/>
          </p:nvGrpSpPr>
          <p:grpSpPr>
            <a:xfrm rot="0">
              <a:off x="2284" y="3892"/>
              <a:ext cx="486" cy="309"/>
              <a:chOff x="397163" y="3546764"/>
              <a:chExt cx="581892" cy="387929"/>
            </a:xfrm>
          </p:grpSpPr>
          <p:grpSp>
            <p:nvGrpSpPr>
              <p:cNvPr id="18" name="组合 17"/>
              <p:cNvGrpSpPr/>
              <p:nvPr/>
            </p:nvGrpSpPr>
            <p:grpSpPr>
              <a:xfrm>
                <a:off x="397164" y="3546764"/>
                <a:ext cx="581891" cy="129310"/>
                <a:chOff x="397164" y="3546764"/>
                <a:chExt cx="581891" cy="129310"/>
              </a:xfrm>
            </p:grpSpPr>
            <p:cxnSp>
              <p:nvCxnSpPr>
                <p:cNvPr id="23" name="直接连接符 22"/>
                <p:cNvCxnSpPr/>
                <p:nvPr/>
              </p:nvCxnSpPr>
              <p:spPr>
                <a:xfrm>
                  <a:off x="397164" y="3676073"/>
                  <a:ext cx="193963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/>
                <p:nvPr/>
              </p:nvCxnSpPr>
              <p:spPr>
                <a:xfrm>
                  <a:off x="789713" y="3676073"/>
                  <a:ext cx="189342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/>
                <p:nvPr/>
              </p:nvCxnSpPr>
              <p:spPr>
                <a:xfrm flipV="1">
                  <a:off x="581891" y="3546764"/>
                  <a:ext cx="212437" cy="12931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组合 18"/>
              <p:cNvGrpSpPr/>
              <p:nvPr/>
            </p:nvGrpSpPr>
            <p:grpSpPr>
              <a:xfrm>
                <a:off x="397163" y="3805383"/>
                <a:ext cx="581891" cy="129310"/>
                <a:chOff x="397164" y="3546764"/>
                <a:chExt cx="581891" cy="129310"/>
              </a:xfrm>
            </p:grpSpPr>
            <p:cxnSp>
              <p:nvCxnSpPr>
                <p:cNvPr id="20" name="直接连接符 19"/>
                <p:cNvCxnSpPr/>
                <p:nvPr/>
              </p:nvCxnSpPr>
              <p:spPr>
                <a:xfrm>
                  <a:off x="397164" y="3676073"/>
                  <a:ext cx="193963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/>
                <p:nvPr/>
              </p:nvCxnSpPr>
              <p:spPr>
                <a:xfrm>
                  <a:off x="789713" y="3676073"/>
                  <a:ext cx="189342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/>
                <p:nvPr/>
              </p:nvCxnSpPr>
              <p:spPr>
                <a:xfrm flipV="1">
                  <a:off x="581891" y="3546764"/>
                  <a:ext cx="212437" cy="12931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433" y="4356"/>
              <a:ext cx="632" cy="730"/>
            </a:xfrm>
            <a:prstGeom prst="rect">
              <a:avLst/>
            </a:prstGeom>
          </p:spPr>
        </p:pic>
        <p:sp>
          <p:nvSpPr>
            <p:cNvPr id="5" name="矩形: 圆角 1"/>
            <p:cNvSpPr/>
            <p:nvPr/>
          </p:nvSpPr>
          <p:spPr>
            <a:xfrm>
              <a:off x="6313" y="4890"/>
              <a:ext cx="841" cy="393"/>
            </a:xfrm>
            <a:prstGeom prst="roundRect">
              <a:avLst>
                <a:gd name="adj" fmla="val 5000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电磁锁</a:t>
              </a:r>
              <a:endParaRPr lang="zh-CN" altLang="en-US" sz="1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流程图: 卡片 5"/>
            <p:cNvSpPr/>
            <p:nvPr/>
          </p:nvSpPr>
          <p:spPr>
            <a:xfrm>
              <a:off x="11708" y="7638"/>
              <a:ext cx="987" cy="546"/>
            </a:xfrm>
            <a:prstGeom prst="flowChartPunchedCard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rgbClr val="A8A8A8"/>
                </a:solidFill>
              </a:endParaRPr>
            </a:p>
          </p:txBody>
        </p:sp>
        <p:grpSp>
          <p:nvGrpSpPr>
            <p:cNvPr id="35" name="组合 34"/>
            <p:cNvGrpSpPr/>
            <p:nvPr/>
          </p:nvGrpSpPr>
          <p:grpSpPr>
            <a:xfrm rot="0">
              <a:off x="11939" y="7758"/>
              <a:ext cx="486" cy="309"/>
              <a:chOff x="397163" y="3546764"/>
              <a:chExt cx="581892" cy="387929"/>
            </a:xfrm>
          </p:grpSpPr>
          <p:grpSp>
            <p:nvGrpSpPr>
              <p:cNvPr id="36" name="组合 35"/>
              <p:cNvGrpSpPr/>
              <p:nvPr/>
            </p:nvGrpSpPr>
            <p:grpSpPr>
              <a:xfrm>
                <a:off x="397164" y="3546764"/>
                <a:ext cx="581891" cy="129310"/>
                <a:chOff x="397164" y="3546764"/>
                <a:chExt cx="581891" cy="129310"/>
              </a:xfrm>
            </p:grpSpPr>
            <p:cxnSp>
              <p:nvCxnSpPr>
                <p:cNvPr id="7" name="直接连接符 6"/>
                <p:cNvCxnSpPr/>
                <p:nvPr/>
              </p:nvCxnSpPr>
              <p:spPr>
                <a:xfrm>
                  <a:off x="397164" y="3676073"/>
                  <a:ext cx="193963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" name="直接连接符 8"/>
                <p:cNvCxnSpPr/>
                <p:nvPr/>
              </p:nvCxnSpPr>
              <p:spPr>
                <a:xfrm>
                  <a:off x="789713" y="3676073"/>
                  <a:ext cx="189342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" name="直接连接符 10"/>
                <p:cNvCxnSpPr/>
                <p:nvPr/>
              </p:nvCxnSpPr>
              <p:spPr>
                <a:xfrm flipV="1">
                  <a:off x="581891" y="3546764"/>
                  <a:ext cx="212437" cy="12931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7" name="组合 36"/>
              <p:cNvGrpSpPr/>
              <p:nvPr/>
            </p:nvGrpSpPr>
            <p:grpSpPr>
              <a:xfrm>
                <a:off x="397163" y="3805383"/>
                <a:ext cx="581891" cy="129310"/>
                <a:chOff x="397164" y="3546764"/>
                <a:chExt cx="581891" cy="129310"/>
              </a:xfrm>
            </p:grpSpPr>
            <p:cxnSp>
              <p:nvCxnSpPr>
                <p:cNvPr id="38" name="直接连接符 37"/>
                <p:cNvCxnSpPr/>
                <p:nvPr/>
              </p:nvCxnSpPr>
              <p:spPr>
                <a:xfrm>
                  <a:off x="397164" y="3676073"/>
                  <a:ext cx="193963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/>
                <p:nvPr/>
              </p:nvCxnSpPr>
              <p:spPr>
                <a:xfrm>
                  <a:off x="789713" y="3676073"/>
                  <a:ext cx="189342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/>
                <p:nvPr/>
              </p:nvCxnSpPr>
              <p:spPr>
                <a:xfrm flipV="1">
                  <a:off x="581891" y="3546764"/>
                  <a:ext cx="212437" cy="12931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7" name="文本框 26"/>
            <p:cNvSpPr txBox="1"/>
            <p:nvPr/>
          </p:nvSpPr>
          <p:spPr>
            <a:xfrm>
              <a:off x="10412" y="8414"/>
              <a:ext cx="3402" cy="728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 fontAlgn="auto">
                <a:lnSpc>
                  <a:spcPct val="130000"/>
                </a:lnSpc>
              </a:pPr>
              <a:r>
                <a:rPr lang="en-US" altLang="zh-CN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Electric System</a:t>
              </a:r>
              <a:endParaRPr lang="zh-CN" altLang="en-US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45" name="文本框 44"/>
            <p:cNvSpPr txBox="1"/>
            <p:nvPr/>
          </p:nvSpPr>
          <p:spPr>
            <a:xfrm>
              <a:off x="10951" y="2168"/>
              <a:ext cx="1939" cy="595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Power System</a:t>
              </a:r>
              <a:endParaRPr lang="zh-CN" altLang="en-US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grpSp>
          <p:nvGrpSpPr>
            <p:cNvPr id="28" name="组合 27"/>
            <p:cNvGrpSpPr/>
            <p:nvPr/>
          </p:nvGrpSpPr>
          <p:grpSpPr>
            <a:xfrm rot="0">
              <a:off x="3405" y="5599"/>
              <a:ext cx="1134" cy="396"/>
              <a:chOff x="561114" y="4789058"/>
              <a:chExt cx="1027540" cy="409722"/>
            </a:xfrm>
          </p:grpSpPr>
          <p:sp>
            <p:nvSpPr>
              <p:cNvPr id="29" name="文本框 28"/>
              <p:cNvSpPr txBox="1"/>
              <p:nvPr/>
            </p:nvSpPr>
            <p:spPr>
              <a:xfrm>
                <a:off x="561114" y="4789058"/>
                <a:ext cx="579578" cy="409722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PS</a:t>
                </a:r>
                <a:endParaRPr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46" name="组合 45"/>
              <p:cNvGrpSpPr/>
              <p:nvPr/>
            </p:nvGrpSpPr>
            <p:grpSpPr>
              <a:xfrm>
                <a:off x="1140691" y="4816765"/>
                <a:ext cx="447963" cy="212438"/>
                <a:chOff x="397163" y="3546764"/>
                <a:chExt cx="581892" cy="387929"/>
              </a:xfrm>
            </p:grpSpPr>
            <p:grpSp>
              <p:nvGrpSpPr>
                <p:cNvPr id="47" name="组合 46"/>
                <p:cNvGrpSpPr/>
                <p:nvPr/>
              </p:nvGrpSpPr>
              <p:grpSpPr>
                <a:xfrm>
                  <a:off x="397164" y="3546764"/>
                  <a:ext cx="581891" cy="129310"/>
                  <a:chOff x="397164" y="3546764"/>
                  <a:chExt cx="581891" cy="129310"/>
                </a:xfrm>
              </p:grpSpPr>
              <p:cxnSp>
                <p:nvCxnSpPr>
                  <p:cNvPr id="52" name="直接连接符 51"/>
                  <p:cNvCxnSpPr/>
                  <p:nvPr/>
                </p:nvCxnSpPr>
                <p:spPr>
                  <a:xfrm>
                    <a:off x="397164" y="3676073"/>
                    <a:ext cx="193963" cy="0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3" name="直接连接符 52"/>
                  <p:cNvCxnSpPr/>
                  <p:nvPr/>
                </p:nvCxnSpPr>
                <p:spPr>
                  <a:xfrm>
                    <a:off x="789713" y="3676073"/>
                    <a:ext cx="189342" cy="0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" name="直接连接符 53"/>
                  <p:cNvCxnSpPr/>
                  <p:nvPr/>
                </p:nvCxnSpPr>
                <p:spPr>
                  <a:xfrm flipV="1">
                    <a:off x="581891" y="3546764"/>
                    <a:ext cx="212437" cy="129310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48" name="组合 47"/>
                <p:cNvGrpSpPr/>
                <p:nvPr/>
              </p:nvGrpSpPr>
              <p:grpSpPr>
                <a:xfrm>
                  <a:off x="397163" y="3805383"/>
                  <a:ext cx="581891" cy="129310"/>
                  <a:chOff x="397164" y="3546764"/>
                  <a:chExt cx="581891" cy="129310"/>
                </a:xfrm>
              </p:grpSpPr>
              <p:cxnSp>
                <p:nvCxnSpPr>
                  <p:cNvPr id="49" name="直接连接符 48"/>
                  <p:cNvCxnSpPr/>
                  <p:nvPr/>
                </p:nvCxnSpPr>
                <p:spPr>
                  <a:xfrm>
                    <a:off x="397164" y="3676073"/>
                    <a:ext cx="193963" cy="0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0" name="直接连接符 49"/>
                  <p:cNvCxnSpPr/>
                  <p:nvPr/>
                </p:nvCxnSpPr>
                <p:spPr>
                  <a:xfrm>
                    <a:off x="789713" y="3676073"/>
                    <a:ext cx="189342" cy="0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1" name="直接连接符 50"/>
                  <p:cNvCxnSpPr/>
                  <p:nvPr/>
                </p:nvCxnSpPr>
                <p:spPr>
                  <a:xfrm flipV="1">
                    <a:off x="581891" y="3546764"/>
                    <a:ext cx="212437" cy="129310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sp>
          <p:nvSpPr>
            <p:cNvPr id="56" name="文本框 55"/>
            <p:cNvSpPr txBox="1"/>
            <p:nvPr/>
          </p:nvSpPr>
          <p:spPr>
            <a:xfrm>
              <a:off x="3143" y="8414"/>
              <a:ext cx="2588" cy="595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Charging System</a:t>
              </a:r>
              <a:endParaRPr lang="zh-CN" altLang="en-US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58" name="直接连接符 57"/>
            <p:cNvCxnSpPr/>
            <p:nvPr/>
          </p:nvCxnSpPr>
          <p:spPr>
            <a:xfrm>
              <a:off x="3148" y="3937"/>
              <a:ext cx="0" cy="247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直接连接符 58"/>
            <p:cNvCxnSpPr/>
            <p:nvPr/>
          </p:nvCxnSpPr>
          <p:spPr>
            <a:xfrm>
              <a:off x="3251" y="4317"/>
              <a:ext cx="0" cy="201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0" name="组合 59"/>
            <p:cNvGrpSpPr/>
            <p:nvPr/>
          </p:nvGrpSpPr>
          <p:grpSpPr>
            <a:xfrm rot="5400000">
              <a:off x="2961" y="6522"/>
              <a:ext cx="529" cy="155"/>
              <a:chOff x="397163" y="3546764"/>
              <a:chExt cx="581892" cy="387929"/>
            </a:xfrm>
          </p:grpSpPr>
          <p:grpSp>
            <p:nvGrpSpPr>
              <p:cNvPr id="61" name="组合 60"/>
              <p:cNvGrpSpPr/>
              <p:nvPr/>
            </p:nvGrpSpPr>
            <p:grpSpPr>
              <a:xfrm>
                <a:off x="397164" y="3546764"/>
                <a:ext cx="581891" cy="129310"/>
                <a:chOff x="397164" y="3546764"/>
                <a:chExt cx="581891" cy="129310"/>
              </a:xfrm>
            </p:grpSpPr>
            <p:cxnSp>
              <p:nvCxnSpPr>
                <p:cNvPr id="66" name="直接连接符 65"/>
                <p:cNvCxnSpPr/>
                <p:nvPr/>
              </p:nvCxnSpPr>
              <p:spPr>
                <a:xfrm>
                  <a:off x="397164" y="3676073"/>
                  <a:ext cx="193963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直接连接符 66"/>
                <p:cNvCxnSpPr/>
                <p:nvPr/>
              </p:nvCxnSpPr>
              <p:spPr>
                <a:xfrm>
                  <a:off x="789713" y="3676073"/>
                  <a:ext cx="189342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直接连接符 67"/>
                <p:cNvCxnSpPr/>
                <p:nvPr/>
              </p:nvCxnSpPr>
              <p:spPr>
                <a:xfrm flipV="1">
                  <a:off x="581891" y="3546764"/>
                  <a:ext cx="212437" cy="12931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2" name="组合 61"/>
              <p:cNvGrpSpPr/>
              <p:nvPr/>
            </p:nvGrpSpPr>
            <p:grpSpPr>
              <a:xfrm>
                <a:off x="397163" y="3805383"/>
                <a:ext cx="581891" cy="129310"/>
                <a:chOff x="397164" y="3546764"/>
                <a:chExt cx="581891" cy="129310"/>
              </a:xfrm>
            </p:grpSpPr>
            <p:cxnSp>
              <p:nvCxnSpPr>
                <p:cNvPr id="63" name="直接连接符 62"/>
                <p:cNvCxnSpPr/>
                <p:nvPr/>
              </p:nvCxnSpPr>
              <p:spPr>
                <a:xfrm>
                  <a:off x="397164" y="3676073"/>
                  <a:ext cx="193963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直接连接符 63"/>
                <p:cNvCxnSpPr/>
                <p:nvPr/>
              </p:nvCxnSpPr>
              <p:spPr>
                <a:xfrm>
                  <a:off x="789713" y="3676073"/>
                  <a:ext cx="189342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直接连接符 64"/>
                <p:cNvCxnSpPr/>
                <p:nvPr/>
              </p:nvCxnSpPr>
              <p:spPr>
                <a:xfrm flipV="1">
                  <a:off x="581891" y="3546764"/>
                  <a:ext cx="212437" cy="12931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71" name="直接连接符 70"/>
            <p:cNvCxnSpPr/>
            <p:nvPr/>
          </p:nvCxnSpPr>
          <p:spPr>
            <a:xfrm>
              <a:off x="3147" y="6864"/>
              <a:ext cx="10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直接连接符 73"/>
            <p:cNvCxnSpPr/>
            <p:nvPr/>
          </p:nvCxnSpPr>
          <p:spPr>
            <a:xfrm>
              <a:off x="3197" y="6871"/>
              <a:ext cx="0" cy="51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直接连接符 75"/>
            <p:cNvCxnSpPr/>
            <p:nvPr/>
          </p:nvCxnSpPr>
          <p:spPr>
            <a:xfrm>
              <a:off x="2832" y="7383"/>
              <a:ext cx="7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直接连接符 77"/>
            <p:cNvCxnSpPr/>
            <p:nvPr/>
          </p:nvCxnSpPr>
          <p:spPr>
            <a:xfrm flipH="1">
              <a:off x="2758" y="7383"/>
              <a:ext cx="216" cy="17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直接连接符 78"/>
            <p:cNvCxnSpPr/>
            <p:nvPr/>
          </p:nvCxnSpPr>
          <p:spPr>
            <a:xfrm flipH="1">
              <a:off x="2927" y="7391"/>
              <a:ext cx="216" cy="17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直接连接符 79"/>
            <p:cNvCxnSpPr/>
            <p:nvPr/>
          </p:nvCxnSpPr>
          <p:spPr>
            <a:xfrm flipH="1">
              <a:off x="3105" y="7383"/>
              <a:ext cx="216" cy="17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直接连接符 80"/>
            <p:cNvCxnSpPr/>
            <p:nvPr/>
          </p:nvCxnSpPr>
          <p:spPr>
            <a:xfrm flipH="1">
              <a:off x="3271" y="7391"/>
              <a:ext cx="216" cy="17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7" name="组合 106"/>
            <p:cNvGrpSpPr/>
            <p:nvPr/>
          </p:nvGrpSpPr>
          <p:grpSpPr>
            <a:xfrm rot="0">
              <a:off x="3450" y="4654"/>
              <a:ext cx="818" cy="351"/>
              <a:chOff x="10652997" y="4234912"/>
              <a:chExt cx="887098" cy="354960"/>
            </a:xfrm>
          </p:grpSpPr>
          <p:grpSp>
            <p:nvGrpSpPr>
              <p:cNvPr id="95" name="组合 94"/>
              <p:cNvGrpSpPr/>
              <p:nvPr/>
            </p:nvGrpSpPr>
            <p:grpSpPr>
              <a:xfrm>
                <a:off x="11183695" y="4234912"/>
                <a:ext cx="356400" cy="354960"/>
                <a:chOff x="11078678" y="4076378"/>
                <a:chExt cx="437596" cy="393426"/>
              </a:xfrm>
            </p:grpSpPr>
            <p:sp>
              <p:nvSpPr>
                <p:cNvPr id="83" name="流程图: 接点 82"/>
                <p:cNvSpPr/>
                <p:nvPr/>
              </p:nvSpPr>
              <p:spPr>
                <a:xfrm>
                  <a:off x="11078678" y="4076378"/>
                  <a:ext cx="437596" cy="393426"/>
                </a:xfrm>
                <a:prstGeom prst="flowChartConnector">
                  <a:avLst/>
                </a:prstGeom>
                <a:noFill/>
                <a:ln w="63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cxnSp>
              <p:nvCxnSpPr>
                <p:cNvPr id="85" name="直接连接符 84"/>
                <p:cNvCxnSpPr/>
                <p:nvPr/>
              </p:nvCxnSpPr>
              <p:spPr>
                <a:xfrm>
                  <a:off x="11287851" y="4076378"/>
                  <a:ext cx="0" cy="205278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直接连接符 85"/>
                <p:cNvCxnSpPr/>
                <p:nvPr/>
              </p:nvCxnSpPr>
              <p:spPr>
                <a:xfrm flipV="1">
                  <a:off x="11138529" y="4277423"/>
                  <a:ext cx="145089" cy="130532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直接连接符 88"/>
                <p:cNvCxnSpPr>
                  <a:endCxn id="83" idx="5"/>
                </p:cNvCxnSpPr>
                <p:nvPr/>
              </p:nvCxnSpPr>
              <p:spPr>
                <a:xfrm>
                  <a:off x="11292085" y="4273091"/>
                  <a:ext cx="160105" cy="139097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8" name="组合 97"/>
              <p:cNvGrpSpPr/>
              <p:nvPr/>
            </p:nvGrpSpPr>
            <p:grpSpPr>
              <a:xfrm>
                <a:off x="10652997" y="4293491"/>
                <a:ext cx="409414" cy="121490"/>
                <a:chOff x="397164" y="3546764"/>
                <a:chExt cx="581891" cy="129310"/>
              </a:xfrm>
            </p:grpSpPr>
            <p:cxnSp>
              <p:nvCxnSpPr>
                <p:cNvPr id="99" name="直接连接符 98"/>
                <p:cNvCxnSpPr/>
                <p:nvPr/>
              </p:nvCxnSpPr>
              <p:spPr>
                <a:xfrm>
                  <a:off x="397164" y="3676073"/>
                  <a:ext cx="193963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直接连接符 99"/>
                <p:cNvCxnSpPr/>
                <p:nvPr/>
              </p:nvCxnSpPr>
              <p:spPr>
                <a:xfrm>
                  <a:off x="789713" y="3676073"/>
                  <a:ext cx="189342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直接连接符 100"/>
                <p:cNvCxnSpPr/>
                <p:nvPr/>
              </p:nvCxnSpPr>
              <p:spPr>
                <a:xfrm flipV="1">
                  <a:off x="581891" y="3546764"/>
                  <a:ext cx="212437" cy="12931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06" name="直接连接符 105"/>
              <p:cNvCxnSpPr/>
              <p:nvPr/>
            </p:nvCxnSpPr>
            <p:spPr>
              <a:xfrm>
                <a:off x="11043072" y="4412392"/>
                <a:ext cx="28906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8" name="文本框 107"/>
            <p:cNvSpPr txBox="1"/>
            <p:nvPr/>
          </p:nvSpPr>
          <p:spPr>
            <a:xfrm>
              <a:off x="10571" y="3848"/>
              <a:ext cx="905" cy="495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BMS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10" name="直接连接符 109"/>
            <p:cNvCxnSpPr>
              <a:endCxn id="108" idx="1"/>
            </p:cNvCxnSpPr>
            <p:nvPr/>
          </p:nvCxnSpPr>
          <p:spPr>
            <a:xfrm>
              <a:off x="9670" y="4096"/>
              <a:ext cx="901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2" name="组合 121"/>
            <p:cNvGrpSpPr/>
            <p:nvPr/>
          </p:nvGrpSpPr>
          <p:grpSpPr>
            <a:xfrm rot="5400000" flipV="1">
              <a:off x="10536" y="4604"/>
              <a:ext cx="784" cy="193"/>
              <a:chOff x="397164" y="3546764"/>
              <a:chExt cx="581891" cy="129310"/>
            </a:xfrm>
          </p:grpSpPr>
          <p:cxnSp>
            <p:nvCxnSpPr>
              <p:cNvPr id="127" name="直接连接符 126"/>
              <p:cNvCxnSpPr/>
              <p:nvPr/>
            </p:nvCxnSpPr>
            <p:spPr>
              <a:xfrm>
                <a:off x="397164" y="3676073"/>
                <a:ext cx="19396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直接连接符 127"/>
              <p:cNvCxnSpPr/>
              <p:nvPr/>
            </p:nvCxnSpPr>
            <p:spPr>
              <a:xfrm>
                <a:off x="789713" y="3676073"/>
                <a:ext cx="189342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直接连接符 128"/>
              <p:cNvCxnSpPr/>
              <p:nvPr/>
            </p:nvCxnSpPr>
            <p:spPr>
              <a:xfrm flipV="1">
                <a:off x="581891" y="3546764"/>
                <a:ext cx="212437" cy="12931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组合 148"/>
            <p:cNvGrpSpPr/>
            <p:nvPr/>
          </p:nvGrpSpPr>
          <p:grpSpPr>
            <a:xfrm rot="0">
              <a:off x="9481" y="4296"/>
              <a:ext cx="1860" cy="2791"/>
              <a:chOff x="5763491" y="2596400"/>
              <a:chExt cx="1272656" cy="1920182"/>
            </a:xfrm>
          </p:grpSpPr>
          <p:cxnSp>
            <p:nvCxnSpPr>
              <p:cNvPr id="138" name="直接连接符 137"/>
              <p:cNvCxnSpPr/>
              <p:nvPr/>
            </p:nvCxnSpPr>
            <p:spPr>
              <a:xfrm>
                <a:off x="7036147" y="2596400"/>
                <a:ext cx="0" cy="1920181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直接连接符 141"/>
              <p:cNvCxnSpPr>
                <a:stCxn id="14" idx="3"/>
              </p:cNvCxnSpPr>
              <p:nvPr/>
            </p:nvCxnSpPr>
            <p:spPr>
              <a:xfrm>
                <a:off x="5763491" y="4516582"/>
                <a:ext cx="1272656" cy="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组合 154"/>
            <p:cNvGrpSpPr/>
            <p:nvPr/>
          </p:nvGrpSpPr>
          <p:grpSpPr>
            <a:xfrm rot="0">
              <a:off x="11216" y="7404"/>
              <a:ext cx="804" cy="458"/>
              <a:chOff x="10850321" y="5155471"/>
              <a:chExt cx="808279" cy="572488"/>
            </a:xfrm>
          </p:grpSpPr>
          <p:cxnSp>
            <p:nvCxnSpPr>
              <p:cNvPr id="151" name="直接连接符 150"/>
              <p:cNvCxnSpPr/>
              <p:nvPr/>
            </p:nvCxnSpPr>
            <p:spPr>
              <a:xfrm>
                <a:off x="10850321" y="5155471"/>
                <a:ext cx="0" cy="560186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直接连接符 151"/>
              <p:cNvCxnSpPr/>
              <p:nvPr/>
            </p:nvCxnSpPr>
            <p:spPr>
              <a:xfrm flipH="1" flipV="1">
                <a:off x="10850321" y="5715657"/>
                <a:ext cx="808279" cy="12302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6" name="组合 155"/>
            <p:cNvGrpSpPr/>
            <p:nvPr/>
          </p:nvGrpSpPr>
          <p:grpSpPr>
            <a:xfrm rot="0">
              <a:off x="10951" y="7404"/>
              <a:ext cx="1027" cy="664"/>
              <a:chOff x="10850321" y="5155471"/>
              <a:chExt cx="808279" cy="572488"/>
            </a:xfrm>
          </p:grpSpPr>
          <p:cxnSp>
            <p:nvCxnSpPr>
              <p:cNvPr id="157" name="直接连接符 156"/>
              <p:cNvCxnSpPr/>
              <p:nvPr/>
            </p:nvCxnSpPr>
            <p:spPr>
              <a:xfrm>
                <a:off x="10850321" y="5155471"/>
                <a:ext cx="0" cy="560186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直接连接符 157"/>
              <p:cNvCxnSpPr/>
              <p:nvPr/>
            </p:nvCxnSpPr>
            <p:spPr>
              <a:xfrm flipH="1" flipV="1">
                <a:off x="10850321" y="5715657"/>
                <a:ext cx="808279" cy="12302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Rectangle 4"/>
          <p:cNvSpPr txBox="1">
            <a:spLocks noChangeArrowheads="1"/>
          </p:cNvSpPr>
          <p:nvPr/>
        </p:nvSpPr>
        <p:spPr bwMode="auto">
          <a:xfrm>
            <a:off x="10558780" y="6492240"/>
            <a:ext cx="1151890" cy="39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ctr" anchorCtr="0" compatLnSpc="1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latin typeface="+mn-lt"/>
                <a:ea typeface="仿宋_GB2312" pitchFamily="49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en-US" altLang="zh-CN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en-US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en-US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椭圆 33"/>
          <p:cNvSpPr/>
          <p:nvPr/>
        </p:nvSpPr>
        <p:spPr>
          <a:xfrm>
            <a:off x="1364615" y="2049780"/>
            <a:ext cx="1010285" cy="1163320"/>
          </a:xfrm>
          <a:prstGeom prst="ellipse">
            <a:avLst/>
          </a:prstGeom>
          <a:noFill/>
          <a:ln w="12700" cmpd="sng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3" name="椭圆 12"/>
          <p:cNvSpPr/>
          <p:nvPr/>
        </p:nvSpPr>
        <p:spPr>
          <a:xfrm>
            <a:off x="3196590" y="3300730"/>
            <a:ext cx="1655445" cy="1301750"/>
          </a:xfrm>
          <a:prstGeom prst="ellipse">
            <a:avLst/>
          </a:prstGeom>
          <a:noFill/>
          <a:ln w="12700" cmpd="sng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1" name="椭圆 30"/>
          <p:cNvSpPr/>
          <p:nvPr/>
        </p:nvSpPr>
        <p:spPr>
          <a:xfrm>
            <a:off x="3873500" y="2947670"/>
            <a:ext cx="977900" cy="403860"/>
          </a:xfrm>
          <a:prstGeom prst="ellipse">
            <a:avLst/>
          </a:prstGeom>
          <a:noFill/>
          <a:ln w="12700" cmpd="sng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2" name="椭圆 31"/>
          <p:cNvSpPr/>
          <p:nvPr/>
        </p:nvSpPr>
        <p:spPr>
          <a:xfrm>
            <a:off x="5268595" y="3351530"/>
            <a:ext cx="1655445" cy="1301750"/>
          </a:xfrm>
          <a:prstGeom prst="ellipse">
            <a:avLst/>
          </a:prstGeom>
          <a:noFill/>
          <a:ln w="12700" cmpd="sng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3" name="椭圆 32"/>
          <p:cNvSpPr/>
          <p:nvPr/>
        </p:nvSpPr>
        <p:spPr>
          <a:xfrm>
            <a:off x="5724525" y="2233930"/>
            <a:ext cx="1198880" cy="1204595"/>
          </a:xfrm>
          <a:prstGeom prst="ellipse">
            <a:avLst/>
          </a:prstGeom>
          <a:noFill/>
          <a:ln w="12700" cmpd="sng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BC</a:t>
            </a:r>
            <a:endParaRPr lang="en-US" altLang="zh-CN" dirty="0"/>
          </a:p>
        </p:txBody>
      </p:sp>
      <p:grpSp>
        <p:nvGrpSpPr>
          <p:cNvPr id="3" name="组合 2"/>
          <p:cNvGrpSpPr/>
          <p:nvPr/>
        </p:nvGrpSpPr>
        <p:grpSpPr>
          <a:xfrm>
            <a:off x="7004050" y="3670300"/>
            <a:ext cx="4516755" cy="2635885"/>
            <a:chOff x="5835622" y="3653248"/>
            <a:chExt cx="5046219" cy="2776147"/>
          </a:xfrm>
        </p:grpSpPr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5924186" y="4104808"/>
              <a:ext cx="4957655" cy="2324587"/>
            </a:xfrm>
            <a:prstGeom prst="rect">
              <a:avLst/>
            </a:prstGeom>
          </p:spPr>
        </p:pic>
        <p:sp>
          <p:nvSpPr>
            <p:cNvPr id="4" name="矩形 3"/>
            <p:cNvSpPr/>
            <p:nvPr/>
          </p:nvSpPr>
          <p:spPr>
            <a:xfrm>
              <a:off x="5835622" y="3653248"/>
              <a:ext cx="2685925" cy="3230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400" b="1" dirty="0">
                  <a:solidFill>
                    <a:srgbClr val="33333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EC61851-1</a:t>
              </a:r>
              <a:r>
                <a:rPr lang="zh-CN" altLang="en-US" sz="1400" b="1" dirty="0">
                  <a:solidFill>
                    <a:srgbClr val="33333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1400" b="1" dirty="0">
                  <a:solidFill>
                    <a:srgbClr val="33333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7</a:t>
              </a:r>
              <a:endParaRPr lang="zh-CN" altLang="en-US" sz="1400" b="1" dirty="0"/>
            </a:p>
          </p:txBody>
        </p:sp>
      </p:grpSp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1560" y="1240155"/>
            <a:ext cx="4957445" cy="210312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10272395" y="1725930"/>
            <a:ext cx="1438275" cy="33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VDC-450VDC</a:t>
            </a:r>
            <a:endParaRPr lang="en-US" altLang="zh-CN" sz="1200" dirty="0">
              <a:solidFill>
                <a:srgbClr val="3333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6131560" y="1028700"/>
            <a:ext cx="1837055" cy="85280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HN</a:t>
            </a:r>
            <a:r>
              <a:rPr lang="zh-CN" altLang="en-US" sz="11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r>
              <a:rPr lang="en-US" altLang="zh-CN" sz="11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20 VAC</a:t>
            </a:r>
            <a:r>
              <a:rPr lang="zh-CN" altLang="en-US" sz="11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或</a:t>
            </a:r>
            <a:r>
              <a:rPr lang="en-US" altLang="zh-CN" sz="11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380 VAC</a:t>
            </a:r>
            <a:endParaRPr lang="en-US" altLang="zh-CN" sz="1100" dirty="0">
              <a:solidFill>
                <a:srgbClr val="333333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EU</a:t>
            </a:r>
            <a:r>
              <a:rPr lang="zh-CN" altLang="en-US" sz="11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r>
              <a:rPr lang="en-US" altLang="zh-CN" sz="11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30 VAC</a:t>
            </a:r>
            <a:r>
              <a:rPr lang="zh-CN" altLang="en-US" sz="11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或 </a:t>
            </a:r>
            <a:r>
              <a:rPr lang="en-US" altLang="zh-CN" sz="11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400 VAC</a:t>
            </a:r>
            <a:endParaRPr lang="en-US" altLang="zh-CN" sz="1100" dirty="0">
              <a:solidFill>
                <a:srgbClr val="333333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US</a:t>
            </a:r>
            <a:r>
              <a:rPr lang="zh-CN" altLang="en-US" sz="11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r>
              <a:rPr lang="en-US" altLang="zh-CN" sz="11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120 VAC</a:t>
            </a:r>
            <a:r>
              <a:rPr lang="zh-CN" altLang="en-US" sz="11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或 </a:t>
            </a:r>
            <a:r>
              <a:rPr lang="en-US" altLang="zh-CN" sz="11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40 VAC</a:t>
            </a:r>
            <a:endParaRPr lang="en-US" altLang="zh-CN" sz="1100" dirty="0">
              <a:solidFill>
                <a:srgbClr val="333333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671830" y="1051560"/>
            <a:ext cx="5318760" cy="829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altLang="zh-CN" sz="1600" b="1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C-DC converter consist of </a:t>
            </a:r>
            <a:endParaRPr lang="en-US" altLang="zh-CN" sz="1600" b="1" dirty="0">
              <a:solidFill>
                <a:srgbClr val="3333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lnSpc>
                <a:spcPct val="150000"/>
              </a:lnSpc>
            </a:pPr>
            <a:r>
              <a:rPr lang="en-US" altLang="zh-CN" sz="16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PFC</a:t>
            </a:r>
            <a:r>
              <a:rPr lang="zh-CN" altLang="en-US" sz="16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 </a:t>
            </a:r>
            <a:r>
              <a:rPr lang="en-US" altLang="zh-CN" sz="16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 DC-DC</a:t>
            </a:r>
            <a:endParaRPr lang="zh-CN" altLang="en-US" sz="1600" dirty="0">
              <a:solidFill>
                <a:srgbClr val="3333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 bwMode="auto">
          <a:xfrm>
            <a:off x="10558780" y="6492240"/>
            <a:ext cx="1151890" cy="39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ctr" anchorCtr="0" compatLnSpc="1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latin typeface="+mn-lt"/>
                <a:ea typeface="仿宋_GB2312" pitchFamily="49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en-US" altLang="zh-CN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en-US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en-US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5" name="直接连接符 14"/>
          <p:cNvCxnSpPr/>
          <p:nvPr/>
        </p:nvCxnSpPr>
        <p:spPr>
          <a:xfrm flipV="1">
            <a:off x="4657090" y="2341245"/>
            <a:ext cx="2827020" cy="516890"/>
          </a:xfrm>
          <a:prstGeom prst="line">
            <a:avLst/>
          </a:prstGeom>
          <a:ln w="19050">
            <a:solidFill>
              <a:srgbClr val="5DBA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图片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8080" y="2854325"/>
            <a:ext cx="2443480" cy="1443355"/>
          </a:xfrm>
          <a:prstGeom prst="rect">
            <a:avLst/>
          </a:prstGeom>
        </p:spPr>
      </p:pic>
      <p:grpSp>
        <p:nvGrpSpPr>
          <p:cNvPr id="14" name="组合 13"/>
          <p:cNvGrpSpPr/>
          <p:nvPr/>
        </p:nvGrpSpPr>
        <p:grpSpPr>
          <a:xfrm>
            <a:off x="669925" y="2061845"/>
            <a:ext cx="5672913" cy="4027194"/>
            <a:chOff x="1208" y="4056"/>
            <a:chExt cx="8174" cy="5375"/>
          </a:xfrm>
        </p:grpSpPr>
        <p:sp>
          <p:nvSpPr>
            <p:cNvPr id="21" name="文本框 20"/>
            <p:cNvSpPr txBox="1">
              <a:spLocks noChangeArrowheads="1"/>
            </p:cNvSpPr>
            <p:nvPr/>
          </p:nvSpPr>
          <p:spPr bwMode="auto">
            <a:xfrm>
              <a:off x="1208" y="7461"/>
              <a:ext cx="8174" cy="1970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9pPr>
            </a:lstStyle>
            <a:p>
              <a:pPr>
                <a:lnSpc>
                  <a:spcPct val="150000"/>
                </a:lnSpc>
                <a:defRPr/>
              </a:pPr>
              <a:r>
                <a:rPr lang="en-US" altLang="zh-CN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Recommended</a:t>
              </a:r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</a:t>
              </a:r>
              <a:r>
                <a:rPr lang="en-US" altLang="zh-CN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-T</a:t>
              </a:r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05</a:t>
              </a:r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℃）</a:t>
              </a:r>
              <a:endPara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  <a:defRPr/>
              </a:pPr>
              <a:r>
                <a:rPr lang="zh-CN" altLang="en-US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≤</a:t>
              </a:r>
              <a:r>
                <a:rPr lang="en-US" altLang="zh-CN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16A</a:t>
              </a:r>
              <a:r>
                <a:rPr lang="zh-CN" altLang="en-US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：</a:t>
              </a:r>
              <a:r>
                <a:rPr lang="en-US" altLang="zh-CN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HF115F/K-T</a:t>
              </a:r>
              <a:r>
                <a:rPr lang="zh-CN" altLang="en-US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，</a:t>
              </a:r>
              <a:r>
                <a:rPr lang="en-US" altLang="zh-CN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HF152F/D-T</a:t>
              </a:r>
              <a:endParaRPr lang="en-US" altLang="zh-CN" sz="1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altLang="zh-CN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32A</a:t>
              </a:r>
              <a:r>
                <a:rPr lang="zh-CN" altLang="en-US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：</a:t>
              </a:r>
              <a:r>
                <a:rPr lang="en-US" altLang="zh-CN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 HF178F/-T</a:t>
              </a:r>
              <a:r>
                <a:rPr lang="zh-CN" altLang="en-US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，</a:t>
              </a:r>
              <a:r>
                <a:rPr lang="en-US" altLang="zh-CN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HF165F-50</a:t>
              </a:r>
              <a:r>
                <a:rPr lang="zh-CN" altLang="en-US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（</a:t>
              </a:r>
              <a:r>
                <a:rPr lang="en-US" altLang="zh-CN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105</a:t>
              </a:r>
              <a:r>
                <a:rPr lang="zh-CN" altLang="en-US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℃）</a:t>
              </a:r>
              <a:endParaRPr lang="en-US" altLang="zh-CN" sz="1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  <a:defRPr/>
              </a:pPr>
              <a:r>
                <a:rPr lang="zh-CN" altLang="en-US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＞</a:t>
              </a:r>
              <a:r>
                <a:rPr lang="en-US" altLang="zh-CN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60A: HF176F,HF186F</a:t>
              </a:r>
              <a:r>
                <a:rPr lang="zh-CN" altLang="en-US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（</a:t>
              </a:r>
              <a:r>
                <a:rPr lang="en-US" altLang="zh-CN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105</a:t>
              </a:r>
              <a:r>
                <a:rPr lang="zh-CN" altLang="en-US" sz="14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℃）</a:t>
              </a:r>
              <a:r>
                <a:rPr lang="en-US" altLang="zh-CN" sz="1600" dirty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 </a:t>
              </a:r>
              <a:endParaRPr lang="zh-CN" altLang="en-US" sz="16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1211" y="4056"/>
              <a:ext cx="8144" cy="3219"/>
            </a:xfrm>
            <a:prstGeom prst="rect">
              <a:avLst/>
            </a:prstGeom>
            <a:ln w="28575">
              <a:solidFill>
                <a:srgbClr val="FF0000"/>
              </a:solidFill>
            </a:ln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600" b="1" dirty="0">
                  <a:solidFill>
                    <a:srgbClr val="33333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quirements</a:t>
              </a:r>
              <a:endParaRPr lang="en-US" altLang="zh-CN" sz="1600" b="1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rgbClr val="333333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IEC61851-1</a:t>
              </a:r>
              <a:r>
                <a:rPr lang="zh-CN" altLang="en-US" sz="1400" dirty="0">
                  <a:solidFill>
                    <a:srgbClr val="333333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，</a:t>
              </a:r>
              <a:r>
                <a:rPr lang="en-US" altLang="zh-CN" sz="1400" dirty="0">
                  <a:solidFill>
                    <a:srgbClr val="333333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GB/T18487.1</a:t>
              </a:r>
              <a:endParaRPr lang="en-US" altLang="zh-CN" sz="14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rgbClr val="333333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50000</a:t>
              </a:r>
              <a:r>
                <a:rPr lang="zh-CN" altLang="en-US" sz="1400" dirty="0">
                  <a:solidFill>
                    <a:srgbClr val="333333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srgbClr val="333333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cycles, before rectification</a:t>
              </a:r>
              <a:endParaRPr lang="en-US" altLang="zh-CN" sz="14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rgbClr val="333333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230A 100μs inrush</a:t>
              </a:r>
              <a:endParaRPr lang="en-US" altLang="zh-CN" sz="14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rgbClr val="333333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Long</a:t>
              </a:r>
              <a:r>
                <a:rPr lang="zh-CN" altLang="en-US" sz="1400" dirty="0">
                  <a:solidFill>
                    <a:srgbClr val="333333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srgbClr val="333333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time</a:t>
              </a:r>
              <a:r>
                <a:rPr lang="zh-CN" altLang="en-US" sz="1400" dirty="0">
                  <a:solidFill>
                    <a:srgbClr val="333333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srgbClr val="333333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carrying</a:t>
              </a:r>
              <a:endParaRPr lang="en-US" altLang="zh-CN" sz="14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rgbClr val="333333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ambient temperature 85</a:t>
              </a:r>
              <a:r>
                <a:rPr lang="zh-CN" altLang="en-US" sz="1400" dirty="0">
                  <a:solidFill>
                    <a:srgbClr val="333333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℃</a:t>
              </a:r>
              <a:r>
                <a:rPr lang="en-US" altLang="zh-CN" sz="1400" dirty="0">
                  <a:solidFill>
                    <a:srgbClr val="333333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~105</a:t>
              </a:r>
              <a:r>
                <a:rPr lang="zh-CN" altLang="en-US" sz="1400" dirty="0">
                  <a:solidFill>
                    <a:srgbClr val="333333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℃</a:t>
              </a:r>
              <a:endParaRPr lang="en-US" altLang="zh-CN" sz="14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</p:grpSp>
      <p:cxnSp>
        <p:nvCxnSpPr>
          <p:cNvPr id="12" name="直接箭头连接符 11"/>
          <p:cNvCxnSpPr/>
          <p:nvPr/>
        </p:nvCxnSpPr>
        <p:spPr>
          <a:xfrm>
            <a:off x="3292475" y="1822450"/>
            <a:ext cx="3684905" cy="147320"/>
          </a:xfrm>
          <a:prstGeom prst="straightConnector1">
            <a:avLst/>
          </a:prstGeom>
          <a:ln w="31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OBC</a:t>
            </a:r>
            <a:endParaRPr lang="en-US" altLang="zh-CN" dirty="0"/>
          </a:p>
        </p:txBody>
      </p:sp>
      <p:grpSp>
        <p:nvGrpSpPr>
          <p:cNvPr id="27" name="组合 26"/>
          <p:cNvGrpSpPr/>
          <p:nvPr/>
        </p:nvGrpSpPr>
        <p:grpSpPr>
          <a:xfrm>
            <a:off x="669849" y="3413200"/>
            <a:ext cx="4370088" cy="2814532"/>
            <a:chOff x="104844" y="1340934"/>
            <a:chExt cx="4370088" cy="2814532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104844" y="1371602"/>
              <a:ext cx="4370088" cy="2736437"/>
            </a:xfrm>
            <a:prstGeom prst="rect">
              <a:avLst/>
            </a:prstGeom>
          </p:spPr>
        </p:pic>
        <p:sp>
          <p:nvSpPr>
            <p:cNvPr id="4" name="文本框 3"/>
            <p:cNvSpPr txBox="1"/>
            <p:nvPr/>
          </p:nvSpPr>
          <p:spPr>
            <a:xfrm>
              <a:off x="1786466" y="1710266"/>
              <a:ext cx="4126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dirty="0"/>
                <a:t>❶</a:t>
              </a:r>
              <a:endParaRPr lang="zh-CN" altLang="en-US" dirty="0"/>
            </a:p>
          </p:txBody>
        </p:sp>
        <p:sp>
          <p:nvSpPr>
            <p:cNvPr id="5" name="文本框 4"/>
            <p:cNvSpPr txBox="1"/>
            <p:nvPr/>
          </p:nvSpPr>
          <p:spPr>
            <a:xfrm>
              <a:off x="2083538" y="3786134"/>
              <a:ext cx="4126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dirty="0"/>
                <a:t>❶</a:t>
              </a:r>
              <a:endParaRPr lang="zh-CN" altLang="en-US" dirty="0"/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2990006" y="3324469"/>
              <a:ext cx="6011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dirty="0"/>
                <a:t>❹</a:t>
              </a:r>
              <a:endParaRPr lang="zh-CN" altLang="en-US" dirty="0"/>
            </a:p>
          </p:txBody>
        </p:sp>
        <p:sp>
          <p:nvSpPr>
            <p:cNvPr id="14" name="矩形 13"/>
            <p:cNvSpPr/>
            <p:nvPr/>
          </p:nvSpPr>
          <p:spPr>
            <a:xfrm>
              <a:off x="1786466" y="2539820"/>
              <a:ext cx="415498" cy="369332"/>
            </a:xfrm>
            <a:prstGeom prst="rect">
              <a:avLst/>
            </a:prstGeom>
          </p:spPr>
          <p:txBody>
            <a:bodyPr wrap="none">
              <a:spAutoFit/>
            </a:bodyPr>
            <a:p>
              <a:r>
                <a:rPr lang="zh-CN" altLang="en-US" dirty="0"/>
                <a:t>❷</a:t>
              </a:r>
              <a:endParaRPr lang="zh-CN" altLang="en-US" dirty="0"/>
            </a:p>
          </p:txBody>
        </p:sp>
        <p:sp>
          <p:nvSpPr>
            <p:cNvPr id="15" name="矩形 14"/>
            <p:cNvSpPr/>
            <p:nvPr/>
          </p:nvSpPr>
          <p:spPr>
            <a:xfrm>
              <a:off x="1783667" y="3247816"/>
              <a:ext cx="415498" cy="369332"/>
            </a:xfrm>
            <a:prstGeom prst="rect">
              <a:avLst/>
            </a:prstGeom>
          </p:spPr>
          <p:txBody>
            <a:bodyPr wrap="none">
              <a:spAutoFit/>
            </a:bodyPr>
            <a:p>
              <a:r>
                <a:rPr lang="zh-CN" altLang="en-US" dirty="0"/>
                <a:t>❷</a:t>
              </a:r>
              <a:endParaRPr lang="zh-CN" altLang="en-US" dirty="0"/>
            </a:p>
          </p:txBody>
        </p:sp>
        <p:sp>
          <p:nvSpPr>
            <p:cNvPr id="16" name="矩形 15"/>
            <p:cNvSpPr/>
            <p:nvPr/>
          </p:nvSpPr>
          <p:spPr>
            <a:xfrm>
              <a:off x="801269" y="1340934"/>
              <a:ext cx="415498" cy="369332"/>
            </a:xfrm>
            <a:prstGeom prst="rect">
              <a:avLst/>
            </a:prstGeom>
          </p:spPr>
          <p:txBody>
            <a:bodyPr wrap="none">
              <a:spAutoFit/>
            </a:bodyPr>
            <a:p>
              <a:r>
                <a:rPr lang="zh-CN" altLang="en-US" dirty="0"/>
                <a:t>❸</a:t>
              </a:r>
              <a:endParaRPr lang="zh-CN" altLang="en-US" dirty="0"/>
            </a:p>
          </p:txBody>
        </p:sp>
        <p:sp>
          <p:nvSpPr>
            <p:cNvPr id="18" name="矩形 17"/>
            <p:cNvSpPr/>
            <p:nvPr/>
          </p:nvSpPr>
          <p:spPr>
            <a:xfrm>
              <a:off x="810504" y="2079598"/>
              <a:ext cx="415498" cy="369332"/>
            </a:xfrm>
            <a:prstGeom prst="rect">
              <a:avLst/>
            </a:prstGeom>
          </p:spPr>
          <p:txBody>
            <a:bodyPr wrap="none">
              <a:spAutoFit/>
            </a:bodyPr>
            <a:p>
              <a:r>
                <a:rPr lang="zh-CN" altLang="en-US" dirty="0"/>
                <a:t>❸</a:t>
              </a:r>
              <a:endParaRPr lang="zh-CN" altLang="en-US" dirty="0"/>
            </a:p>
          </p:txBody>
        </p:sp>
        <p:sp>
          <p:nvSpPr>
            <p:cNvPr id="19" name="矩形 18"/>
            <p:cNvSpPr/>
            <p:nvPr/>
          </p:nvSpPr>
          <p:spPr>
            <a:xfrm>
              <a:off x="793571" y="2909152"/>
              <a:ext cx="415498" cy="369332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r>
                <a:rPr lang="zh-CN" altLang="en-US" dirty="0"/>
                <a:t>❸</a:t>
              </a:r>
              <a:endParaRPr lang="zh-CN" altLang="en-US" dirty="0"/>
            </a:p>
          </p:txBody>
        </p:sp>
        <p:sp>
          <p:nvSpPr>
            <p:cNvPr id="20" name="矩形 19"/>
            <p:cNvSpPr/>
            <p:nvPr/>
          </p:nvSpPr>
          <p:spPr>
            <a:xfrm>
              <a:off x="3011293" y="1629397"/>
              <a:ext cx="415498" cy="369332"/>
            </a:xfrm>
            <a:prstGeom prst="rect">
              <a:avLst/>
            </a:prstGeom>
          </p:spPr>
          <p:txBody>
            <a:bodyPr wrap="none">
              <a:spAutoFit/>
            </a:bodyPr>
            <a:p>
              <a:r>
                <a:rPr lang="zh-CN" altLang="en-US" dirty="0"/>
                <a:t>❹</a:t>
              </a:r>
              <a:endParaRPr lang="zh-CN" altLang="en-US" dirty="0"/>
            </a:p>
          </p:txBody>
        </p:sp>
        <p:sp>
          <p:nvSpPr>
            <p:cNvPr id="21" name="矩形 20"/>
            <p:cNvSpPr/>
            <p:nvPr/>
          </p:nvSpPr>
          <p:spPr>
            <a:xfrm>
              <a:off x="3592420" y="1894932"/>
              <a:ext cx="415498" cy="369332"/>
            </a:xfrm>
            <a:prstGeom prst="rect">
              <a:avLst/>
            </a:prstGeom>
          </p:spPr>
          <p:txBody>
            <a:bodyPr wrap="none">
              <a:spAutoFit/>
            </a:bodyPr>
            <a:p>
              <a:r>
                <a:rPr lang="zh-CN" altLang="en-US" dirty="0"/>
                <a:t>❹</a:t>
              </a:r>
              <a:endParaRPr lang="zh-CN" altLang="en-US" dirty="0"/>
            </a:p>
          </p:txBody>
        </p:sp>
      </p:grpSp>
      <p:grpSp>
        <p:nvGrpSpPr>
          <p:cNvPr id="32" name="组合 31"/>
          <p:cNvGrpSpPr/>
          <p:nvPr/>
        </p:nvGrpSpPr>
        <p:grpSpPr>
          <a:xfrm rot="0">
            <a:off x="7116445" y="1863722"/>
            <a:ext cx="4437380" cy="1430020"/>
            <a:chOff x="4679015" y="939447"/>
            <a:chExt cx="4437084" cy="1429573"/>
          </a:xfrm>
        </p:grpSpPr>
        <p:sp>
          <p:nvSpPr>
            <p:cNvPr id="23" name="文本框 22"/>
            <p:cNvSpPr txBox="1"/>
            <p:nvPr/>
          </p:nvSpPr>
          <p:spPr>
            <a:xfrm>
              <a:off x="4679015" y="1046769"/>
              <a:ext cx="4126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dirty="0"/>
                <a:t>❶</a:t>
              </a:r>
              <a:endParaRPr lang="zh-CN" altLang="en-US" dirty="0"/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5124120" y="939447"/>
              <a:ext cx="3991979" cy="14295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fontAlgn="auto">
                <a:lnSpc>
                  <a:spcPct val="150000"/>
                </a:lnSpc>
              </a:pPr>
              <a:r>
                <a:rPr lang="en-US" altLang="zh-CN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ingle phase input</a:t>
              </a:r>
              <a:endPara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HF186F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：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55A @105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℃</a:t>
              </a:r>
              <a:endPara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HF161F-40W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：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40A @105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℃</a:t>
              </a:r>
              <a:endPara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HF189F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：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48A @85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℃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with auxiliary contact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3" name="组合 32"/>
          <p:cNvGrpSpPr/>
          <p:nvPr/>
        </p:nvGrpSpPr>
        <p:grpSpPr>
          <a:xfrm rot="0">
            <a:off x="7113905" y="3227073"/>
            <a:ext cx="4439920" cy="1430020"/>
            <a:chOff x="4687505" y="2634732"/>
            <a:chExt cx="4439816" cy="1429573"/>
          </a:xfrm>
        </p:grpSpPr>
        <p:sp>
          <p:nvSpPr>
            <p:cNvPr id="24" name="矩形 23"/>
            <p:cNvSpPr/>
            <p:nvPr/>
          </p:nvSpPr>
          <p:spPr>
            <a:xfrm>
              <a:off x="4687505" y="2732759"/>
              <a:ext cx="415498" cy="369332"/>
            </a:xfrm>
            <a:prstGeom prst="rect">
              <a:avLst/>
            </a:prstGeom>
          </p:spPr>
          <p:txBody>
            <a:bodyPr wrap="none">
              <a:spAutoFit/>
            </a:bodyPr>
            <a:p>
              <a:r>
                <a:rPr lang="zh-CN" altLang="en-US" dirty="0"/>
                <a:t>❷</a:t>
              </a:r>
              <a:endParaRPr lang="zh-CN" altLang="en-US" dirty="0"/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5102831" y="2634732"/>
              <a:ext cx="4024490" cy="14295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fontAlgn="auto">
                <a:lnSpc>
                  <a:spcPct val="150000"/>
                </a:lnSpc>
              </a:pPr>
              <a:r>
                <a:rPr lang="en-US" altLang="zh-CN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3 phase input</a:t>
              </a:r>
              <a:endPara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HF161F-40W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：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40A @105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℃</a:t>
              </a:r>
              <a:endPara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HF179F-W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：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32A @105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℃</a:t>
              </a:r>
              <a:endPara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HF190F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：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32A @85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℃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with auxiliary contact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5" name="组合 34"/>
          <p:cNvGrpSpPr/>
          <p:nvPr/>
        </p:nvGrpSpPr>
        <p:grpSpPr>
          <a:xfrm rot="0">
            <a:off x="7113905" y="4588506"/>
            <a:ext cx="4439920" cy="783590"/>
            <a:chOff x="4706976" y="3558807"/>
            <a:chExt cx="4439706" cy="783560"/>
          </a:xfrm>
        </p:grpSpPr>
        <p:sp>
          <p:nvSpPr>
            <p:cNvPr id="25" name="矩形 24"/>
            <p:cNvSpPr/>
            <p:nvPr/>
          </p:nvSpPr>
          <p:spPr>
            <a:xfrm>
              <a:off x="4706976" y="3668039"/>
              <a:ext cx="415498" cy="369332"/>
            </a:xfrm>
            <a:prstGeom prst="rect">
              <a:avLst/>
            </a:prstGeom>
          </p:spPr>
          <p:txBody>
            <a:bodyPr wrap="none">
              <a:spAutoFit/>
            </a:bodyPr>
            <a:p>
              <a:r>
                <a:rPr lang="zh-CN" altLang="en-US" dirty="0"/>
                <a:t>❸</a:t>
              </a:r>
              <a:endParaRPr lang="zh-CN" altLang="en-US" dirty="0"/>
            </a:p>
          </p:txBody>
        </p:sp>
        <p:sp>
          <p:nvSpPr>
            <p:cNvPr id="34" name="文本框 33"/>
            <p:cNvSpPr txBox="1"/>
            <p:nvPr/>
          </p:nvSpPr>
          <p:spPr>
            <a:xfrm>
              <a:off x="5122192" y="3558807"/>
              <a:ext cx="4024490" cy="783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fontAlgn="auto">
                <a:lnSpc>
                  <a:spcPct val="150000"/>
                </a:lnSpc>
              </a:pPr>
              <a:r>
                <a:rPr lang="en-US" altLang="zh-CN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re-charge</a:t>
              </a:r>
              <a:endPara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HF179F-W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：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32A @105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℃</a:t>
              </a:r>
              <a:endPara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 rot="0">
            <a:off x="7113905" y="5280026"/>
            <a:ext cx="4439920" cy="1106805"/>
            <a:chOff x="4704436" y="3923838"/>
            <a:chExt cx="4439706" cy="1107043"/>
          </a:xfrm>
        </p:grpSpPr>
        <p:sp>
          <p:nvSpPr>
            <p:cNvPr id="26" name="矩形 25"/>
            <p:cNvSpPr/>
            <p:nvPr/>
          </p:nvSpPr>
          <p:spPr>
            <a:xfrm>
              <a:off x="4704436" y="4052626"/>
              <a:ext cx="415498" cy="369332"/>
            </a:xfrm>
            <a:prstGeom prst="rect">
              <a:avLst/>
            </a:prstGeom>
          </p:spPr>
          <p:txBody>
            <a:bodyPr wrap="none">
              <a:spAutoFit/>
            </a:bodyPr>
            <a:p>
              <a:r>
                <a:rPr lang="zh-CN" altLang="en-US" dirty="0"/>
                <a:t>❹</a:t>
              </a:r>
              <a:endParaRPr lang="zh-CN" altLang="en-US" dirty="0"/>
            </a:p>
          </p:txBody>
        </p:sp>
        <p:sp>
          <p:nvSpPr>
            <p:cNvPr id="36" name="文本框 35"/>
            <p:cNvSpPr txBox="1"/>
            <p:nvPr/>
          </p:nvSpPr>
          <p:spPr>
            <a:xfrm>
              <a:off x="5119652" y="3923838"/>
              <a:ext cx="4024490" cy="11070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fontAlgn="auto">
                <a:lnSpc>
                  <a:spcPct val="150000"/>
                </a:lnSpc>
              </a:pPr>
              <a:r>
                <a:rPr lang="en-US" altLang="zh-CN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ines switching</a:t>
              </a:r>
              <a:endPara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HF179F-W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：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6/32/16A 600VAC @105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℃</a:t>
              </a:r>
              <a:endPara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HF190F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：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32A @85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℃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with auxiliary contact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630843" y="1028819"/>
            <a:ext cx="3851564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 fontAlgn="auto">
              <a:lnSpc>
                <a:spcPct val="150000"/>
              </a:lnSpc>
              <a:buNone/>
            </a:pPr>
            <a:r>
              <a:rPr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ultifunction-</a:t>
            </a:r>
            <a:r>
              <a:rPr lang="en-US" altLang="zh-CN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V2X</a:t>
            </a:r>
            <a:endParaRPr lang="en-US" altLang="zh-CN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fontAlgn="auto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ingle/3</a:t>
            </a:r>
            <a:r>
              <a:rPr lang="zh-CN" alt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hase</a:t>
            </a:r>
            <a:r>
              <a:rPr lang="zh-CN" alt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arging</a:t>
            </a:r>
            <a:endParaRPr lang="en-US" altLang="zh-C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fontAlgn="auto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hicle to Grid</a:t>
            </a:r>
            <a:endParaRPr lang="en-US" altLang="zh-C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fontAlgn="auto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hicle to Vehicle</a:t>
            </a:r>
            <a:endParaRPr lang="en-US" altLang="zh-C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fontAlgn="auto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hicle to Load</a:t>
            </a:r>
            <a:endParaRPr lang="en-US" altLang="zh-C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ectangle 4"/>
          <p:cNvSpPr txBox="1">
            <a:spLocks noChangeArrowheads="1"/>
          </p:cNvSpPr>
          <p:nvPr/>
        </p:nvSpPr>
        <p:spPr bwMode="auto">
          <a:xfrm>
            <a:off x="10558780" y="6492240"/>
            <a:ext cx="1151890" cy="39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ctr" anchorCtr="0" compatLnSpc="1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latin typeface="+mn-lt"/>
                <a:ea typeface="仿宋_GB2312" pitchFamily="49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en-US" altLang="zh-CN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en-US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lang="en-US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116445" y="1269365"/>
            <a:ext cx="187579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 fontAlgn="auto">
              <a:lnSpc>
                <a:spcPct val="120000"/>
              </a:lnSpc>
            </a:pPr>
            <a:r>
              <a:rPr lang="zh-CN" altLang="en-US" sz="2000" b="1">
                <a:latin typeface="Times New Roman" panose="02020603050405020304" pitchFamily="18" charset="0"/>
                <a:cs typeface="Times New Roman" panose="02020603050405020304" pitchFamily="18" charset="0"/>
              </a:rPr>
              <a:t>Recommended</a:t>
            </a:r>
            <a:r>
              <a:rPr lang="en-US" altLang="zh-CN" sz="2000" b="1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en-US" altLang="zh-CN" sz="20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右箭头 10"/>
          <p:cNvSpPr/>
          <p:nvPr/>
        </p:nvSpPr>
        <p:spPr>
          <a:xfrm>
            <a:off x="5544820" y="3413125"/>
            <a:ext cx="755015" cy="5003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Portable Charger for Mode 2</a:t>
            </a:r>
            <a:endParaRPr lang="en-US" altLang="zh-CN" dirty="0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045298" y="4697016"/>
            <a:ext cx="3427602" cy="1791639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80" y="1214120"/>
            <a:ext cx="2172335" cy="182943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398780" y="4827905"/>
            <a:ext cx="1885315" cy="15297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171450" indent="-171450">
              <a:lnSpc>
                <a:spcPct val="130000"/>
              </a:lnSpc>
              <a:buFont typeface="Wingdings" panose="05000000000000000000" charset="0"/>
              <a:buChar char="n"/>
            </a:pP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IEC 62752:5.3.2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2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I</a:t>
            </a:r>
            <a:r>
              <a:rPr lang="zh-CN" altLang="en-US" sz="12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≤</a:t>
            </a:r>
            <a:r>
              <a:rPr lang="en-US" altLang="zh-CN" sz="12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32A</a:t>
            </a:r>
            <a:endParaRPr lang="en-US" altLang="zh-CN" sz="12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2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ngle Phase</a:t>
            </a:r>
            <a:endParaRPr lang="en-US" altLang="zh-CN" sz="12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    U~120/230VAC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2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Three Phase</a:t>
            </a:r>
            <a:endParaRPr lang="en-US" altLang="zh-CN" sz="12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    U~240/400/480</a:t>
            </a:r>
            <a:r>
              <a:rPr lang="zh-CN" altLang="en-US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VAC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2656408" y="2318998"/>
            <a:ext cx="1294379" cy="30670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p>
            <a:pPr algn="ctr"/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unction Box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2045335" y="1028700"/>
            <a:ext cx="4199255" cy="1030605"/>
          </a:xfrm>
          <a:prstGeom prst="rect">
            <a:avLst/>
          </a:prstGeom>
        </p:spPr>
        <p:txBody>
          <a:bodyPr wrap="square">
            <a:spAutoFit/>
          </a:bodyPr>
          <a:p>
            <a:pPr indent="0" fontAlgn="auto">
              <a:lnSpc>
                <a:spcPct val="130000"/>
              </a:lnSpc>
            </a:pPr>
            <a:r>
              <a:rPr lang="en-US" altLang="zh-CN" sz="14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In-Cable Control and Protective Device for Mode2</a:t>
            </a:r>
            <a:endParaRPr lang="en-US" altLang="zh-CN" sz="14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0" fontAlgn="auto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ntrol pilot function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0" fontAlgn="auto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Residual current function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0" fontAlgn="auto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</a:t>
            </a:r>
            <a:r>
              <a:rPr lang="en-US" altLang="zh-CN" sz="1100" dirty="0"/>
              <a:t>witching device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4" name="直接箭头连接符 23"/>
          <p:cNvCxnSpPr/>
          <p:nvPr/>
        </p:nvCxnSpPr>
        <p:spPr>
          <a:xfrm flipH="1">
            <a:off x="1882140" y="2499995"/>
            <a:ext cx="774065" cy="109855"/>
          </a:xfrm>
          <a:prstGeom prst="straightConnector1">
            <a:avLst/>
          </a:prstGeom>
          <a:ln w="38100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组合 5"/>
          <p:cNvGrpSpPr/>
          <p:nvPr/>
        </p:nvGrpSpPr>
        <p:grpSpPr>
          <a:xfrm>
            <a:off x="2020570" y="3657600"/>
            <a:ext cx="3958590" cy="887730"/>
            <a:chOff x="3361" y="5442"/>
            <a:chExt cx="6234" cy="1398"/>
          </a:xfrm>
        </p:grpSpPr>
        <p:pic>
          <p:nvPicPr>
            <p:cNvPr id="29" name="图片 2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61" y="5442"/>
              <a:ext cx="6234" cy="1399"/>
            </a:xfrm>
            <a:prstGeom prst="rect">
              <a:avLst/>
            </a:prstGeom>
          </p:spPr>
        </p:pic>
        <p:sp>
          <p:nvSpPr>
            <p:cNvPr id="31" name="矩形 30"/>
            <p:cNvSpPr/>
            <p:nvPr/>
          </p:nvSpPr>
          <p:spPr>
            <a:xfrm>
              <a:off x="7493" y="6506"/>
              <a:ext cx="1787" cy="283"/>
            </a:xfrm>
            <a:prstGeom prst="rect">
              <a:avLst/>
            </a:prstGeom>
            <a:noFill/>
            <a:ln w="127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dirty="0"/>
            </a:p>
          </p:txBody>
        </p:sp>
      </p:grpSp>
      <p:sp>
        <p:nvSpPr>
          <p:cNvPr id="35" name="矩形 34"/>
          <p:cNvSpPr/>
          <p:nvPr/>
        </p:nvSpPr>
        <p:spPr>
          <a:xfrm>
            <a:off x="6326505" y="1073150"/>
            <a:ext cx="5485130" cy="2584450"/>
          </a:xfrm>
          <a:prstGeom prst="rect">
            <a:avLst/>
          </a:prstGeom>
          <a:ln w="28575">
            <a:solidFill>
              <a:srgbClr val="FF0000"/>
            </a:solidFill>
          </a:ln>
        </p:spPr>
        <p:txBody>
          <a:bodyPr wrap="square">
            <a:spAutoFit/>
          </a:bodyPr>
          <a:p>
            <a:pPr>
              <a:lnSpc>
                <a:spcPct val="150000"/>
              </a:lnSpc>
            </a:pPr>
            <a:r>
              <a:rPr lang="en-US" altLang="zh-CN" sz="12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Requirement</a:t>
            </a:r>
            <a:r>
              <a:rPr lang="zh-CN" altLang="en-US" sz="12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en-US" altLang="zh-CN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IEC62752, GB/T18487.1, NB/T42077</a:t>
            </a:r>
            <a:r>
              <a:rPr lang="zh-CN" altLang="en-US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） </a:t>
            </a:r>
            <a:endParaRPr lang="en-US" altLang="zh-CN" sz="1200" b="1" dirty="0">
              <a:solidFill>
                <a:srgbClr val="333333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hort-circuit current with SCPD</a:t>
            </a:r>
            <a:endParaRPr lang="en-US" altLang="zh-CN" sz="1200" b="1" dirty="0">
              <a:solidFill>
                <a:srgbClr val="333333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Overvoltage category 2, U&gt;230V:  2.5kV</a:t>
            </a:r>
            <a:r>
              <a:rPr lang="zh-CN" altLang="en-US" sz="12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en-US" altLang="zh-CN" sz="12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1.5mm gap</a:t>
            </a:r>
            <a:endParaRPr lang="en-US" altLang="zh-CN" sz="1200" b="1" dirty="0">
              <a:solidFill>
                <a:srgbClr val="333333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US" altLang="zh-CN" sz="12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Recommended</a:t>
            </a:r>
            <a:r>
              <a:rPr lang="zh-CN" altLang="en-US" sz="12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r>
              <a:rPr lang="en-US" altLang="zh-CN" sz="1200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 </a:t>
            </a:r>
            <a:endParaRPr lang="en-US" altLang="zh-CN" sz="1200" dirty="0">
              <a:solidFill>
                <a:srgbClr val="FF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≤16A: HF115FK, HF152F, 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zh-CN" altLang="en-US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＞</a:t>
            </a: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16A: HF178F, HF161F-W/40W, HF165F, HF179F/-W*, HF190F*, HF189F*, HF170F, HF177F*, HF185F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US" altLang="zh-CN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(Products marked with * can be withstand up to 1.5kA short-circuit current according to IEC62752 without welding, for more detail, please contact Hongfa team.)</a:t>
            </a:r>
            <a:endParaRPr lang="zh-CN" altLang="en-US" sz="1200" dirty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grpSp>
        <p:nvGrpSpPr>
          <p:cNvPr id="37" name="组合 36"/>
          <p:cNvGrpSpPr/>
          <p:nvPr/>
        </p:nvGrpSpPr>
        <p:grpSpPr>
          <a:xfrm>
            <a:off x="6619875" y="4827905"/>
            <a:ext cx="3674110" cy="1664970"/>
            <a:chOff x="250797" y="3718429"/>
            <a:chExt cx="4868562" cy="2714760"/>
          </a:xfrm>
        </p:grpSpPr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0797" y="3718429"/>
              <a:ext cx="4868562" cy="2714760"/>
            </a:xfrm>
            <a:prstGeom prst="rect">
              <a:avLst/>
            </a:prstGeom>
          </p:spPr>
        </p:pic>
        <p:sp>
          <p:nvSpPr>
            <p:cNvPr id="36" name="矩形 35"/>
            <p:cNvSpPr/>
            <p:nvPr/>
          </p:nvSpPr>
          <p:spPr>
            <a:xfrm>
              <a:off x="1311564" y="5181601"/>
              <a:ext cx="607932" cy="1105948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</p:grpSp>
      <p:sp>
        <p:nvSpPr>
          <p:cNvPr id="3" name="矩形 2"/>
          <p:cNvSpPr/>
          <p:nvPr/>
        </p:nvSpPr>
        <p:spPr>
          <a:xfrm>
            <a:off x="398780" y="3429000"/>
            <a:ext cx="1769745" cy="1050290"/>
          </a:xfrm>
          <a:prstGeom prst="rect">
            <a:avLst/>
          </a:prstGeom>
        </p:spPr>
        <p:txBody>
          <a:bodyPr wrap="square">
            <a:spAutoFit/>
          </a:bodyPr>
          <a:p>
            <a:pPr marL="171450" indent="-171450">
              <a:lnSpc>
                <a:spcPct val="130000"/>
              </a:lnSpc>
              <a:buFont typeface="Wingdings" panose="05000000000000000000" charset="0"/>
              <a:buChar char="n"/>
            </a:pP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NB/T</a:t>
            </a:r>
            <a:r>
              <a:rPr lang="zh-CN" altLang="en-US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42077:5.3.2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2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I</a:t>
            </a:r>
            <a:r>
              <a:rPr lang="zh-CN" altLang="en-US" sz="12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≤</a:t>
            </a:r>
            <a:r>
              <a:rPr lang="en-US" altLang="zh-CN" sz="12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16A</a:t>
            </a:r>
            <a:endParaRPr lang="en-US" altLang="zh-CN" sz="12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ngle Phase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     U~230VAC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22" name="Immagin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9875" y="3754755"/>
            <a:ext cx="2841625" cy="982345"/>
          </a:xfrm>
          <a:prstGeom prst="rect">
            <a:avLst/>
          </a:prstGeom>
        </p:spPr>
      </p:pic>
      <p:sp>
        <p:nvSpPr>
          <p:cNvPr id="8" name="Rectangle 4"/>
          <p:cNvSpPr txBox="1">
            <a:spLocks noChangeArrowheads="1"/>
          </p:cNvSpPr>
          <p:nvPr/>
        </p:nvSpPr>
        <p:spPr bwMode="auto">
          <a:xfrm>
            <a:off x="10547985" y="6492240"/>
            <a:ext cx="1151890" cy="39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ctr" anchorCtr="0" compatLnSpc="1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latin typeface="+mn-lt"/>
                <a:ea typeface="仿宋_GB2312" pitchFamily="49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en-US" altLang="zh-CN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en-US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en-US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400" dirty="0"/>
              <a:t>AC/DC Charging Station for Mode 3/4</a:t>
            </a:r>
            <a:endParaRPr lang="en-US" altLang="zh-CN" sz="2400" dirty="0"/>
          </a:p>
        </p:txBody>
      </p:sp>
      <p:pic>
        <p:nvPicPr>
          <p:cNvPr id="56" name="图片 5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328096" y="3014177"/>
            <a:ext cx="1257775" cy="2551147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254457" y="2971004"/>
            <a:ext cx="1257775" cy="2551147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222" y="3323037"/>
            <a:ext cx="6890689" cy="2943881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8295005" y="1028700"/>
            <a:ext cx="3225800" cy="337185"/>
          </a:xfrm>
          <a:prstGeom prst="rect">
            <a:avLst/>
          </a:prstGeom>
        </p:spPr>
        <p:txBody>
          <a:bodyPr wrap="square">
            <a:spAutoFit/>
          </a:bodyPr>
          <a:p>
            <a:pPr fontAlgn="auto">
              <a:lnSpc>
                <a:spcPct val="100000"/>
              </a:lnSpc>
            </a:pPr>
            <a:r>
              <a:rPr lang="en-US" altLang="zh-CN" sz="16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DC</a:t>
            </a:r>
            <a:r>
              <a:rPr lang="zh-CN" altLang="en-US" sz="16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6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tation,</a:t>
            </a:r>
            <a:r>
              <a:rPr lang="zh-CN" altLang="en-US" sz="16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</a:t>
            </a:r>
            <a:r>
              <a:rPr lang="en-US" altLang="zh-CN" sz="16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ode 4  IEC61851-23</a:t>
            </a:r>
            <a:endParaRPr lang="en-US" altLang="zh-CN" sz="1600" b="1" dirty="0">
              <a:solidFill>
                <a:srgbClr val="333333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0201910" y="5732145"/>
            <a:ext cx="1846580" cy="55308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p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ower Module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C-DC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F165FD(30A)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F165FD-50(32/40/50A)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2597785" y="5732145"/>
            <a:ext cx="1352550" cy="46037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p>
            <a:r>
              <a:rPr lang="en-US" altLang="zh-CN" sz="1200" b="1" dirty="0">
                <a:solidFill>
                  <a:srgbClr val="FF000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RDC-DD</a:t>
            </a:r>
            <a:endParaRPr lang="en-US" altLang="zh-CN" sz="1200" b="1" dirty="0">
              <a:solidFill>
                <a:srgbClr val="FF0000"/>
              </a:solidFill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r>
              <a:rPr lang="en-US" altLang="zh-CN" sz="1200" b="1" dirty="0">
                <a:solidFill>
                  <a:srgbClr val="FF000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IEC 62955</a:t>
            </a:r>
            <a:endParaRPr lang="zh-CN" altLang="en-US" sz="1200" b="1" dirty="0">
              <a:solidFill>
                <a:srgbClr val="FF0000"/>
              </a:solidFill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24738" y="5546322"/>
            <a:ext cx="2395751" cy="8299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p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Breaker/Disconnector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0A or 10 times rated  current on/off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 times 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000A short-circuit current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4015153" y="5209895"/>
            <a:ext cx="510667" cy="406990"/>
            <a:chOff x="397163" y="3546764"/>
            <a:chExt cx="581892" cy="387929"/>
          </a:xfrm>
        </p:grpSpPr>
        <p:grpSp>
          <p:nvGrpSpPr>
            <p:cNvPr id="22" name="组合 21"/>
            <p:cNvGrpSpPr/>
            <p:nvPr/>
          </p:nvGrpSpPr>
          <p:grpSpPr>
            <a:xfrm>
              <a:off x="397164" y="3546764"/>
              <a:ext cx="581891" cy="129310"/>
              <a:chOff x="397164" y="3546764"/>
              <a:chExt cx="581891" cy="129310"/>
            </a:xfrm>
          </p:grpSpPr>
          <p:cxnSp>
            <p:nvCxnSpPr>
              <p:cNvPr id="17" name="直接连接符 16"/>
              <p:cNvCxnSpPr/>
              <p:nvPr/>
            </p:nvCxnSpPr>
            <p:spPr>
              <a:xfrm>
                <a:off x="397164" y="3676073"/>
                <a:ext cx="19396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接连接符 29"/>
              <p:cNvCxnSpPr/>
              <p:nvPr/>
            </p:nvCxnSpPr>
            <p:spPr>
              <a:xfrm>
                <a:off x="789713" y="3676073"/>
                <a:ext cx="189342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接连接符 37"/>
              <p:cNvCxnSpPr/>
              <p:nvPr/>
            </p:nvCxnSpPr>
            <p:spPr>
              <a:xfrm flipV="1">
                <a:off x="581891" y="3546764"/>
                <a:ext cx="212437" cy="12931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组合 38"/>
            <p:cNvGrpSpPr/>
            <p:nvPr/>
          </p:nvGrpSpPr>
          <p:grpSpPr>
            <a:xfrm>
              <a:off x="397163" y="3805383"/>
              <a:ext cx="581891" cy="129310"/>
              <a:chOff x="397164" y="3546764"/>
              <a:chExt cx="581891" cy="129310"/>
            </a:xfrm>
          </p:grpSpPr>
          <p:cxnSp>
            <p:nvCxnSpPr>
              <p:cNvPr id="44" name="直接连接符 43"/>
              <p:cNvCxnSpPr/>
              <p:nvPr/>
            </p:nvCxnSpPr>
            <p:spPr>
              <a:xfrm>
                <a:off x="397164" y="3676073"/>
                <a:ext cx="19396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接连接符 44"/>
              <p:cNvCxnSpPr/>
              <p:nvPr/>
            </p:nvCxnSpPr>
            <p:spPr>
              <a:xfrm>
                <a:off x="789713" y="3676073"/>
                <a:ext cx="189342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接连接符 45"/>
              <p:cNvCxnSpPr/>
              <p:nvPr/>
            </p:nvCxnSpPr>
            <p:spPr>
              <a:xfrm flipV="1">
                <a:off x="581891" y="3546764"/>
                <a:ext cx="212437" cy="12931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7" name="文本框 46"/>
          <p:cNvSpPr txBox="1"/>
          <p:nvPr/>
        </p:nvSpPr>
        <p:spPr>
          <a:xfrm>
            <a:off x="4523846" y="5303185"/>
            <a:ext cx="1080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C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8299692" y="4054190"/>
            <a:ext cx="4748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C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8739192" y="3989194"/>
            <a:ext cx="510667" cy="406990"/>
            <a:chOff x="397163" y="3546764"/>
            <a:chExt cx="581892" cy="387929"/>
          </a:xfrm>
        </p:grpSpPr>
        <p:grpSp>
          <p:nvGrpSpPr>
            <p:cNvPr id="50" name="组合 49"/>
            <p:cNvGrpSpPr/>
            <p:nvPr/>
          </p:nvGrpSpPr>
          <p:grpSpPr>
            <a:xfrm>
              <a:off x="397164" y="3546764"/>
              <a:ext cx="581891" cy="129310"/>
              <a:chOff x="397164" y="3546764"/>
              <a:chExt cx="581891" cy="129310"/>
            </a:xfrm>
          </p:grpSpPr>
          <p:cxnSp>
            <p:nvCxnSpPr>
              <p:cNvPr id="51" name="直接连接符 50"/>
              <p:cNvCxnSpPr/>
              <p:nvPr/>
            </p:nvCxnSpPr>
            <p:spPr>
              <a:xfrm>
                <a:off x="397164" y="3676073"/>
                <a:ext cx="19396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直接连接符 51"/>
              <p:cNvCxnSpPr/>
              <p:nvPr/>
            </p:nvCxnSpPr>
            <p:spPr>
              <a:xfrm>
                <a:off x="789713" y="3676073"/>
                <a:ext cx="189342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直接连接符 52"/>
              <p:cNvCxnSpPr/>
              <p:nvPr/>
            </p:nvCxnSpPr>
            <p:spPr>
              <a:xfrm flipV="1">
                <a:off x="581891" y="3546764"/>
                <a:ext cx="212437" cy="12931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组合 53"/>
            <p:cNvGrpSpPr/>
            <p:nvPr/>
          </p:nvGrpSpPr>
          <p:grpSpPr>
            <a:xfrm>
              <a:off x="397163" y="3805383"/>
              <a:ext cx="581891" cy="129310"/>
              <a:chOff x="397164" y="3546764"/>
              <a:chExt cx="581891" cy="129310"/>
            </a:xfrm>
          </p:grpSpPr>
          <p:cxnSp>
            <p:nvCxnSpPr>
              <p:cNvPr id="55" name="直接连接符 54"/>
              <p:cNvCxnSpPr/>
              <p:nvPr/>
            </p:nvCxnSpPr>
            <p:spPr>
              <a:xfrm>
                <a:off x="397164" y="3676073"/>
                <a:ext cx="19396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直接连接符 56"/>
              <p:cNvCxnSpPr/>
              <p:nvPr/>
            </p:nvCxnSpPr>
            <p:spPr>
              <a:xfrm>
                <a:off x="789713" y="3676073"/>
                <a:ext cx="189342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直接连接符 57"/>
              <p:cNvCxnSpPr/>
              <p:nvPr/>
            </p:nvCxnSpPr>
            <p:spPr>
              <a:xfrm flipV="1">
                <a:off x="581891" y="3546764"/>
                <a:ext cx="212437" cy="12931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9" name="组合 58"/>
          <p:cNvGrpSpPr/>
          <p:nvPr/>
        </p:nvGrpSpPr>
        <p:grpSpPr>
          <a:xfrm>
            <a:off x="8728358" y="5098087"/>
            <a:ext cx="526951" cy="429576"/>
            <a:chOff x="397163" y="3546764"/>
            <a:chExt cx="581892" cy="387929"/>
          </a:xfrm>
        </p:grpSpPr>
        <p:grpSp>
          <p:nvGrpSpPr>
            <p:cNvPr id="60" name="组合 59"/>
            <p:cNvGrpSpPr/>
            <p:nvPr/>
          </p:nvGrpSpPr>
          <p:grpSpPr>
            <a:xfrm>
              <a:off x="397164" y="3546764"/>
              <a:ext cx="581891" cy="129310"/>
              <a:chOff x="397164" y="3546764"/>
              <a:chExt cx="581891" cy="129310"/>
            </a:xfrm>
          </p:grpSpPr>
          <p:cxnSp>
            <p:nvCxnSpPr>
              <p:cNvPr id="61" name="直接连接符 60"/>
              <p:cNvCxnSpPr/>
              <p:nvPr/>
            </p:nvCxnSpPr>
            <p:spPr>
              <a:xfrm>
                <a:off x="397164" y="3676073"/>
                <a:ext cx="19396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直接连接符 61"/>
              <p:cNvCxnSpPr/>
              <p:nvPr/>
            </p:nvCxnSpPr>
            <p:spPr>
              <a:xfrm>
                <a:off x="789713" y="3676073"/>
                <a:ext cx="189342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直接连接符 62"/>
              <p:cNvCxnSpPr/>
              <p:nvPr/>
            </p:nvCxnSpPr>
            <p:spPr>
              <a:xfrm flipV="1">
                <a:off x="581891" y="3546764"/>
                <a:ext cx="212437" cy="12931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组合 63"/>
            <p:cNvGrpSpPr/>
            <p:nvPr/>
          </p:nvGrpSpPr>
          <p:grpSpPr>
            <a:xfrm>
              <a:off x="397163" y="3805383"/>
              <a:ext cx="581891" cy="129310"/>
              <a:chOff x="397164" y="3546764"/>
              <a:chExt cx="581891" cy="129310"/>
            </a:xfrm>
          </p:grpSpPr>
          <p:cxnSp>
            <p:nvCxnSpPr>
              <p:cNvPr id="65" name="直接连接符 64"/>
              <p:cNvCxnSpPr/>
              <p:nvPr/>
            </p:nvCxnSpPr>
            <p:spPr>
              <a:xfrm>
                <a:off x="397164" y="3676073"/>
                <a:ext cx="19396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直接连接符 65"/>
              <p:cNvCxnSpPr/>
              <p:nvPr/>
            </p:nvCxnSpPr>
            <p:spPr>
              <a:xfrm>
                <a:off x="789713" y="3676073"/>
                <a:ext cx="189342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直接连接符 66"/>
              <p:cNvCxnSpPr/>
              <p:nvPr/>
            </p:nvCxnSpPr>
            <p:spPr>
              <a:xfrm flipV="1">
                <a:off x="581891" y="3546764"/>
                <a:ext cx="212437" cy="12931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8" name="文本框 67"/>
          <p:cNvSpPr txBox="1"/>
          <p:nvPr/>
        </p:nvSpPr>
        <p:spPr>
          <a:xfrm>
            <a:off x="8629015" y="5617210"/>
            <a:ext cx="78867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C/AC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69" name="图片 6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4840" y="1449070"/>
            <a:ext cx="3798570" cy="1401445"/>
          </a:xfrm>
          <a:prstGeom prst="rect">
            <a:avLst/>
          </a:prstGeom>
        </p:spPr>
      </p:pic>
      <p:cxnSp>
        <p:nvCxnSpPr>
          <p:cNvPr id="70" name="连接符: 肘形 57"/>
          <p:cNvCxnSpPr/>
          <p:nvPr/>
        </p:nvCxnSpPr>
        <p:spPr>
          <a:xfrm>
            <a:off x="2520489" y="4794977"/>
            <a:ext cx="1485428" cy="689123"/>
          </a:xfrm>
          <a:prstGeom prst="bentConnector3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连接符: 肘形 58"/>
          <p:cNvCxnSpPr/>
          <p:nvPr/>
        </p:nvCxnSpPr>
        <p:spPr>
          <a:xfrm flipV="1">
            <a:off x="9225915" y="4956810"/>
            <a:ext cx="1444625" cy="420370"/>
          </a:xfrm>
          <a:prstGeom prst="bentConnector3">
            <a:avLst>
              <a:gd name="adj1" fmla="val 50022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矩形 71"/>
          <p:cNvSpPr/>
          <p:nvPr/>
        </p:nvSpPr>
        <p:spPr>
          <a:xfrm>
            <a:off x="124460" y="1028700"/>
            <a:ext cx="4470400" cy="1753235"/>
          </a:xfrm>
          <a:prstGeom prst="rect">
            <a:avLst/>
          </a:prstGeom>
        </p:spPr>
        <p:txBody>
          <a:bodyPr wrap="square">
            <a:spAutoFit/>
          </a:bodyPr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AC</a:t>
            </a:r>
            <a:r>
              <a:rPr lang="zh-CN" altLang="en-US" sz="16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6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tation,</a:t>
            </a:r>
            <a:r>
              <a:rPr lang="zh-CN" altLang="en-US" sz="16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600" b="1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ode 3 IEC61851-1/ GB/T 18487.3 </a:t>
            </a:r>
            <a:endParaRPr lang="en-US" altLang="zh-CN" sz="1600" b="1" dirty="0">
              <a:solidFill>
                <a:srgbClr val="333333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r>
              <a:rPr lang="en-US" altLang="zh-CN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A</a:t>
            </a:r>
            <a:r>
              <a:rPr lang="zh-CN" altLang="en-US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： </a:t>
            </a:r>
            <a:r>
              <a:rPr lang="en-US" altLang="zh-CN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ngle</a:t>
            </a:r>
            <a:r>
              <a:rPr lang="zh-CN" altLang="en-US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Phase</a:t>
            </a:r>
            <a:r>
              <a:rPr lang="zh-CN" altLang="en-US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endParaRPr lang="en-US" altLang="zh-CN" sz="1200" dirty="0">
              <a:solidFill>
                <a:srgbClr val="333333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r>
              <a:rPr lang="en-US" altLang="zh-CN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      220V 16A</a:t>
            </a:r>
            <a:endParaRPr lang="en-US" altLang="zh-CN" sz="1200" dirty="0">
              <a:solidFill>
                <a:srgbClr val="333333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r>
              <a:rPr lang="en-US" altLang="zh-CN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B</a:t>
            </a:r>
            <a:r>
              <a:rPr lang="zh-CN" altLang="en-US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： </a:t>
            </a:r>
            <a:r>
              <a:rPr lang="en-US" altLang="zh-CN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ngle/Three Phase</a:t>
            </a:r>
            <a:endParaRPr lang="en-US" altLang="zh-CN" sz="1200" dirty="0">
              <a:solidFill>
                <a:srgbClr val="333333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r>
              <a:rPr lang="en-US" altLang="zh-CN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     </a:t>
            </a:r>
            <a:r>
              <a:rPr lang="zh-CN" altLang="en-US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20/380V 32A</a:t>
            </a:r>
            <a:endParaRPr lang="en-US" altLang="zh-CN" sz="1200" dirty="0">
              <a:solidFill>
                <a:srgbClr val="333333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r>
              <a:rPr lang="en-US" altLang="zh-CN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      7.2kW</a:t>
            </a:r>
            <a:r>
              <a:rPr lang="zh-CN" altLang="en-US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200" dirty="0">
                <a:solidFill>
                  <a:srgbClr val="333333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~3-4h (22kw for three phase)</a:t>
            </a:r>
            <a:endParaRPr lang="en-US" altLang="zh-CN" sz="1200" dirty="0">
              <a:solidFill>
                <a:srgbClr val="333333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</a:t>
            </a:r>
            <a:r>
              <a:rPr lang="zh-CN" altLang="en-US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：  </a:t>
            </a: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Three Phase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      U</a:t>
            </a:r>
            <a:r>
              <a:rPr lang="zh-CN" altLang="en-US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≤</a:t>
            </a: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660V</a:t>
            </a:r>
            <a:r>
              <a:rPr lang="zh-CN" altLang="en-US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32A</a:t>
            </a:r>
            <a:r>
              <a:rPr lang="zh-CN" altLang="en-US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≤</a:t>
            </a: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I</a:t>
            </a:r>
            <a:r>
              <a:rPr lang="zh-CN" altLang="en-US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≤</a:t>
            </a:r>
            <a:r>
              <a:rPr lang="en-US" altLang="zh-CN" sz="12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50A</a:t>
            </a:r>
            <a:endParaRPr lang="en-US" altLang="zh-CN" sz="12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73" name="直接连接符 72"/>
          <p:cNvCxnSpPr>
            <a:stCxn id="12" idx="3"/>
            <a:endCxn id="11" idx="1"/>
          </p:cNvCxnSpPr>
          <p:nvPr/>
        </p:nvCxnSpPr>
        <p:spPr>
          <a:xfrm>
            <a:off x="2520489" y="5961186"/>
            <a:ext cx="77470" cy="12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连接符 73"/>
          <p:cNvCxnSpPr/>
          <p:nvPr/>
        </p:nvCxnSpPr>
        <p:spPr>
          <a:xfrm flipH="1" flipV="1">
            <a:off x="9314180" y="5621655"/>
            <a:ext cx="874395" cy="11049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矩形 74"/>
          <p:cNvSpPr/>
          <p:nvPr/>
        </p:nvSpPr>
        <p:spPr>
          <a:xfrm>
            <a:off x="22860" y="2947035"/>
            <a:ext cx="2731135" cy="2560955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wrap="square">
            <a:spAutoFit/>
          </a:bodyPr>
          <a:p>
            <a:r>
              <a:rPr lang="en-US" altLang="zh-CN" sz="12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Requirements </a:t>
            </a:r>
            <a:endParaRPr lang="en-US" altLang="zh-CN" sz="12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05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Overvoltage category 3, 4kV, gap </a:t>
            </a:r>
            <a:r>
              <a:rPr lang="zh-CN" altLang="en-US" sz="105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≥</a:t>
            </a:r>
            <a:r>
              <a:rPr lang="en-US" altLang="zh-CN" sz="105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3mm</a:t>
            </a:r>
            <a:endParaRPr lang="en-US" altLang="zh-CN" sz="105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05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onitor the switching  contacts</a:t>
            </a:r>
            <a:endParaRPr lang="en-US" altLang="zh-CN" sz="105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05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CPD</a:t>
            </a:r>
            <a:endParaRPr lang="en-US" altLang="zh-CN" sz="105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r>
              <a:rPr lang="zh-CN" altLang="en-US" sz="12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2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Products</a:t>
            </a:r>
            <a:endParaRPr lang="en-US" altLang="zh-CN" sz="12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05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HF179F/-W(32A,</a:t>
            </a:r>
            <a:r>
              <a:rPr lang="zh-CN" altLang="en-US" sz="105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 </a:t>
            </a:r>
            <a:r>
              <a:rPr lang="en-US" altLang="zh-CN" sz="105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1.8/2.4mm)</a:t>
            </a:r>
            <a:endParaRPr lang="en-US" altLang="zh-CN" sz="105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05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HF165F(43A, 1.8/2.0mm)</a:t>
            </a:r>
            <a:endParaRPr lang="en-US" altLang="zh-CN" sz="105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05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HF176F(65A, 3mm)</a:t>
            </a:r>
            <a:endParaRPr lang="en-US" altLang="zh-CN" sz="105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05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HF186F(66A, 3mm)</a:t>
            </a:r>
            <a:endParaRPr lang="en-US" altLang="zh-CN" sz="105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050" b="1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*#HF177F(954)(A46)(40A,2.3mm)</a:t>
            </a:r>
            <a:endParaRPr lang="en-US" altLang="zh-CN" sz="1050" b="1" dirty="0">
              <a:solidFill>
                <a:srgbClr val="FF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05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#HF170F/2H(40A,3.6mm)</a:t>
            </a:r>
            <a:endParaRPr lang="en-US" altLang="zh-CN" sz="105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050" b="1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*#HF187F/4H(40A,3.9mm)</a:t>
            </a:r>
            <a:endParaRPr lang="zh-CN" altLang="en-US" sz="1050" dirty="0">
              <a:solidFill>
                <a:srgbClr val="FF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05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#HF189F(48A,2.25mm)</a:t>
            </a:r>
            <a:endParaRPr lang="en-US" altLang="zh-CN" sz="105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05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#HF190F(32A,2.25mm)</a:t>
            </a:r>
            <a:endParaRPr lang="zh-CN" altLang="en-US" sz="105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indent="0">
              <a:buFont typeface="Arial" panose="020B0604020202020204" pitchFamily="34" charset="0"/>
              <a:buNone/>
            </a:pPr>
            <a:r>
              <a:rPr lang="en-US" altLang="zh-CN" sz="1050" b="1" i="1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# aux. contact is optional</a:t>
            </a:r>
            <a:endParaRPr lang="en-US" altLang="zh-CN" sz="1050" b="1" i="1" dirty="0">
              <a:solidFill>
                <a:srgbClr val="FF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76" name="矩形 75"/>
          <p:cNvSpPr/>
          <p:nvPr/>
        </p:nvSpPr>
        <p:spPr>
          <a:xfrm>
            <a:off x="8315960" y="1365885"/>
            <a:ext cx="3204845" cy="645160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wrap="square">
            <a:spAutoFit/>
          </a:bodyPr>
          <a:p>
            <a:r>
              <a:rPr lang="en-US" altLang="zh-CN" sz="12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Requirements of DC output relay</a:t>
            </a:r>
            <a:endParaRPr lang="en-US" altLang="zh-CN" sz="12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HVDC</a:t>
            </a:r>
            <a:endParaRPr lang="en-US" altLang="zh-CN" sz="12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Auxiliary contact</a:t>
            </a:r>
            <a:endParaRPr lang="en-US" altLang="zh-CN" sz="12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77" name="直接连接符 76"/>
          <p:cNvCxnSpPr>
            <a:stCxn id="76" idx="2"/>
          </p:cNvCxnSpPr>
          <p:nvPr/>
        </p:nvCxnSpPr>
        <p:spPr>
          <a:xfrm flipH="1">
            <a:off x="9250045" y="2011045"/>
            <a:ext cx="668655" cy="210693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4"/>
          <p:cNvSpPr txBox="1">
            <a:spLocks noChangeArrowheads="1"/>
          </p:cNvSpPr>
          <p:nvPr/>
        </p:nvSpPr>
        <p:spPr bwMode="auto">
          <a:xfrm>
            <a:off x="10558780" y="6492240"/>
            <a:ext cx="1151890" cy="39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ctr" anchorCtr="0" compatLnSpc="1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latin typeface="+mn-lt"/>
                <a:ea typeface="仿宋_GB2312" pitchFamily="49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en-US" altLang="zh-CN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en-US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endParaRPr lang="en-US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oducts in EV System</a:t>
            </a:r>
            <a:endParaRPr lang="en-US" altLang="zh-CN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5"/>
          <a:stretch>
            <a:fillRect/>
          </a:stretch>
        </p:blipFill>
        <p:spPr>
          <a:xfrm>
            <a:off x="-25400" y="1179830"/>
            <a:ext cx="12192000" cy="5312410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5144654" y="4476865"/>
            <a:ext cx="618837" cy="22167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/>
          <p:cNvSpPr/>
          <p:nvPr/>
        </p:nvSpPr>
        <p:spPr>
          <a:xfrm>
            <a:off x="7365997" y="4070466"/>
            <a:ext cx="789712" cy="23553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7" name="组合 16"/>
          <p:cNvGrpSpPr/>
          <p:nvPr/>
        </p:nvGrpSpPr>
        <p:grpSpPr>
          <a:xfrm>
            <a:off x="840511" y="2389445"/>
            <a:ext cx="332508" cy="212438"/>
            <a:chOff x="397163" y="3546764"/>
            <a:chExt cx="581892" cy="387929"/>
          </a:xfrm>
        </p:grpSpPr>
        <p:grpSp>
          <p:nvGrpSpPr>
            <p:cNvPr id="18" name="组合 17"/>
            <p:cNvGrpSpPr/>
            <p:nvPr/>
          </p:nvGrpSpPr>
          <p:grpSpPr>
            <a:xfrm>
              <a:off x="397164" y="3546764"/>
              <a:ext cx="581891" cy="129310"/>
              <a:chOff x="397164" y="3546764"/>
              <a:chExt cx="581891" cy="129310"/>
            </a:xfrm>
          </p:grpSpPr>
          <p:cxnSp>
            <p:nvCxnSpPr>
              <p:cNvPr id="23" name="直接连接符 22"/>
              <p:cNvCxnSpPr/>
              <p:nvPr/>
            </p:nvCxnSpPr>
            <p:spPr>
              <a:xfrm>
                <a:off x="397164" y="3676073"/>
                <a:ext cx="19396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/>
              <p:cNvCxnSpPr/>
              <p:nvPr/>
            </p:nvCxnSpPr>
            <p:spPr>
              <a:xfrm>
                <a:off x="789713" y="3676073"/>
                <a:ext cx="189342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接连接符 24"/>
              <p:cNvCxnSpPr/>
              <p:nvPr/>
            </p:nvCxnSpPr>
            <p:spPr>
              <a:xfrm flipV="1">
                <a:off x="581891" y="3546764"/>
                <a:ext cx="212437" cy="12931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组合 18"/>
            <p:cNvGrpSpPr/>
            <p:nvPr/>
          </p:nvGrpSpPr>
          <p:grpSpPr>
            <a:xfrm>
              <a:off x="397163" y="3805383"/>
              <a:ext cx="581891" cy="129310"/>
              <a:chOff x="397164" y="3546764"/>
              <a:chExt cx="581891" cy="129310"/>
            </a:xfrm>
          </p:grpSpPr>
          <p:cxnSp>
            <p:nvCxnSpPr>
              <p:cNvPr id="20" name="直接连接符 19"/>
              <p:cNvCxnSpPr/>
              <p:nvPr/>
            </p:nvCxnSpPr>
            <p:spPr>
              <a:xfrm>
                <a:off x="397164" y="3676073"/>
                <a:ext cx="19396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/>
              <p:cNvCxnSpPr/>
              <p:nvPr/>
            </p:nvCxnSpPr>
            <p:spPr>
              <a:xfrm>
                <a:off x="789713" y="3676073"/>
                <a:ext cx="189342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连接符 21"/>
              <p:cNvCxnSpPr/>
              <p:nvPr/>
            </p:nvCxnSpPr>
            <p:spPr>
              <a:xfrm flipV="1">
                <a:off x="581891" y="3546764"/>
                <a:ext cx="212437" cy="12931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0631" y="2708666"/>
            <a:ext cx="432566" cy="502326"/>
          </a:xfrm>
          <a:prstGeom prst="rect">
            <a:avLst/>
          </a:prstGeom>
        </p:spPr>
      </p:pic>
      <p:sp>
        <p:nvSpPr>
          <p:cNvPr id="3" name="矩形: 圆角 1"/>
          <p:cNvSpPr/>
          <p:nvPr/>
        </p:nvSpPr>
        <p:spPr>
          <a:xfrm>
            <a:off x="3584575" y="3075940"/>
            <a:ext cx="620395" cy="270510"/>
          </a:xfrm>
          <a:prstGeom prst="roundRect">
            <a:avLst>
              <a:gd name="adj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电磁锁</a:t>
            </a:r>
            <a:endParaRPr lang="zh-CN" altLang="en-US" sz="9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流程图: 卡片 4"/>
          <p:cNvSpPr/>
          <p:nvPr/>
        </p:nvSpPr>
        <p:spPr>
          <a:xfrm>
            <a:off x="7286610" y="4966393"/>
            <a:ext cx="675136" cy="375552"/>
          </a:xfrm>
          <a:prstGeom prst="flowChartPunchedCard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A8A8A8"/>
              </a:solidFill>
            </a:endParaRPr>
          </a:p>
        </p:txBody>
      </p:sp>
      <p:grpSp>
        <p:nvGrpSpPr>
          <p:cNvPr id="35" name="组合 34"/>
          <p:cNvGrpSpPr/>
          <p:nvPr/>
        </p:nvGrpSpPr>
        <p:grpSpPr>
          <a:xfrm>
            <a:off x="7466677" y="5047950"/>
            <a:ext cx="332508" cy="212438"/>
            <a:chOff x="397163" y="3546764"/>
            <a:chExt cx="581892" cy="387929"/>
          </a:xfrm>
        </p:grpSpPr>
        <p:grpSp>
          <p:nvGrpSpPr>
            <p:cNvPr id="36" name="组合 35"/>
            <p:cNvGrpSpPr/>
            <p:nvPr/>
          </p:nvGrpSpPr>
          <p:grpSpPr>
            <a:xfrm>
              <a:off x="397164" y="3546764"/>
              <a:ext cx="581891" cy="129310"/>
              <a:chOff x="397164" y="3546764"/>
              <a:chExt cx="581891" cy="129310"/>
            </a:xfrm>
          </p:grpSpPr>
          <p:cxnSp>
            <p:nvCxnSpPr>
              <p:cNvPr id="4" name="直接连接符 3"/>
              <p:cNvCxnSpPr/>
              <p:nvPr/>
            </p:nvCxnSpPr>
            <p:spPr>
              <a:xfrm>
                <a:off x="397164" y="3676073"/>
                <a:ext cx="193963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" name="直接连接符 5"/>
              <p:cNvCxnSpPr/>
              <p:nvPr/>
            </p:nvCxnSpPr>
            <p:spPr>
              <a:xfrm>
                <a:off x="789713" y="3676073"/>
                <a:ext cx="189342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直接连接符 6"/>
              <p:cNvCxnSpPr/>
              <p:nvPr/>
            </p:nvCxnSpPr>
            <p:spPr>
              <a:xfrm flipV="1">
                <a:off x="581891" y="3546764"/>
                <a:ext cx="212437" cy="12931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组合 36"/>
            <p:cNvGrpSpPr/>
            <p:nvPr/>
          </p:nvGrpSpPr>
          <p:grpSpPr>
            <a:xfrm>
              <a:off x="397163" y="3805383"/>
              <a:ext cx="581891" cy="129310"/>
              <a:chOff x="397164" y="3546764"/>
              <a:chExt cx="581891" cy="129310"/>
            </a:xfrm>
          </p:grpSpPr>
          <p:cxnSp>
            <p:nvCxnSpPr>
              <p:cNvPr id="38" name="直接连接符 37"/>
              <p:cNvCxnSpPr/>
              <p:nvPr/>
            </p:nvCxnSpPr>
            <p:spPr>
              <a:xfrm>
                <a:off x="397164" y="3676073"/>
                <a:ext cx="193963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直接连接符 38"/>
              <p:cNvCxnSpPr/>
              <p:nvPr/>
            </p:nvCxnSpPr>
            <p:spPr>
              <a:xfrm>
                <a:off x="789713" y="3676073"/>
                <a:ext cx="189342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直接连接符 8"/>
              <p:cNvCxnSpPr/>
              <p:nvPr/>
            </p:nvCxnSpPr>
            <p:spPr>
              <a:xfrm flipV="1">
                <a:off x="581891" y="3546764"/>
                <a:ext cx="212437" cy="12931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1" name="组合 10"/>
          <p:cNvGrpSpPr/>
          <p:nvPr/>
        </p:nvGrpSpPr>
        <p:grpSpPr>
          <a:xfrm>
            <a:off x="1607132" y="3564396"/>
            <a:ext cx="775852" cy="221295"/>
            <a:chOff x="561114" y="4789058"/>
            <a:chExt cx="1027540" cy="332695"/>
          </a:xfrm>
        </p:grpSpPr>
        <p:sp>
          <p:nvSpPr>
            <p:cNvPr id="12" name="文本框 11"/>
            <p:cNvSpPr txBox="1"/>
            <p:nvPr/>
          </p:nvSpPr>
          <p:spPr>
            <a:xfrm>
              <a:off x="561114" y="4789058"/>
              <a:ext cx="579578" cy="332695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PS</a:t>
              </a:r>
              <a:endPara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46" name="组合 45"/>
            <p:cNvGrpSpPr/>
            <p:nvPr/>
          </p:nvGrpSpPr>
          <p:grpSpPr>
            <a:xfrm>
              <a:off x="1140691" y="4816765"/>
              <a:ext cx="447963" cy="212438"/>
              <a:chOff x="397163" y="3546764"/>
              <a:chExt cx="581892" cy="387929"/>
            </a:xfrm>
          </p:grpSpPr>
          <p:grpSp>
            <p:nvGrpSpPr>
              <p:cNvPr id="47" name="组合 46"/>
              <p:cNvGrpSpPr/>
              <p:nvPr/>
            </p:nvGrpSpPr>
            <p:grpSpPr>
              <a:xfrm>
                <a:off x="397164" y="3546764"/>
                <a:ext cx="581891" cy="129310"/>
                <a:chOff x="397164" y="3546764"/>
                <a:chExt cx="581891" cy="129310"/>
              </a:xfrm>
            </p:grpSpPr>
            <p:cxnSp>
              <p:nvCxnSpPr>
                <p:cNvPr id="52" name="直接连接符 51"/>
                <p:cNvCxnSpPr/>
                <p:nvPr/>
              </p:nvCxnSpPr>
              <p:spPr>
                <a:xfrm>
                  <a:off x="397164" y="3676073"/>
                  <a:ext cx="193963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直接连接符 52"/>
                <p:cNvCxnSpPr/>
                <p:nvPr/>
              </p:nvCxnSpPr>
              <p:spPr>
                <a:xfrm>
                  <a:off x="789713" y="3676073"/>
                  <a:ext cx="189342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直接连接符 53"/>
                <p:cNvCxnSpPr/>
                <p:nvPr/>
              </p:nvCxnSpPr>
              <p:spPr>
                <a:xfrm flipV="1">
                  <a:off x="581891" y="3546764"/>
                  <a:ext cx="212437" cy="12931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" name="组合 47"/>
              <p:cNvGrpSpPr/>
              <p:nvPr/>
            </p:nvGrpSpPr>
            <p:grpSpPr>
              <a:xfrm>
                <a:off x="397163" y="3805383"/>
                <a:ext cx="581891" cy="129310"/>
                <a:chOff x="397164" y="3546764"/>
                <a:chExt cx="581891" cy="129310"/>
              </a:xfrm>
            </p:grpSpPr>
            <p:cxnSp>
              <p:nvCxnSpPr>
                <p:cNvPr id="49" name="直接连接符 48"/>
                <p:cNvCxnSpPr/>
                <p:nvPr/>
              </p:nvCxnSpPr>
              <p:spPr>
                <a:xfrm>
                  <a:off x="397164" y="3676073"/>
                  <a:ext cx="193963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直接连接符 49"/>
                <p:cNvCxnSpPr/>
                <p:nvPr/>
              </p:nvCxnSpPr>
              <p:spPr>
                <a:xfrm>
                  <a:off x="789713" y="3676073"/>
                  <a:ext cx="189342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直接连接符 50"/>
                <p:cNvCxnSpPr/>
                <p:nvPr/>
              </p:nvCxnSpPr>
              <p:spPr>
                <a:xfrm flipV="1">
                  <a:off x="581891" y="3546764"/>
                  <a:ext cx="212437" cy="12931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cxnSp>
        <p:nvCxnSpPr>
          <p:cNvPr id="58" name="直接连接符 57"/>
          <p:cNvCxnSpPr/>
          <p:nvPr/>
        </p:nvCxnSpPr>
        <p:spPr>
          <a:xfrm>
            <a:off x="1431634" y="2420620"/>
            <a:ext cx="1" cy="170526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连接符 58"/>
          <p:cNvCxnSpPr/>
          <p:nvPr/>
        </p:nvCxnSpPr>
        <p:spPr>
          <a:xfrm>
            <a:off x="1501678" y="2682281"/>
            <a:ext cx="0" cy="138818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组合 59"/>
          <p:cNvGrpSpPr/>
          <p:nvPr/>
        </p:nvGrpSpPr>
        <p:grpSpPr>
          <a:xfrm rot="5400000">
            <a:off x="1302837" y="4199267"/>
            <a:ext cx="363812" cy="106216"/>
            <a:chOff x="397163" y="3546764"/>
            <a:chExt cx="581892" cy="387929"/>
          </a:xfrm>
        </p:grpSpPr>
        <p:grpSp>
          <p:nvGrpSpPr>
            <p:cNvPr id="61" name="组合 60"/>
            <p:cNvGrpSpPr/>
            <p:nvPr/>
          </p:nvGrpSpPr>
          <p:grpSpPr>
            <a:xfrm>
              <a:off x="397164" y="3546764"/>
              <a:ext cx="581891" cy="129310"/>
              <a:chOff x="397164" y="3546764"/>
              <a:chExt cx="581891" cy="129310"/>
            </a:xfrm>
          </p:grpSpPr>
          <p:cxnSp>
            <p:nvCxnSpPr>
              <p:cNvPr id="66" name="直接连接符 65"/>
              <p:cNvCxnSpPr/>
              <p:nvPr/>
            </p:nvCxnSpPr>
            <p:spPr>
              <a:xfrm>
                <a:off x="397164" y="3676073"/>
                <a:ext cx="193963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直接连接符 66"/>
              <p:cNvCxnSpPr/>
              <p:nvPr/>
            </p:nvCxnSpPr>
            <p:spPr>
              <a:xfrm>
                <a:off x="789713" y="3676073"/>
                <a:ext cx="189342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直接连接符 67"/>
              <p:cNvCxnSpPr/>
              <p:nvPr/>
            </p:nvCxnSpPr>
            <p:spPr>
              <a:xfrm flipV="1">
                <a:off x="581891" y="3546764"/>
                <a:ext cx="212437" cy="12931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组合 61"/>
            <p:cNvGrpSpPr/>
            <p:nvPr/>
          </p:nvGrpSpPr>
          <p:grpSpPr>
            <a:xfrm>
              <a:off x="397163" y="3805383"/>
              <a:ext cx="581891" cy="129310"/>
              <a:chOff x="397164" y="3546764"/>
              <a:chExt cx="581891" cy="129310"/>
            </a:xfrm>
          </p:grpSpPr>
          <p:cxnSp>
            <p:nvCxnSpPr>
              <p:cNvPr id="63" name="直接连接符 62"/>
              <p:cNvCxnSpPr/>
              <p:nvPr/>
            </p:nvCxnSpPr>
            <p:spPr>
              <a:xfrm>
                <a:off x="397164" y="3676073"/>
                <a:ext cx="193963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直接连接符 63"/>
              <p:cNvCxnSpPr/>
              <p:nvPr/>
            </p:nvCxnSpPr>
            <p:spPr>
              <a:xfrm>
                <a:off x="789713" y="3676073"/>
                <a:ext cx="189342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直接连接符 64"/>
              <p:cNvCxnSpPr/>
              <p:nvPr/>
            </p:nvCxnSpPr>
            <p:spPr>
              <a:xfrm flipV="1">
                <a:off x="581891" y="3546764"/>
                <a:ext cx="212437" cy="12931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71" name="直接连接符 70"/>
          <p:cNvCxnSpPr/>
          <p:nvPr/>
        </p:nvCxnSpPr>
        <p:spPr>
          <a:xfrm>
            <a:off x="1430867" y="4434281"/>
            <a:ext cx="7081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连接符 73"/>
          <p:cNvCxnSpPr/>
          <p:nvPr/>
        </p:nvCxnSpPr>
        <p:spPr>
          <a:xfrm>
            <a:off x="1465113" y="4438514"/>
            <a:ext cx="0" cy="3525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连接符 75"/>
          <p:cNvCxnSpPr/>
          <p:nvPr/>
        </p:nvCxnSpPr>
        <p:spPr>
          <a:xfrm>
            <a:off x="1215347" y="4791036"/>
            <a:ext cx="49914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接连接符 77"/>
          <p:cNvCxnSpPr/>
          <p:nvPr/>
        </p:nvCxnSpPr>
        <p:spPr>
          <a:xfrm flipH="1">
            <a:off x="1164551" y="4791036"/>
            <a:ext cx="147782" cy="1185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/>
          <p:cNvCxnSpPr/>
          <p:nvPr/>
        </p:nvCxnSpPr>
        <p:spPr>
          <a:xfrm flipH="1">
            <a:off x="1280002" y="4796981"/>
            <a:ext cx="147782" cy="1185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接连接符 79"/>
          <p:cNvCxnSpPr/>
          <p:nvPr/>
        </p:nvCxnSpPr>
        <p:spPr>
          <a:xfrm flipH="1">
            <a:off x="1402380" y="4791036"/>
            <a:ext cx="147782" cy="1185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接连接符 80"/>
          <p:cNvCxnSpPr/>
          <p:nvPr/>
        </p:nvCxnSpPr>
        <p:spPr>
          <a:xfrm flipH="1">
            <a:off x="1515918" y="4796981"/>
            <a:ext cx="147782" cy="1185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组合 106"/>
          <p:cNvGrpSpPr/>
          <p:nvPr/>
        </p:nvGrpSpPr>
        <p:grpSpPr>
          <a:xfrm>
            <a:off x="1638556" y="2913817"/>
            <a:ext cx="559738" cy="241550"/>
            <a:chOff x="10652997" y="4234912"/>
            <a:chExt cx="887098" cy="354960"/>
          </a:xfrm>
        </p:grpSpPr>
        <p:grpSp>
          <p:nvGrpSpPr>
            <p:cNvPr id="95" name="组合 94"/>
            <p:cNvGrpSpPr/>
            <p:nvPr/>
          </p:nvGrpSpPr>
          <p:grpSpPr>
            <a:xfrm>
              <a:off x="11183695" y="4234912"/>
              <a:ext cx="356400" cy="354960"/>
              <a:chOff x="11078678" y="4076378"/>
              <a:chExt cx="437596" cy="393426"/>
            </a:xfrm>
          </p:grpSpPr>
          <p:sp>
            <p:nvSpPr>
              <p:cNvPr id="83" name="流程图: 接点 82"/>
              <p:cNvSpPr/>
              <p:nvPr/>
            </p:nvSpPr>
            <p:spPr>
              <a:xfrm>
                <a:off x="11078678" y="4076378"/>
                <a:ext cx="437596" cy="393426"/>
              </a:xfrm>
              <a:prstGeom prst="flowChartConnector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cxnSp>
            <p:nvCxnSpPr>
              <p:cNvPr id="85" name="直接连接符 84"/>
              <p:cNvCxnSpPr/>
              <p:nvPr/>
            </p:nvCxnSpPr>
            <p:spPr>
              <a:xfrm>
                <a:off x="11287851" y="4076378"/>
                <a:ext cx="0" cy="20527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直接连接符 85"/>
              <p:cNvCxnSpPr/>
              <p:nvPr/>
            </p:nvCxnSpPr>
            <p:spPr>
              <a:xfrm flipV="1">
                <a:off x="11138529" y="4277423"/>
                <a:ext cx="145089" cy="130532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直接连接符 88"/>
              <p:cNvCxnSpPr>
                <a:endCxn id="83" idx="5"/>
              </p:cNvCxnSpPr>
              <p:nvPr/>
            </p:nvCxnSpPr>
            <p:spPr>
              <a:xfrm>
                <a:off x="11292085" y="4273091"/>
                <a:ext cx="160105" cy="139097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8" name="组合 97"/>
            <p:cNvGrpSpPr/>
            <p:nvPr/>
          </p:nvGrpSpPr>
          <p:grpSpPr>
            <a:xfrm>
              <a:off x="10652997" y="4293491"/>
              <a:ext cx="409414" cy="121490"/>
              <a:chOff x="397164" y="3546764"/>
              <a:chExt cx="581891" cy="129310"/>
            </a:xfrm>
          </p:grpSpPr>
          <p:cxnSp>
            <p:nvCxnSpPr>
              <p:cNvPr id="99" name="直接连接符 98"/>
              <p:cNvCxnSpPr/>
              <p:nvPr/>
            </p:nvCxnSpPr>
            <p:spPr>
              <a:xfrm>
                <a:off x="397164" y="3676073"/>
                <a:ext cx="19396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直接连接符 99"/>
              <p:cNvCxnSpPr/>
              <p:nvPr/>
            </p:nvCxnSpPr>
            <p:spPr>
              <a:xfrm>
                <a:off x="789713" y="3676073"/>
                <a:ext cx="189342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直接连接符 100"/>
              <p:cNvCxnSpPr/>
              <p:nvPr/>
            </p:nvCxnSpPr>
            <p:spPr>
              <a:xfrm flipV="1">
                <a:off x="581891" y="3546764"/>
                <a:ext cx="212437" cy="12931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06" name="直接连接符 105"/>
            <p:cNvCxnSpPr/>
            <p:nvPr/>
          </p:nvCxnSpPr>
          <p:spPr>
            <a:xfrm>
              <a:off x="11043072" y="4412392"/>
              <a:ext cx="28906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2" name="文本框 81"/>
          <p:cNvSpPr txBox="1">
            <a:spLocks noChangeArrowheads="1"/>
          </p:cNvSpPr>
          <p:nvPr/>
        </p:nvSpPr>
        <p:spPr bwMode="auto">
          <a:xfrm>
            <a:off x="5191791" y="5557658"/>
            <a:ext cx="3154407" cy="815608"/>
          </a:xfrm>
          <a:prstGeom prst="rect">
            <a:avLst/>
          </a:prstGeom>
          <a:noFill/>
          <a:ln w="28575">
            <a:solidFill>
              <a:srgbClr val="00B0F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>
              <a:defRPr/>
            </a:pP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OBC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C Side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（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T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5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℃）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l"/>
              <a:defRPr/>
            </a:pPr>
            <a:r>
              <a:rPr lang="zh-CN" altLang="en-US" sz="1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≤</a:t>
            </a:r>
            <a:r>
              <a:rPr lang="en-US" altLang="zh-CN" sz="1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16A</a:t>
            </a:r>
            <a:r>
              <a:rPr lang="zh-CN" altLang="en-US" sz="1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：</a:t>
            </a:r>
            <a:r>
              <a:rPr lang="en-US" altLang="zh-CN" sz="1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HF115F/K-T(882)</a:t>
            </a:r>
            <a:r>
              <a:rPr lang="zh-CN" altLang="en-US" sz="1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，</a:t>
            </a:r>
            <a:r>
              <a:rPr lang="en-US" altLang="zh-CN" sz="1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HF152F/D-T(882)</a:t>
            </a:r>
            <a:endParaRPr lang="en-US" altLang="zh-CN" sz="1100" dirty="0">
              <a:latin typeface="黑体" panose="02010609060101010101" pitchFamily="49" charset="-122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l"/>
              <a:defRPr/>
            </a:pPr>
            <a:r>
              <a:rPr lang="en-US" altLang="zh-CN" sz="1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32A</a:t>
            </a:r>
            <a:r>
              <a:rPr lang="zh-CN" altLang="en-US" sz="1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：</a:t>
            </a:r>
            <a:r>
              <a:rPr lang="en-US" altLang="zh-CN" sz="1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1100" b="1" dirty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HF178F/-T</a:t>
            </a:r>
            <a:r>
              <a:rPr lang="zh-CN" altLang="en-US" sz="1100" dirty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，</a:t>
            </a:r>
            <a:r>
              <a:rPr lang="en-US" altLang="zh-CN" sz="1100" dirty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HF165F-50</a:t>
            </a:r>
            <a:endParaRPr lang="en-US" altLang="zh-CN" sz="1100" dirty="0">
              <a:latin typeface="黑体" panose="02010609060101010101" pitchFamily="49" charset="-122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l"/>
              <a:defRPr/>
            </a:pPr>
            <a:r>
              <a:rPr lang="en-US" altLang="zh-CN" sz="1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&gt;60A : HF176F, HF186F</a:t>
            </a:r>
            <a:endParaRPr lang="zh-CN" altLang="en-US" sz="1100" dirty="0">
              <a:latin typeface="黑体" panose="02010609060101010101" pitchFamily="49" charset="-122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84" name="直接连接符 83"/>
          <p:cNvCxnSpPr/>
          <p:nvPr/>
        </p:nvCxnSpPr>
        <p:spPr>
          <a:xfrm>
            <a:off x="5043170" y="4316095"/>
            <a:ext cx="146050" cy="126492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文本框 86"/>
          <p:cNvSpPr txBox="1">
            <a:spLocks noChangeArrowheads="1"/>
          </p:cNvSpPr>
          <p:nvPr/>
        </p:nvSpPr>
        <p:spPr bwMode="auto">
          <a:xfrm>
            <a:off x="3697859" y="2173378"/>
            <a:ext cx="1312111" cy="537210"/>
          </a:xfrm>
          <a:prstGeom prst="rect">
            <a:avLst/>
          </a:prstGeom>
          <a:noFill/>
          <a:ln w="12700">
            <a:solidFill>
              <a:srgbClr val="5B9BD5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>
              <a:defRPr/>
            </a:pPr>
            <a:r>
              <a:rPr lang="en-US" altLang="zh-CN" sz="10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agnetic Lock of Charging Gun</a:t>
            </a:r>
            <a:endParaRPr lang="en-US" altLang="zh-CN" sz="105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altLang="zh-CN" sz="9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HFD2,HFD3,HF32FV</a:t>
            </a:r>
            <a:endParaRPr lang="en-US" altLang="zh-CN" sz="900" dirty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88" name="直接连接符 87"/>
          <p:cNvCxnSpPr>
            <a:stCxn id="87" idx="2"/>
            <a:endCxn id="3" idx="0"/>
          </p:cNvCxnSpPr>
          <p:nvPr/>
        </p:nvCxnSpPr>
        <p:spPr>
          <a:xfrm flipH="1">
            <a:off x="3894810" y="2710747"/>
            <a:ext cx="458470" cy="365125"/>
          </a:xfrm>
          <a:prstGeom prst="line">
            <a:avLst/>
          </a:prstGeom>
          <a:ln w="12700"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矩形 89"/>
          <p:cNvSpPr/>
          <p:nvPr/>
        </p:nvSpPr>
        <p:spPr>
          <a:xfrm>
            <a:off x="2413000" y="5349875"/>
            <a:ext cx="2596515" cy="1076325"/>
          </a:xfrm>
          <a:prstGeom prst="rect">
            <a:avLst/>
          </a:prstGeom>
          <a:ln w="28575">
            <a:solidFill>
              <a:srgbClr val="F6818D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sz="10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IC-CPD</a:t>
            </a:r>
            <a:endParaRPr lang="en-US" altLang="zh-CN" sz="10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charset="0"/>
              <a:buChar char="l"/>
              <a:defRPr/>
            </a:pPr>
            <a:r>
              <a:rPr lang="en-US" altLang="zh-CN" sz="9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HF115F/K-T(16A,105</a:t>
            </a:r>
            <a:r>
              <a:rPr lang="zh-CN" altLang="en-US" sz="9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℃）</a:t>
            </a:r>
            <a:endParaRPr lang="en-US" altLang="zh-CN" sz="900" dirty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charset="0"/>
              <a:buChar char="l"/>
              <a:defRPr/>
            </a:pPr>
            <a:r>
              <a:rPr lang="en-US" altLang="zh-CN" sz="900" b="1" dirty="0">
                <a:solidFill>
                  <a:srgbClr val="FF000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HF179F/-W(32A 105</a:t>
            </a:r>
            <a:r>
              <a:rPr lang="zh-CN" altLang="en-US" sz="900" b="1" dirty="0">
                <a:solidFill>
                  <a:srgbClr val="FF000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℃，</a:t>
            </a:r>
            <a:r>
              <a:rPr lang="en-US" altLang="zh-CN" sz="900" b="1" dirty="0">
                <a:solidFill>
                  <a:srgbClr val="FF000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1.8/2.4mm)</a:t>
            </a:r>
            <a:endParaRPr lang="en-US" altLang="zh-CN" sz="900" b="1" dirty="0">
              <a:solidFill>
                <a:srgbClr val="FF0000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charset="0"/>
              <a:buChar char="l"/>
              <a:defRPr/>
            </a:pPr>
            <a:r>
              <a:rPr lang="en-US" altLang="zh-CN" sz="9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HF161F-W(33A, 1.5/1.8mm)</a:t>
            </a:r>
            <a:endParaRPr lang="en-US" altLang="zh-CN" sz="900" dirty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charset="0"/>
              <a:buChar char="l"/>
              <a:defRPr/>
            </a:pPr>
            <a:r>
              <a:rPr lang="en-US" altLang="zh-CN" sz="9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HF161F-40W</a:t>
            </a:r>
            <a:r>
              <a:rPr lang="zh-CN" altLang="en-US" sz="9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（</a:t>
            </a:r>
            <a:r>
              <a:rPr lang="en-US" altLang="zh-CN" sz="9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40A 105</a:t>
            </a:r>
            <a:r>
              <a:rPr lang="zh-CN" altLang="en-US" sz="9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℃，</a:t>
            </a:r>
            <a:r>
              <a:rPr lang="en-US" altLang="zh-CN" sz="9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43A 85</a:t>
            </a:r>
            <a:r>
              <a:rPr lang="zh-CN" altLang="en-US" sz="9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℃，</a:t>
            </a:r>
            <a:r>
              <a:rPr lang="en-US" altLang="zh-CN" sz="9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2mm</a:t>
            </a:r>
            <a:r>
              <a:rPr lang="zh-CN" altLang="en-US" sz="9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）</a:t>
            </a:r>
            <a:endParaRPr lang="en-US" altLang="zh-CN" sz="900" dirty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charset="0"/>
              <a:buChar char="l"/>
              <a:defRPr/>
            </a:pPr>
            <a:r>
              <a:rPr lang="en-US" altLang="zh-CN" sz="9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HF190F(32A 2.25mm with auxiliary contact)</a:t>
            </a:r>
            <a:endParaRPr lang="en-US" altLang="zh-CN" sz="900" dirty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charset="0"/>
              <a:buChar char="l"/>
              <a:defRPr/>
            </a:pPr>
            <a:r>
              <a:rPr lang="en-US" altLang="zh-CN" sz="900" dirty="0">
                <a:solidFill>
                  <a:srgbClr val="FF000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HF189F(48A 2.25mm with auxiliary contact)</a:t>
            </a:r>
            <a:endParaRPr lang="en-US" altLang="zh-CN" sz="900" dirty="0">
              <a:solidFill>
                <a:srgbClr val="FF0000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91" name="直接连接符 90"/>
          <p:cNvCxnSpPr/>
          <p:nvPr/>
        </p:nvCxnSpPr>
        <p:spPr>
          <a:xfrm>
            <a:off x="3897745" y="4070466"/>
            <a:ext cx="202315" cy="1279257"/>
          </a:xfrm>
          <a:prstGeom prst="line">
            <a:avLst/>
          </a:prstGeom>
          <a:ln w="28575">
            <a:solidFill>
              <a:srgbClr val="F681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文本框 91"/>
          <p:cNvSpPr txBox="1"/>
          <p:nvPr/>
        </p:nvSpPr>
        <p:spPr>
          <a:xfrm>
            <a:off x="175895" y="1233805"/>
            <a:ext cx="889000" cy="706755"/>
          </a:xfrm>
          <a:prstGeom prst="rect">
            <a:avLst/>
          </a:prstGeom>
          <a:noFill/>
          <a:ln w="28575">
            <a:solidFill>
              <a:srgbClr val="00B0F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1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rid input</a:t>
            </a:r>
            <a:endParaRPr lang="en-US" altLang="zh-CN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</a:t>
            </a:r>
            <a:r>
              <a:rPr lang="zh-CN" alt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DC</a:t>
            </a:r>
            <a:endParaRPr lang="en-US" altLang="zh-CN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9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ike OBC AC side</a:t>
            </a:r>
            <a:endParaRPr lang="en-US" altLang="zh-CN" sz="9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93" name="直接连接符 92"/>
          <p:cNvCxnSpPr/>
          <p:nvPr/>
        </p:nvCxnSpPr>
        <p:spPr>
          <a:xfrm>
            <a:off x="518795" y="1963420"/>
            <a:ext cx="412115" cy="478155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文本框 93"/>
          <p:cNvSpPr txBox="1"/>
          <p:nvPr/>
        </p:nvSpPr>
        <p:spPr>
          <a:xfrm>
            <a:off x="1931670" y="4281170"/>
            <a:ext cx="792480" cy="675640"/>
          </a:xfrm>
          <a:prstGeom prst="rect">
            <a:avLst/>
          </a:prstGeom>
          <a:noFill/>
          <a:ln w="12700">
            <a:solidFill>
              <a:schemeClr val="tx1"/>
            </a:solidFill>
            <a:prstDash val="sysDot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1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sulation Monitor</a:t>
            </a:r>
            <a:endParaRPr lang="en-US" altLang="zh-CN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900" b="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F181F</a:t>
            </a:r>
            <a:endParaRPr lang="en-US" altLang="zh-CN" sz="9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9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FD3-VI</a:t>
            </a:r>
            <a:endParaRPr lang="en-US" altLang="zh-CN" sz="9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96" name="直接连接符 95"/>
          <p:cNvCxnSpPr/>
          <p:nvPr/>
        </p:nvCxnSpPr>
        <p:spPr>
          <a:xfrm flipH="1" flipV="1">
            <a:off x="1596390" y="4275455"/>
            <a:ext cx="345440" cy="130175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矩形 96"/>
          <p:cNvSpPr/>
          <p:nvPr/>
        </p:nvSpPr>
        <p:spPr>
          <a:xfrm>
            <a:off x="18415" y="5088255"/>
            <a:ext cx="2134235" cy="1337945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sz="9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C Station output</a:t>
            </a:r>
            <a:endParaRPr lang="en-US" altLang="zh-CN" sz="9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charset="0"/>
              <a:buChar char="l"/>
              <a:defRPr/>
            </a:pPr>
            <a:r>
              <a:rPr lang="en-US" altLang="zh-CN" sz="900" b="1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  <a:sym typeface="+mn-ea"/>
              </a:rPr>
              <a:t>HF177F/2H(954)(A46)(40A,2.3mm)</a:t>
            </a:r>
            <a:endParaRPr lang="en-US" altLang="zh-CN" sz="900" b="1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charset="0"/>
              <a:buChar char="l"/>
              <a:defRPr/>
            </a:pPr>
            <a:r>
              <a:rPr lang="en-US" altLang="zh-CN" sz="900" b="1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  <a:sym typeface="+mn-ea"/>
              </a:rPr>
              <a:t>HF187F/4H1D(32A,3.9mm)</a:t>
            </a:r>
            <a:endParaRPr lang="en-US" altLang="zh-CN" sz="900" dirty="0">
              <a:latin typeface="黑体" panose="02010609060101010101" pitchFamily="49" charset="-122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charset="0"/>
              <a:buChar char="l"/>
              <a:defRPr/>
            </a:pPr>
            <a:r>
              <a:rPr lang="en-US" altLang="zh-CN" sz="9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  <a:sym typeface="+mn-ea"/>
              </a:rPr>
              <a:t>HF179F/-W(32A,1.8/2.4mm)</a:t>
            </a:r>
            <a:endParaRPr lang="en-US" altLang="zh-CN" sz="900" dirty="0">
              <a:latin typeface="黑体" panose="02010609060101010101" pitchFamily="49" charset="-122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charset="0"/>
              <a:buChar char="l"/>
              <a:defRPr/>
            </a:pPr>
            <a:r>
              <a:rPr lang="en-US" altLang="zh-CN" sz="9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  <a:sym typeface="+mn-ea"/>
              </a:rPr>
              <a:t>HF165F(43A, 2mm)</a:t>
            </a:r>
            <a:endParaRPr lang="en-US" altLang="zh-CN" sz="900" dirty="0">
              <a:latin typeface="黑体" panose="02010609060101010101" pitchFamily="49" charset="-122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charset="0"/>
              <a:buChar char="l"/>
              <a:defRPr/>
            </a:pPr>
            <a:r>
              <a:rPr lang="en-US" altLang="zh-CN" sz="9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  <a:sym typeface="+mn-ea"/>
              </a:rPr>
              <a:t>HF170F(40A, 3.6mm)</a:t>
            </a:r>
            <a:endParaRPr lang="en-US" altLang="zh-CN" sz="900" dirty="0">
              <a:solidFill>
                <a:schemeClr val="tx1"/>
              </a:solidFill>
              <a:latin typeface="黑体" panose="02010609060101010101" pitchFamily="49" charset="-122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charset="0"/>
              <a:buChar char="l"/>
              <a:defRPr/>
            </a:pPr>
            <a:r>
              <a:rPr lang="en-US" altLang="zh-CN" sz="9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  <a:sym typeface="+mn-ea"/>
              </a:rPr>
              <a:t>HF170F/2H1D with aux. contact</a:t>
            </a:r>
            <a:endParaRPr lang="en-US" altLang="zh-CN" sz="900" dirty="0">
              <a:latin typeface="黑体" panose="02010609060101010101" pitchFamily="49" charset="-122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charset="0"/>
              <a:buChar char="l"/>
              <a:defRPr/>
            </a:pPr>
            <a:r>
              <a:rPr lang="en-US" altLang="zh-CN" sz="9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  <a:sym typeface="+mn-ea"/>
              </a:rPr>
              <a:t>HF186F(66A, 3mm)</a:t>
            </a:r>
            <a:endParaRPr lang="en-US" altLang="zh-CN" sz="900" dirty="0">
              <a:latin typeface="黑体" panose="02010609060101010101" pitchFamily="49" charset="-122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charset="0"/>
              <a:buChar char="l"/>
              <a:defRPr/>
            </a:pPr>
            <a:r>
              <a:rPr lang="en-US" altLang="zh-CN" sz="9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  <a:sym typeface="+mn-ea"/>
              </a:rPr>
              <a:t>......</a:t>
            </a:r>
            <a:endParaRPr lang="en-US" altLang="zh-CN" sz="900" dirty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02" name="直接连接符 101"/>
          <p:cNvCxnSpPr>
            <a:endCxn id="97" idx="0"/>
          </p:cNvCxnSpPr>
          <p:nvPr/>
        </p:nvCxnSpPr>
        <p:spPr>
          <a:xfrm flipH="1">
            <a:off x="1085850" y="3500120"/>
            <a:ext cx="429895" cy="158813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文本框 102"/>
          <p:cNvSpPr txBox="1"/>
          <p:nvPr/>
        </p:nvSpPr>
        <p:spPr>
          <a:xfrm>
            <a:off x="2847411" y="4328015"/>
            <a:ext cx="989979" cy="798830"/>
          </a:xfrm>
          <a:prstGeom prst="rect">
            <a:avLst/>
          </a:prstGeom>
          <a:noFill/>
          <a:ln w="19050">
            <a:solidFill>
              <a:schemeClr val="tx1"/>
            </a:solidFill>
            <a:prstDash val="sysDot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1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PS control</a:t>
            </a:r>
            <a:endParaRPr lang="en-US" altLang="zh-CN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9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F115F</a:t>
            </a:r>
            <a:endParaRPr lang="en-US" altLang="zh-CN" sz="9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9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F92F</a:t>
            </a:r>
            <a:endParaRPr lang="en-US" altLang="zh-CN" sz="9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9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F116F</a:t>
            </a:r>
            <a:endParaRPr lang="en-US" altLang="zh-CN" sz="9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9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F30F</a:t>
            </a:r>
            <a:endParaRPr lang="en-US" altLang="zh-CN" sz="9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9" name="文本框 108"/>
          <p:cNvSpPr txBox="1">
            <a:spLocks noChangeArrowheads="1"/>
          </p:cNvSpPr>
          <p:nvPr/>
        </p:nvSpPr>
        <p:spPr bwMode="auto">
          <a:xfrm>
            <a:off x="122101" y="3856002"/>
            <a:ext cx="892912" cy="668020"/>
          </a:xfrm>
          <a:prstGeom prst="rect">
            <a:avLst/>
          </a:prstGeom>
          <a:noFill/>
          <a:ln w="12700">
            <a:solidFill>
              <a:schemeClr val="tx1"/>
            </a:solidFill>
            <a:prstDash val="sysDot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105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Fan Motor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9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F32FV</a:t>
            </a:r>
            <a:endParaRPr lang="en-US" altLang="zh-CN" sz="9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9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F33F</a:t>
            </a:r>
            <a:endParaRPr lang="en-US" altLang="zh-CN" sz="9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9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F46F</a:t>
            </a:r>
            <a:endParaRPr lang="en-US" altLang="zh-CN" sz="9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7" name="直接连接符 76"/>
          <p:cNvCxnSpPr/>
          <p:nvPr/>
        </p:nvCxnSpPr>
        <p:spPr>
          <a:xfrm flipV="1">
            <a:off x="1002030" y="3033395"/>
            <a:ext cx="567055" cy="79438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直接连接符 116"/>
          <p:cNvCxnSpPr/>
          <p:nvPr/>
        </p:nvCxnSpPr>
        <p:spPr>
          <a:xfrm flipH="1" flipV="1">
            <a:off x="2087880" y="3724275"/>
            <a:ext cx="759460" cy="6858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文本框 120"/>
          <p:cNvSpPr txBox="1">
            <a:spLocks noChangeArrowheads="1"/>
          </p:cNvSpPr>
          <p:nvPr/>
        </p:nvSpPr>
        <p:spPr bwMode="auto">
          <a:xfrm>
            <a:off x="9708863" y="5165575"/>
            <a:ext cx="2214054" cy="706755"/>
          </a:xfrm>
          <a:prstGeom prst="rect">
            <a:avLst/>
          </a:prstGeom>
          <a:noFill/>
          <a:ln w="28575">
            <a:solidFill>
              <a:srgbClr val="7030A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>
              <a:defRPr/>
            </a:pPr>
            <a:r>
              <a:rPr lang="en-US" altLang="zh-CN" sz="14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ar window, wipe etc. in Electric System</a:t>
            </a:r>
            <a:endParaRPr lang="en-US" altLang="zh-CN" sz="14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zh-CN" sz="12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Auto Relays</a:t>
            </a:r>
            <a:endParaRPr lang="en-US" altLang="zh-CN" sz="1200" dirty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23" name="直接连接符 122"/>
          <p:cNvCxnSpPr>
            <a:stCxn id="5" idx="3"/>
          </p:cNvCxnSpPr>
          <p:nvPr/>
        </p:nvCxnSpPr>
        <p:spPr>
          <a:xfrm>
            <a:off x="7961746" y="5145279"/>
            <a:ext cx="1745668" cy="884433"/>
          </a:xfrm>
          <a:prstGeom prst="line">
            <a:avLst/>
          </a:prstGeom>
          <a:ln w="28575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矩形 129"/>
          <p:cNvSpPr/>
          <p:nvPr/>
        </p:nvSpPr>
        <p:spPr>
          <a:xfrm>
            <a:off x="2641222" y="1233861"/>
            <a:ext cx="2109244" cy="398780"/>
          </a:xfrm>
          <a:prstGeom prst="rect">
            <a:avLst/>
          </a:prstGeom>
          <a:ln w="28575">
            <a:solidFill>
              <a:srgbClr val="92D050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sz="10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DC output/Quick Charge input</a:t>
            </a:r>
            <a:endParaRPr lang="en-US" altLang="zh-CN" sz="12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zh-CN" sz="10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HVDC</a:t>
            </a:r>
            <a:endParaRPr lang="en-US" altLang="zh-CN" sz="1000" dirty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31" name="直接连接符 130"/>
          <p:cNvCxnSpPr/>
          <p:nvPr/>
        </p:nvCxnSpPr>
        <p:spPr>
          <a:xfrm flipH="1">
            <a:off x="1722707" y="1762722"/>
            <a:ext cx="918515" cy="482806"/>
          </a:xfrm>
          <a:prstGeom prst="line">
            <a:avLst/>
          </a:prstGeom>
          <a:ln w="2857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直接连接符 131"/>
          <p:cNvCxnSpPr/>
          <p:nvPr/>
        </p:nvCxnSpPr>
        <p:spPr>
          <a:xfrm flipH="1" flipV="1">
            <a:off x="4745908" y="1748790"/>
            <a:ext cx="636844" cy="863456"/>
          </a:xfrm>
          <a:prstGeom prst="line">
            <a:avLst/>
          </a:prstGeom>
          <a:ln w="2857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矩形 132"/>
          <p:cNvSpPr/>
          <p:nvPr/>
        </p:nvSpPr>
        <p:spPr>
          <a:xfrm>
            <a:off x="10050113" y="1576963"/>
            <a:ext cx="1641428" cy="521970"/>
          </a:xfrm>
          <a:prstGeom prst="rect">
            <a:avLst/>
          </a:prstGeom>
          <a:ln w="28575">
            <a:solidFill>
              <a:srgbClr val="FFC000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sz="14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ain Relay </a:t>
            </a:r>
            <a:endParaRPr lang="en-US" altLang="zh-CN" sz="14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sz="1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HVDC</a:t>
            </a:r>
            <a:endParaRPr lang="en-US" sz="1400" dirty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34" name="直接连接符 133"/>
          <p:cNvCxnSpPr/>
          <p:nvPr/>
        </p:nvCxnSpPr>
        <p:spPr>
          <a:xfrm flipH="1">
            <a:off x="7926306" y="2256633"/>
            <a:ext cx="2110841" cy="1517619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文本框 147"/>
          <p:cNvSpPr txBox="1"/>
          <p:nvPr/>
        </p:nvSpPr>
        <p:spPr>
          <a:xfrm>
            <a:off x="6509438" y="2359743"/>
            <a:ext cx="619174" cy="30777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BMS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49" name="直接连接符 148"/>
          <p:cNvCxnSpPr>
            <a:endCxn id="148" idx="1"/>
          </p:cNvCxnSpPr>
          <p:nvPr/>
        </p:nvCxnSpPr>
        <p:spPr>
          <a:xfrm>
            <a:off x="5892800" y="2505376"/>
            <a:ext cx="616638" cy="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0" name="组合 149"/>
          <p:cNvGrpSpPr/>
          <p:nvPr/>
        </p:nvGrpSpPr>
        <p:grpSpPr>
          <a:xfrm rot="5400000" flipV="1">
            <a:off x="6483434" y="2879486"/>
            <a:ext cx="539306" cy="131880"/>
            <a:chOff x="397164" y="3546764"/>
            <a:chExt cx="581891" cy="129310"/>
          </a:xfrm>
        </p:grpSpPr>
        <p:cxnSp>
          <p:nvCxnSpPr>
            <p:cNvPr id="151" name="直接连接符 150"/>
            <p:cNvCxnSpPr/>
            <p:nvPr/>
          </p:nvCxnSpPr>
          <p:spPr>
            <a:xfrm>
              <a:off x="397164" y="3676073"/>
              <a:ext cx="193963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直接连接符 151"/>
            <p:cNvCxnSpPr/>
            <p:nvPr/>
          </p:nvCxnSpPr>
          <p:spPr>
            <a:xfrm>
              <a:off x="789713" y="3676073"/>
              <a:ext cx="189342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直接连接符 152"/>
            <p:cNvCxnSpPr/>
            <p:nvPr/>
          </p:nvCxnSpPr>
          <p:spPr>
            <a:xfrm flipV="1">
              <a:off x="581891" y="3546764"/>
              <a:ext cx="212437" cy="12931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4" name="组合 153"/>
          <p:cNvGrpSpPr/>
          <p:nvPr/>
        </p:nvGrpSpPr>
        <p:grpSpPr>
          <a:xfrm>
            <a:off x="5763491" y="2667520"/>
            <a:ext cx="1272656" cy="1920182"/>
            <a:chOff x="5763491" y="2596400"/>
            <a:chExt cx="1272656" cy="1920182"/>
          </a:xfrm>
        </p:grpSpPr>
        <p:cxnSp>
          <p:nvCxnSpPr>
            <p:cNvPr id="155" name="直接连接符 154"/>
            <p:cNvCxnSpPr/>
            <p:nvPr/>
          </p:nvCxnSpPr>
          <p:spPr>
            <a:xfrm>
              <a:off x="7036147" y="2596400"/>
              <a:ext cx="0" cy="1920181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直接连接符 155"/>
            <p:cNvCxnSpPr/>
            <p:nvPr/>
          </p:nvCxnSpPr>
          <p:spPr>
            <a:xfrm>
              <a:off x="5763491" y="4516582"/>
              <a:ext cx="1272656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7" name="组合 156"/>
          <p:cNvGrpSpPr/>
          <p:nvPr/>
        </p:nvGrpSpPr>
        <p:grpSpPr>
          <a:xfrm>
            <a:off x="6769102" y="4805638"/>
            <a:ext cx="702015" cy="456359"/>
            <a:chOff x="10850321" y="5155471"/>
            <a:chExt cx="808279" cy="572488"/>
          </a:xfrm>
        </p:grpSpPr>
        <p:cxnSp>
          <p:nvCxnSpPr>
            <p:cNvPr id="158" name="直接连接符 157"/>
            <p:cNvCxnSpPr/>
            <p:nvPr/>
          </p:nvCxnSpPr>
          <p:spPr>
            <a:xfrm>
              <a:off x="10850321" y="5155471"/>
              <a:ext cx="0" cy="56018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直接连接符 158"/>
            <p:cNvCxnSpPr/>
            <p:nvPr/>
          </p:nvCxnSpPr>
          <p:spPr>
            <a:xfrm flipH="1" flipV="1">
              <a:off x="10850321" y="5715657"/>
              <a:ext cx="808279" cy="12302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" name="组合 159"/>
          <p:cNvGrpSpPr/>
          <p:nvPr/>
        </p:nvGrpSpPr>
        <p:grpSpPr>
          <a:xfrm>
            <a:off x="6950075" y="4805638"/>
            <a:ext cx="549850" cy="314734"/>
            <a:chOff x="10850321" y="5155471"/>
            <a:chExt cx="808279" cy="572488"/>
          </a:xfrm>
        </p:grpSpPr>
        <p:cxnSp>
          <p:nvCxnSpPr>
            <p:cNvPr id="161" name="直接连接符 160"/>
            <p:cNvCxnSpPr/>
            <p:nvPr/>
          </p:nvCxnSpPr>
          <p:spPr>
            <a:xfrm>
              <a:off x="10850321" y="5155471"/>
              <a:ext cx="0" cy="56018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直接连接符 161"/>
            <p:cNvCxnSpPr/>
            <p:nvPr/>
          </p:nvCxnSpPr>
          <p:spPr>
            <a:xfrm flipH="1" flipV="1">
              <a:off x="10850321" y="5715657"/>
              <a:ext cx="808279" cy="12302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5" name="矩形 164"/>
          <p:cNvSpPr/>
          <p:nvPr/>
        </p:nvSpPr>
        <p:spPr>
          <a:xfrm>
            <a:off x="5295915" y="1069651"/>
            <a:ext cx="1134503" cy="414020"/>
          </a:xfrm>
          <a:prstGeom prst="rect">
            <a:avLst/>
          </a:prstGeom>
          <a:ln w="28575">
            <a:solidFill>
              <a:srgbClr val="92D050"/>
            </a:solidFill>
          </a:ln>
        </p:spPr>
        <p:txBody>
          <a:bodyPr wrap="square">
            <a:spAutoFit/>
          </a:bodyPr>
          <a:lstStyle/>
          <a:p>
            <a:r>
              <a:rPr lang="en-US" altLang="zh-CN" sz="11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OBC</a:t>
            </a:r>
            <a:r>
              <a:rPr lang="zh-CN" altLang="en-US" sz="11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1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DC Side</a:t>
            </a:r>
            <a:endParaRPr lang="en-US" altLang="zh-CN" sz="11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r>
              <a:rPr lang="en-US" sz="10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HVDC</a:t>
            </a:r>
            <a:endParaRPr lang="en-US" sz="1000" dirty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66" name="直接连接符 165"/>
          <p:cNvCxnSpPr/>
          <p:nvPr/>
        </p:nvCxnSpPr>
        <p:spPr>
          <a:xfrm flipV="1">
            <a:off x="5933557" y="1678284"/>
            <a:ext cx="162443" cy="2060304"/>
          </a:xfrm>
          <a:prstGeom prst="line">
            <a:avLst/>
          </a:prstGeom>
          <a:ln w="2857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直接连接符 171"/>
          <p:cNvCxnSpPr/>
          <p:nvPr/>
        </p:nvCxnSpPr>
        <p:spPr>
          <a:xfrm flipH="1">
            <a:off x="7904873" y="2261800"/>
            <a:ext cx="2111889" cy="40572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矩形 175"/>
          <p:cNvSpPr/>
          <p:nvPr/>
        </p:nvSpPr>
        <p:spPr>
          <a:xfrm>
            <a:off x="10058580" y="3105772"/>
            <a:ext cx="1641428" cy="521970"/>
          </a:xfrm>
          <a:prstGeom prst="rect">
            <a:avLst/>
          </a:prstGeom>
          <a:ln w="28575">
            <a:solidFill>
              <a:srgbClr val="FFC000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sz="1400" b="1" dirty="0" err="1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Precharge</a:t>
            </a:r>
            <a:r>
              <a:rPr lang="en-US" altLang="zh-CN" sz="14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Relay</a:t>
            </a:r>
            <a:endParaRPr lang="en-US" altLang="zh-CN" sz="14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sz="1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HVDC</a:t>
            </a:r>
            <a:endParaRPr lang="en-US" sz="1400" dirty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77" name="直接连接符 176"/>
          <p:cNvCxnSpPr/>
          <p:nvPr/>
        </p:nvCxnSpPr>
        <p:spPr>
          <a:xfrm flipH="1" flipV="1">
            <a:off x="7675259" y="3075856"/>
            <a:ext cx="2374854" cy="50697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文本框 181"/>
          <p:cNvSpPr txBox="1"/>
          <p:nvPr/>
        </p:nvSpPr>
        <p:spPr>
          <a:xfrm>
            <a:off x="6970591" y="1243957"/>
            <a:ext cx="1330447" cy="383540"/>
          </a:xfrm>
          <a:prstGeom prst="rect">
            <a:avLst/>
          </a:prstGeom>
          <a:noFill/>
          <a:ln w="12700">
            <a:solidFill>
              <a:schemeClr val="tx1"/>
            </a:solidFill>
            <a:prstDash val="sysDot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1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ttery Monitor</a:t>
            </a:r>
            <a:endParaRPr lang="en-US" altLang="zh-CN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9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ignal Relay</a:t>
            </a:r>
            <a:endParaRPr lang="en-US" altLang="zh-CN" sz="9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83" name="直接连接符 182"/>
          <p:cNvCxnSpPr>
            <a:stCxn id="182" idx="2"/>
          </p:cNvCxnSpPr>
          <p:nvPr/>
        </p:nvCxnSpPr>
        <p:spPr>
          <a:xfrm flipH="1">
            <a:off x="6831993" y="1627363"/>
            <a:ext cx="803822" cy="1034503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文本框 115"/>
          <p:cNvSpPr txBox="1"/>
          <p:nvPr/>
        </p:nvSpPr>
        <p:spPr>
          <a:xfrm>
            <a:off x="1188965" y="1324883"/>
            <a:ext cx="957514" cy="54292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ct val="70000"/>
              </a:lnSpc>
            </a:pPr>
            <a:r>
              <a:rPr lang="en-US" altLang="zh-CN" sz="1400" b="1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AC/DC</a:t>
            </a:r>
            <a:endParaRPr lang="en-US" altLang="zh-CN" sz="1400" b="1" dirty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algn="ctr">
              <a:lnSpc>
                <a:spcPct val="70000"/>
              </a:lnSpc>
            </a:pPr>
            <a:r>
              <a:rPr lang="en-US" altLang="zh-CN" sz="1400" b="1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Charging </a:t>
            </a:r>
            <a:endParaRPr lang="en-US" altLang="zh-CN" sz="1400" b="1" dirty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algn="ctr">
              <a:lnSpc>
                <a:spcPct val="70000"/>
              </a:lnSpc>
            </a:pPr>
            <a:r>
              <a:rPr lang="en-US" altLang="zh-CN" sz="1400" b="1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Stations</a:t>
            </a:r>
            <a:endParaRPr lang="zh-CN" altLang="en-US" sz="1400" b="1" dirty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3" name="Rectangle 4"/>
          <p:cNvSpPr txBox="1">
            <a:spLocks noChangeArrowheads="1"/>
          </p:cNvSpPr>
          <p:nvPr/>
        </p:nvSpPr>
        <p:spPr bwMode="auto">
          <a:xfrm>
            <a:off x="10558780" y="6492240"/>
            <a:ext cx="1151890" cy="39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ctr" anchorCtr="0" compatLnSpc="1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latin typeface="+mn-lt"/>
                <a:ea typeface="仿宋_GB2312" pitchFamily="49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en-US" altLang="zh-CN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en-US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endParaRPr lang="en-US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 bldLvl="0" animBg="1"/>
      <p:bldP spid="87" grpId="0" bldLvl="0" animBg="1"/>
      <p:bldP spid="90" grpId="0" bldLvl="0" animBg="1"/>
      <p:bldP spid="92" grpId="0" bldLvl="0" animBg="1"/>
      <p:bldP spid="94" grpId="0" bldLvl="0" animBg="1"/>
      <p:bldP spid="97" grpId="0" bldLvl="0" animBg="1"/>
      <p:bldP spid="103" grpId="0" bldLvl="0" animBg="1"/>
      <p:bldP spid="109" grpId="0" bldLvl="0" animBg="1"/>
      <p:bldP spid="121" grpId="0" bldLvl="0" animBg="1"/>
      <p:bldP spid="130" grpId="0" bldLvl="0" animBg="1"/>
      <p:bldP spid="133" grpId="0" bldLvl="0" animBg="1"/>
      <p:bldP spid="165" grpId="0" bldLvl="0" animBg="1"/>
      <p:bldP spid="176" grpId="0" bldLvl="0" animBg="1"/>
      <p:bldP spid="182" grpId="0" bldLvl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Product Map for AC charger</a:t>
            </a:r>
            <a:endParaRPr lang="zh-CN" altLang="en-US" dirty="0"/>
          </a:p>
        </p:txBody>
      </p:sp>
      <p:pic>
        <p:nvPicPr>
          <p:cNvPr id="82" name="图片 3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089174" y="1538011"/>
            <a:ext cx="592988" cy="454363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67" name="图片 86049"/>
          <p:cNvPicPr>
            <a:picLocks noChangeAspect="1" noChangeArrowheads="1"/>
          </p:cNvPicPr>
          <p:nvPr/>
        </p:nvPicPr>
        <p:blipFill>
          <a:blip r:embed="rId2" cstate="print">
            <a:lum brigh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0" t="4041" r="4144" b="6572"/>
          <a:stretch>
            <a:fillRect/>
          </a:stretch>
        </p:blipFill>
        <p:spPr bwMode="auto">
          <a:xfrm>
            <a:off x="6563906" y="4669531"/>
            <a:ext cx="405232" cy="415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图片 7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8270" y="5222875"/>
            <a:ext cx="501015" cy="43815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5018" y="1593899"/>
            <a:ext cx="633594" cy="553441"/>
          </a:xfrm>
          <a:prstGeom prst="rect">
            <a:avLst/>
          </a:prstGeom>
        </p:spPr>
      </p:pic>
      <p:pic>
        <p:nvPicPr>
          <p:cNvPr id="44037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30991" y="3918323"/>
            <a:ext cx="560632" cy="464822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44041" name="图片 4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78874" y="1599716"/>
            <a:ext cx="532177" cy="441977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62" name="Picture 62" descr="\\10.0.16.234\市场部\1-部门当前工作项目，结束后需归档\A-产品说明书修订\2016版产品说明书修订\整本项目\通用\通用-中文\详细参数\HF115F.tif"/>
          <p:cNvPicPr>
            <a:picLocks noChangeAspect="1"/>
          </p:cNvPicPr>
          <p:nvPr/>
        </p:nvPicPr>
        <p:blipFill>
          <a:blip r:embed="rId6"/>
          <a:srcRect l="8687" t="4744" r="8141" b="6186"/>
          <a:stretch>
            <a:fillRect/>
          </a:stretch>
        </p:blipFill>
        <p:spPr>
          <a:xfrm>
            <a:off x="2782340" y="1681332"/>
            <a:ext cx="582019" cy="423354"/>
          </a:xfrm>
          <a:prstGeom prst="rect">
            <a:avLst/>
          </a:prstGeom>
          <a:noFill/>
          <a:ln w="9525">
            <a:noFill/>
          </a:ln>
        </p:spPr>
      </p:pic>
      <p:cxnSp>
        <p:nvCxnSpPr>
          <p:cNvPr id="44054" name="直接箭头连接符 18"/>
          <p:cNvCxnSpPr/>
          <p:nvPr/>
        </p:nvCxnSpPr>
        <p:spPr>
          <a:xfrm flipV="1">
            <a:off x="1816119" y="5979750"/>
            <a:ext cx="9192838" cy="32388"/>
          </a:xfrm>
          <a:prstGeom prst="straightConnector1">
            <a:avLst/>
          </a:prstGeom>
          <a:ln w="38100" cap="flat" cmpd="sng">
            <a:solidFill>
              <a:srgbClr val="0070C0"/>
            </a:solidFill>
            <a:prstDash val="solid"/>
            <a:bevel/>
            <a:headEnd type="none" w="med" len="med"/>
            <a:tailEnd type="triangle" w="med" len="med"/>
          </a:ln>
        </p:spPr>
      </p:cxnSp>
      <p:sp>
        <p:nvSpPr>
          <p:cNvPr id="44059" name="Text Box 12"/>
          <p:cNvSpPr/>
          <p:nvPr/>
        </p:nvSpPr>
        <p:spPr>
          <a:xfrm>
            <a:off x="2320509" y="6023304"/>
            <a:ext cx="894257" cy="36830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>
              <a:spcBef>
                <a:spcPct val="50000"/>
              </a:spcBef>
              <a:buNone/>
            </a:pPr>
            <a:r>
              <a:rPr lang="en-US" altLang="zh-CN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16A</a:t>
            </a:r>
            <a:endParaRPr lang="en-US" altLang="zh-CN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44060" name="Text Box 14"/>
          <p:cNvSpPr/>
          <p:nvPr/>
        </p:nvSpPr>
        <p:spPr>
          <a:xfrm>
            <a:off x="4530615" y="6023304"/>
            <a:ext cx="895941" cy="36830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>
              <a:spcBef>
                <a:spcPct val="50000"/>
              </a:spcBef>
              <a:buNone/>
            </a:pPr>
            <a:r>
              <a:rPr lang="en-US" altLang="zh-CN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32A</a:t>
            </a:r>
            <a:endParaRPr lang="en-US" altLang="zh-CN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44061" name="Text Box 15"/>
          <p:cNvSpPr/>
          <p:nvPr/>
        </p:nvSpPr>
        <p:spPr>
          <a:xfrm>
            <a:off x="9847423" y="6023304"/>
            <a:ext cx="895941" cy="36830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>
              <a:spcBef>
                <a:spcPct val="50000"/>
              </a:spcBef>
              <a:buNone/>
            </a:pPr>
            <a:r>
              <a:rPr lang="en-US" altLang="zh-CN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65A</a:t>
            </a:r>
            <a:endParaRPr lang="en-US" altLang="zh-CN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cxnSp>
        <p:nvCxnSpPr>
          <p:cNvPr id="44062" name="直接箭头连接符 31"/>
          <p:cNvCxnSpPr/>
          <p:nvPr/>
        </p:nvCxnSpPr>
        <p:spPr>
          <a:xfrm flipV="1">
            <a:off x="1801187" y="1158811"/>
            <a:ext cx="5715" cy="4872990"/>
          </a:xfrm>
          <a:prstGeom prst="straightConnector1">
            <a:avLst/>
          </a:prstGeom>
          <a:ln w="38100" cap="flat" cmpd="sng">
            <a:solidFill>
              <a:srgbClr val="0070C0"/>
            </a:solidFill>
            <a:prstDash val="solid"/>
            <a:bevel/>
            <a:headEnd type="none" w="med" len="med"/>
            <a:tailEnd type="triangle" w="med" len="med"/>
          </a:ln>
        </p:spPr>
      </p:cxnSp>
      <p:pic>
        <p:nvPicPr>
          <p:cNvPr id="44063" name="Picture 62" descr="\\10.0.16.234\市场部\1-部门当前工作项目，结束后需归档\A-产品说明书修订\2016版产品说明书修订\整本项目\通用\通用-中文\详细参数\HF115F.tif"/>
          <p:cNvPicPr>
            <a:picLocks noChangeAspect="1"/>
          </p:cNvPicPr>
          <p:nvPr/>
        </p:nvPicPr>
        <p:blipFill>
          <a:blip r:embed="rId6"/>
          <a:srcRect l="8687" t="4744" r="8141" b="6186"/>
          <a:stretch>
            <a:fillRect/>
          </a:stretch>
        </p:blipFill>
        <p:spPr>
          <a:xfrm>
            <a:off x="2769214" y="4331138"/>
            <a:ext cx="582020" cy="423354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44064" name="文本框 33">
            <a:hlinkClick r:id="" action="ppaction://noaction"/>
          </p:cNvPr>
          <p:cNvSpPr/>
          <p:nvPr/>
        </p:nvSpPr>
        <p:spPr>
          <a:xfrm>
            <a:off x="2717028" y="4694401"/>
            <a:ext cx="1606633" cy="24511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>
              <a:buNone/>
            </a:pPr>
            <a:r>
              <a:rPr lang="en-US" altLang="zh-CN" sz="1000" b="1" dirty="0">
                <a:solidFill>
                  <a:schemeClr val="tx1"/>
                </a:solidFill>
                <a:uFillTx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15F/FK</a:t>
            </a:r>
            <a:endParaRPr lang="en-US" altLang="zh-CN" sz="1000" b="1" dirty="0">
              <a:solidFill>
                <a:schemeClr val="tx1"/>
              </a:solidFill>
              <a:uFillTx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pic>
        <p:nvPicPr>
          <p:cNvPr id="44065" name="图片 3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831670" y="4452069"/>
            <a:ext cx="592988" cy="454363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44067" name="图片 3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00753" y="3888982"/>
            <a:ext cx="637177" cy="484331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35861" name="文本框 38"/>
          <p:cNvSpPr>
            <a:spLocks noChangeArrowheads="1"/>
          </p:cNvSpPr>
          <p:nvPr/>
        </p:nvSpPr>
        <p:spPr bwMode="auto">
          <a:xfrm>
            <a:off x="4019053" y="1414630"/>
            <a:ext cx="886430" cy="24511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lvl="0" algn="l"/>
            <a:r>
              <a:rPr lang="en-US" altLang="zh-CN" sz="1000" b="1" dirty="0">
                <a:latin typeface="Times New Roman" panose="02020603050405020304" pitchFamily="18" charset="0"/>
                <a:cs typeface="Times New Roman" panose="02020603050405020304" pitchFamily="18" charset="0"/>
                <a:sym typeface="Calibri" panose="020F0502020204030204" charset="0"/>
              </a:rPr>
              <a:t>HF165F-50</a:t>
            </a:r>
            <a:endParaRPr lang="en-US" altLang="zh-CN" sz="1000" b="1" dirty="0">
              <a:latin typeface="Times New Roman" panose="02020603050405020304" pitchFamily="18" charset="0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44070" name="文本框 39"/>
          <p:cNvSpPr/>
          <p:nvPr/>
        </p:nvSpPr>
        <p:spPr>
          <a:xfrm>
            <a:off x="5302250" y="4396740"/>
            <a:ext cx="1199515" cy="93726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>
              <a:buNone/>
            </a:pPr>
            <a:r>
              <a:rPr lang="en-US" altLang="zh-CN" sz="1000" b="1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61F-W</a:t>
            </a:r>
            <a:endParaRPr lang="en-US" altLang="zh-CN" sz="1000" b="1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pPr lvl="0">
              <a:buNone/>
            </a:pPr>
            <a:r>
              <a:rPr lang="en-US" altLang="zh-CN" sz="9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STD:33A,1.5mm</a:t>
            </a:r>
            <a:endParaRPr lang="en-US" altLang="zh-CN" sz="9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pPr lvl="0">
              <a:buNone/>
            </a:pPr>
            <a:r>
              <a:rPr lang="en-US" altLang="zh-CN" sz="9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477:33A, 1.8mm</a:t>
            </a:r>
            <a:endParaRPr lang="en-US" altLang="zh-CN" sz="9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9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456:33A, 2.0mm</a:t>
            </a:r>
            <a:endParaRPr lang="en-US" altLang="zh-CN" sz="9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9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704:26A, 2.3mm</a:t>
            </a:r>
            <a:endParaRPr lang="en-US" altLang="zh-CN" sz="900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900" dirty="0">
                <a:solidFill>
                  <a:schemeClr val="accent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A27:35A,2.3mm</a:t>
            </a:r>
            <a:endParaRPr lang="en-US" altLang="zh-CN" sz="900" dirty="0">
              <a:solidFill>
                <a:schemeClr val="accent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44072" name="文本框 41"/>
          <p:cNvSpPr/>
          <p:nvPr/>
        </p:nvSpPr>
        <p:spPr>
          <a:xfrm>
            <a:off x="3411855" y="3648075"/>
            <a:ext cx="1026160" cy="24511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r>
              <a:rPr lang="en-US" altLang="zh-CN" sz="1000" b="1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65FD(30A)</a:t>
            </a:r>
            <a:endParaRPr lang="en-US" altLang="zh-CN" sz="1000" b="1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44073" name="直接连接符 42"/>
          <p:cNvSpPr/>
          <p:nvPr/>
        </p:nvSpPr>
        <p:spPr>
          <a:xfrm>
            <a:off x="2591031" y="2045308"/>
            <a:ext cx="1" cy="3986492"/>
          </a:xfrm>
          <a:prstGeom prst="line">
            <a:avLst/>
          </a:prstGeom>
          <a:ln w="9525" cap="flat" cmpd="sng">
            <a:solidFill>
              <a:schemeClr val="accent1"/>
            </a:solidFill>
            <a:prstDash val="dashDot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44074" name="直接连接符 43"/>
          <p:cNvSpPr/>
          <p:nvPr/>
        </p:nvSpPr>
        <p:spPr>
          <a:xfrm>
            <a:off x="4738537" y="2065003"/>
            <a:ext cx="1" cy="3986492"/>
          </a:xfrm>
          <a:prstGeom prst="line">
            <a:avLst/>
          </a:prstGeom>
          <a:ln w="9525" cap="flat" cmpd="sng">
            <a:solidFill>
              <a:schemeClr val="accent1"/>
            </a:solidFill>
            <a:prstDash val="dashDot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44075" name="六边形 44"/>
          <p:cNvSpPr/>
          <p:nvPr/>
        </p:nvSpPr>
        <p:spPr>
          <a:xfrm>
            <a:off x="2516946" y="4534695"/>
            <a:ext cx="169272" cy="128215"/>
          </a:xfrm>
          <a:prstGeom prst="hexagon">
            <a:avLst>
              <a:gd name="adj" fmla="val 24999"/>
              <a:gd name="vf" fmla="val 115470"/>
            </a:avLst>
          </a:prstGeom>
          <a:solidFill>
            <a:schemeClr val="accent1"/>
          </a:solidFill>
          <a:ln w="25400">
            <a:noFill/>
          </a:ln>
        </p:spPr>
        <p:txBody>
          <a:bodyPr anchor="ctr"/>
          <a:lstStyle/>
          <a:p>
            <a:pPr lvl="0" algn="ctr" eaLnBrk="1" hangingPunct="1">
              <a:buNone/>
            </a:pPr>
            <a:endParaRPr lang="zh-CN" altLang="en-US" sz="1735" dirty="0">
              <a:solidFill>
                <a:srgbClr val="FFFFFF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44079" name="直接连接符 48"/>
          <p:cNvSpPr/>
          <p:nvPr/>
        </p:nvSpPr>
        <p:spPr>
          <a:xfrm>
            <a:off x="10081248" y="2133858"/>
            <a:ext cx="6440" cy="3901911"/>
          </a:xfrm>
          <a:prstGeom prst="line">
            <a:avLst/>
          </a:prstGeom>
          <a:ln w="9525" cap="flat" cmpd="sng">
            <a:solidFill>
              <a:schemeClr val="accent1"/>
            </a:solidFill>
            <a:prstDash val="dashDot"/>
            <a:bevel/>
            <a:headEnd type="none" w="med" len="med"/>
            <a:tailEnd type="none" w="med" len="med"/>
          </a:ln>
        </p:spPr>
      </p:sp>
      <p:sp>
        <p:nvSpPr>
          <p:cNvPr id="44039" name="六边形 44"/>
          <p:cNvSpPr/>
          <p:nvPr/>
        </p:nvSpPr>
        <p:spPr>
          <a:xfrm>
            <a:off x="2506944" y="1933939"/>
            <a:ext cx="170180" cy="127847"/>
          </a:xfrm>
          <a:prstGeom prst="hexagon">
            <a:avLst>
              <a:gd name="adj" fmla="val 25227"/>
              <a:gd name="vf" fmla="val 115470"/>
            </a:avLst>
          </a:prstGeom>
          <a:solidFill>
            <a:schemeClr val="accent1"/>
          </a:solidFill>
          <a:ln w="25400">
            <a:noFill/>
          </a:ln>
        </p:spPr>
        <p:txBody>
          <a:bodyPr anchor="ctr"/>
          <a:lstStyle/>
          <a:p>
            <a:pPr lvl="0" algn="ctr" eaLnBrk="1" hangingPunct="1">
              <a:buNone/>
            </a:pPr>
            <a:endParaRPr lang="zh-CN" altLang="en-US" sz="1735" dirty="0">
              <a:solidFill>
                <a:srgbClr val="FFFFFF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pic>
        <p:nvPicPr>
          <p:cNvPr id="44040" name="图片 3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7050" y="4291430"/>
            <a:ext cx="588541" cy="487961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3" name="文本框 38"/>
          <p:cNvSpPr>
            <a:spLocks noChangeArrowheads="1"/>
          </p:cNvSpPr>
          <p:nvPr/>
        </p:nvSpPr>
        <p:spPr bwMode="auto">
          <a:xfrm>
            <a:off x="4438015" y="3665855"/>
            <a:ext cx="1130935" cy="245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1219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b="1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78F 1A&amp;1C</a:t>
            </a:r>
            <a:endParaRPr lang="en-US" altLang="zh-CN" sz="1000" b="1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44044" name="直接连接符 48"/>
          <p:cNvSpPr/>
          <p:nvPr/>
        </p:nvSpPr>
        <p:spPr>
          <a:xfrm>
            <a:off x="6971987" y="2065003"/>
            <a:ext cx="44270" cy="4011948"/>
          </a:xfrm>
          <a:prstGeom prst="line">
            <a:avLst/>
          </a:prstGeom>
          <a:ln w="9525" cap="flat" cmpd="sng">
            <a:solidFill>
              <a:schemeClr val="accent1"/>
            </a:solidFill>
            <a:prstDash val="dashDot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44045" name="Text Box 14"/>
          <p:cNvSpPr/>
          <p:nvPr/>
        </p:nvSpPr>
        <p:spPr>
          <a:xfrm>
            <a:off x="6795883" y="6023304"/>
            <a:ext cx="895773" cy="36830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>
              <a:spcBef>
                <a:spcPct val="50000"/>
              </a:spcBef>
              <a:buNone/>
            </a:pPr>
            <a:r>
              <a:rPr lang="en-US" altLang="zh-CN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40A</a:t>
            </a:r>
            <a:endParaRPr lang="en-US" altLang="zh-CN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pic>
        <p:nvPicPr>
          <p:cNvPr id="44046" name="图片 3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83918" y="4123828"/>
            <a:ext cx="546385" cy="35906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44047" name="六边形 50"/>
          <p:cNvSpPr/>
          <p:nvPr/>
        </p:nvSpPr>
        <p:spPr>
          <a:xfrm>
            <a:off x="6949590" y="4539949"/>
            <a:ext cx="111663" cy="106932"/>
          </a:xfrm>
          <a:prstGeom prst="hexagon">
            <a:avLst>
              <a:gd name="adj" fmla="val 25227"/>
              <a:gd name="vf" fmla="val 115470"/>
            </a:avLst>
          </a:prstGeom>
          <a:solidFill>
            <a:srgbClr val="5B9BD5"/>
          </a:solidFill>
          <a:ln w="25400">
            <a:solidFill>
              <a:srgbClr val="5B9BD5"/>
            </a:solidFill>
          </a:ln>
        </p:spPr>
        <p:txBody>
          <a:bodyPr anchor="ctr"/>
          <a:lstStyle/>
          <a:p>
            <a:pPr lvl="0" algn="ctr" eaLnBrk="1" hangingPunct="1">
              <a:buNone/>
            </a:pPr>
            <a:endParaRPr lang="zh-CN" altLang="en-US" sz="1735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49" name="文本框 38"/>
          <p:cNvSpPr>
            <a:spLocks noChangeArrowheads="1"/>
          </p:cNvSpPr>
          <p:nvPr/>
        </p:nvSpPr>
        <p:spPr bwMode="auto">
          <a:xfrm>
            <a:off x="6978650" y="5108575"/>
            <a:ext cx="1316355" cy="86042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000" b="1" dirty="0">
                <a:latin typeface="Times New Roman" panose="02020603050405020304" pitchFamily="18" charset="0"/>
                <a:cs typeface="Times New Roman" panose="02020603050405020304" pitchFamily="18" charset="0"/>
                <a:sym typeface="Calibri" panose="020F0502020204030204" charset="0"/>
              </a:rPr>
              <a:t>HF165F-50</a:t>
            </a:r>
            <a:endParaRPr lang="en-US" altLang="zh-CN" sz="1000" b="1" dirty="0">
              <a:latin typeface="Times New Roman" panose="02020603050405020304" pitchFamily="18" charset="0"/>
              <a:cs typeface="Times New Roman" panose="02020603050405020304" pitchFamily="18" charset="0"/>
              <a:sym typeface="Calibri" panose="020F0502020204030204" charset="0"/>
            </a:endParaRPr>
          </a:p>
          <a:p>
            <a:r>
              <a:rPr lang="en-US" altLang="zh-CN" sz="1000" dirty="0">
                <a:latin typeface="Times New Roman" panose="02020603050405020304" pitchFamily="18" charset="0"/>
                <a:cs typeface="Times New Roman" panose="02020603050405020304" pitchFamily="18" charset="0"/>
                <a:sym typeface="Calibri" panose="020F0502020204030204" charset="0"/>
              </a:rPr>
              <a:t>STD:40A 85</a:t>
            </a:r>
            <a:r>
              <a:rPr lang="zh-CN" altLang="en-US" sz="1000" dirty="0">
                <a:latin typeface="Times New Roman" panose="02020603050405020304" pitchFamily="18" charset="0"/>
                <a:cs typeface="Times New Roman" panose="02020603050405020304" pitchFamily="18" charset="0"/>
                <a:sym typeface="Calibri" panose="020F0502020204030204" charset="0"/>
              </a:rPr>
              <a:t>℃</a:t>
            </a:r>
            <a:endParaRPr lang="en-US" altLang="zh-CN" sz="1000" dirty="0">
              <a:latin typeface="Times New Roman" panose="02020603050405020304" pitchFamily="18" charset="0"/>
              <a:cs typeface="Times New Roman" panose="02020603050405020304" pitchFamily="18" charset="0"/>
              <a:sym typeface="Calibri" panose="020F0502020204030204" charset="0"/>
            </a:endParaRPr>
          </a:p>
          <a:p>
            <a:r>
              <a:rPr lang="en-US" altLang="zh-CN" sz="1000" dirty="0">
                <a:latin typeface="Times New Roman" panose="02020603050405020304" pitchFamily="18" charset="0"/>
                <a:cs typeface="Times New Roman" panose="02020603050405020304" pitchFamily="18" charset="0"/>
                <a:sym typeface="Calibri" panose="020F0502020204030204" charset="0"/>
              </a:rPr>
              <a:t>         50A 65</a:t>
            </a:r>
            <a:r>
              <a:rPr lang="zh-CN" altLang="en-US" sz="1000" dirty="0">
                <a:latin typeface="Times New Roman" panose="02020603050405020304" pitchFamily="18" charset="0"/>
                <a:cs typeface="Times New Roman" panose="02020603050405020304" pitchFamily="18" charset="0"/>
                <a:sym typeface="Calibri" panose="020F0502020204030204" charset="0"/>
              </a:rPr>
              <a:t>℃</a:t>
            </a:r>
            <a:endParaRPr lang="en-US" altLang="zh-CN" sz="1000" dirty="0">
              <a:latin typeface="Times New Roman" panose="02020603050405020304" pitchFamily="18" charset="0"/>
              <a:cs typeface="Times New Roman" panose="02020603050405020304" pitchFamily="18" charset="0"/>
              <a:sym typeface="Calibri" panose="020F0502020204030204" charset="0"/>
            </a:endParaRPr>
          </a:p>
          <a:p>
            <a:r>
              <a:rPr lang="en-US" altLang="zh-CN" sz="1000" dirty="0">
                <a:latin typeface="Times New Roman" panose="02020603050405020304" pitchFamily="18" charset="0"/>
                <a:cs typeface="Times New Roman" panose="02020603050405020304" pitchFamily="18" charset="0"/>
                <a:sym typeface="Calibri" panose="020F0502020204030204" charset="0"/>
              </a:rPr>
              <a:t>         60A 60</a:t>
            </a:r>
            <a:r>
              <a:rPr lang="zh-CN" altLang="en-US" sz="1000" dirty="0">
                <a:latin typeface="Times New Roman" panose="02020603050405020304" pitchFamily="18" charset="0"/>
                <a:cs typeface="Times New Roman" panose="02020603050405020304" pitchFamily="18" charset="0"/>
                <a:sym typeface="Calibri" panose="020F0502020204030204" charset="0"/>
              </a:rPr>
              <a:t>℃</a:t>
            </a:r>
            <a:endParaRPr lang="zh-CN" altLang="en-US" sz="1000" dirty="0">
              <a:latin typeface="Times New Roman" panose="02020603050405020304" pitchFamily="18" charset="0"/>
              <a:cs typeface="Times New Roman" panose="02020603050405020304" pitchFamily="18" charset="0"/>
              <a:sym typeface="Calibri" panose="020F0502020204030204" charset="0"/>
            </a:endParaRPr>
          </a:p>
          <a:p>
            <a:r>
              <a:rPr lang="en-US" altLang="zh-CN" sz="1000" dirty="0">
                <a:latin typeface="Times New Roman" panose="02020603050405020304" pitchFamily="18" charset="0"/>
                <a:cs typeface="Times New Roman" panose="02020603050405020304" pitchFamily="18" charset="0"/>
                <a:sym typeface="Calibri" panose="020F0502020204030204" charset="0"/>
              </a:rPr>
              <a:t>A21: 60A @85℃</a:t>
            </a:r>
            <a:endParaRPr lang="en-US" altLang="zh-CN" sz="1000" dirty="0">
              <a:latin typeface="Times New Roman" panose="02020603050405020304" pitchFamily="18" charset="0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44051" name="六边形 50"/>
          <p:cNvSpPr/>
          <p:nvPr/>
        </p:nvSpPr>
        <p:spPr>
          <a:xfrm>
            <a:off x="7896321" y="4518831"/>
            <a:ext cx="170180" cy="129540"/>
          </a:xfrm>
          <a:prstGeom prst="hexagon">
            <a:avLst>
              <a:gd name="adj" fmla="val 24937"/>
              <a:gd name="vf" fmla="val 115470"/>
            </a:avLst>
          </a:prstGeom>
          <a:solidFill>
            <a:srgbClr val="5B9BD5"/>
          </a:solidFill>
          <a:ln w="9525">
            <a:solidFill>
              <a:srgbClr val="5B9BD5"/>
            </a:solidFill>
          </a:ln>
        </p:spPr>
        <p:txBody>
          <a:bodyPr anchor="ctr"/>
          <a:lstStyle/>
          <a:p>
            <a:pPr lvl="0" algn="ctr" eaLnBrk="1" hangingPunct="1">
              <a:buNone/>
            </a:pPr>
            <a:endParaRPr lang="zh-CN" altLang="en-US" sz="1735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44052" name="文本框 52"/>
          <p:cNvSpPr/>
          <p:nvPr/>
        </p:nvSpPr>
        <p:spPr>
          <a:xfrm>
            <a:off x="10591165" y="4563110"/>
            <a:ext cx="1220470" cy="5530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r>
              <a:rPr lang="en-US" altLang="zh-CN" sz="1000" b="1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76F,</a:t>
            </a:r>
            <a:r>
              <a:rPr lang="zh-CN" altLang="en-US" sz="1000" b="1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 </a:t>
            </a:r>
            <a:r>
              <a:rPr lang="en-US" altLang="zh-CN" sz="1000" b="1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3mm</a:t>
            </a:r>
            <a:endParaRPr lang="en-US" altLang="zh-CN" sz="1000" b="1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r>
              <a:rPr lang="en-US" altLang="zh-CN" sz="1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宋体" panose="02010600030101010101" pitchFamily="2" charset="-122"/>
              </a:rPr>
              <a:t>STD:65A</a:t>
            </a:r>
            <a:endParaRPr lang="en-US" altLang="zh-CN" sz="10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宋体" panose="02010600030101010101" pitchFamily="2" charset="-122"/>
            </a:endParaRPr>
          </a:p>
          <a:p>
            <a:r>
              <a:rPr lang="en-US" altLang="zh-CN" sz="1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宋体" panose="02010600030101010101" pitchFamily="2" charset="-122"/>
              </a:rPr>
              <a:t>A37:80A</a:t>
            </a:r>
            <a:endParaRPr lang="en-US" altLang="zh-CN" sz="10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宋体" panose="02010600030101010101" pitchFamily="2" charset="-122"/>
            </a:endParaRPr>
          </a:p>
        </p:txBody>
      </p:sp>
      <p:sp>
        <p:nvSpPr>
          <p:cNvPr id="44038" name="文本框 33">
            <a:hlinkClick r:id="" action="ppaction://noaction"/>
          </p:cNvPr>
          <p:cNvSpPr/>
          <p:nvPr/>
        </p:nvSpPr>
        <p:spPr>
          <a:xfrm>
            <a:off x="1808580" y="4669868"/>
            <a:ext cx="1089450" cy="24511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>
              <a:buNone/>
            </a:pPr>
            <a:r>
              <a:rPr lang="en-US" altLang="zh-CN" sz="1000" b="1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52F/D</a:t>
            </a:r>
            <a:endParaRPr lang="zh-CN" altLang="en-US" sz="1000" b="1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宋体" panose="02010600030101010101" pitchFamily="2" charset="-122"/>
            </a:endParaRPr>
          </a:p>
        </p:txBody>
      </p:sp>
      <p:sp>
        <p:nvSpPr>
          <p:cNvPr id="54" name="直接连接符 48"/>
          <p:cNvSpPr/>
          <p:nvPr/>
        </p:nvSpPr>
        <p:spPr>
          <a:xfrm rot="5400000">
            <a:off x="6157186" y="120308"/>
            <a:ext cx="26958" cy="8938215"/>
          </a:xfrm>
          <a:prstGeom prst="line">
            <a:avLst/>
          </a:prstGeom>
          <a:ln w="9525" cap="flat" cmpd="sng">
            <a:solidFill>
              <a:schemeClr val="accent1"/>
            </a:solidFill>
            <a:prstDash val="dashDot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1094346" y="4383546"/>
            <a:ext cx="760988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5</a:t>
            </a:r>
            <a:r>
              <a:rPr lang="zh-CN" alt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℃</a:t>
            </a:r>
            <a:endParaRPr lang="zh-CN" alt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文本框 56"/>
          <p:cNvSpPr txBox="1"/>
          <p:nvPr/>
        </p:nvSpPr>
        <p:spPr>
          <a:xfrm>
            <a:off x="923019" y="1786368"/>
            <a:ext cx="865502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5</a:t>
            </a:r>
            <a:r>
              <a:rPr lang="zh-CN" alt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℃</a:t>
            </a:r>
            <a:endParaRPr lang="zh-CN" alt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0" name="图片 3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9705" y="1659837"/>
            <a:ext cx="588541" cy="487961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1" name="文本框 33">
            <a:hlinkClick r:id="" action="ppaction://noaction"/>
          </p:cNvPr>
          <p:cNvSpPr/>
          <p:nvPr/>
        </p:nvSpPr>
        <p:spPr>
          <a:xfrm>
            <a:off x="1854835" y="1414780"/>
            <a:ext cx="915035" cy="24511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>
              <a:buNone/>
            </a:pPr>
            <a:r>
              <a:rPr lang="en-US" altLang="zh-CN" sz="1000" b="1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52F/D-T</a:t>
            </a:r>
            <a:endParaRPr lang="en-US" altLang="zh-CN" sz="1000" b="1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63" name="文本框 33">
            <a:hlinkClick r:id="" action="ppaction://noaction"/>
          </p:cNvPr>
          <p:cNvSpPr/>
          <p:nvPr/>
        </p:nvSpPr>
        <p:spPr>
          <a:xfrm>
            <a:off x="2685415" y="1414780"/>
            <a:ext cx="986790" cy="24511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>
              <a:buNone/>
            </a:pPr>
            <a:r>
              <a:rPr lang="en-US" altLang="zh-CN" sz="1000" b="1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15F/FK-T</a:t>
            </a:r>
            <a:endParaRPr lang="en-US" altLang="zh-CN" sz="1000" b="1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56" name="直接连接符 48"/>
          <p:cNvSpPr/>
          <p:nvPr/>
        </p:nvSpPr>
        <p:spPr>
          <a:xfrm rot="5400000" flipH="1">
            <a:off x="6166176" y="-2482025"/>
            <a:ext cx="8979" cy="8962981"/>
          </a:xfrm>
          <a:prstGeom prst="line">
            <a:avLst/>
          </a:prstGeom>
          <a:ln w="9525" cap="flat" cmpd="sng">
            <a:solidFill>
              <a:schemeClr val="accent1"/>
            </a:solidFill>
            <a:prstDash val="dashDot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64" name="文本框 38"/>
          <p:cNvSpPr>
            <a:spLocks noChangeArrowheads="1"/>
          </p:cNvSpPr>
          <p:nvPr/>
        </p:nvSpPr>
        <p:spPr bwMode="auto">
          <a:xfrm>
            <a:off x="4831553" y="2041375"/>
            <a:ext cx="1562886" cy="553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1219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b="1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78F-T</a:t>
            </a:r>
            <a:endParaRPr lang="en-US" altLang="zh-CN" sz="1000" b="1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pPr defTabSz="1219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b="1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79F, 1.8mm</a:t>
            </a:r>
            <a:endParaRPr lang="en-US" altLang="zh-CN" sz="1000" b="1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pPr defTabSz="1219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b="1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79F-W, 2.4mm</a:t>
            </a:r>
            <a:endParaRPr lang="en-US" altLang="zh-CN" sz="1000" b="1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66" name="文本框 65"/>
          <p:cNvSpPr txBox="1"/>
          <p:nvPr/>
        </p:nvSpPr>
        <p:spPr>
          <a:xfrm>
            <a:off x="503555" y="1173480"/>
            <a:ext cx="110871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mbient temp.</a:t>
            </a:r>
            <a:endParaRPr lang="en-US" altLang="zh-CN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8" name="文本框 67"/>
          <p:cNvSpPr txBox="1"/>
          <p:nvPr/>
        </p:nvSpPr>
        <p:spPr>
          <a:xfrm>
            <a:off x="10645140" y="6076950"/>
            <a:ext cx="111315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urrent</a:t>
            </a:r>
            <a:endParaRPr lang="en-US" altLang="zh-CN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文本框 40"/>
          <p:cNvSpPr/>
          <p:nvPr/>
        </p:nvSpPr>
        <p:spPr>
          <a:xfrm>
            <a:off x="6913262" y="4562945"/>
            <a:ext cx="2081491" cy="5530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>
              <a:buNone/>
            </a:pPr>
            <a:r>
              <a:rPr lang="en-US" altLang="zh-CN" sz="1000" b="1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70F/2A(3.6mm)</a:t>
            </a:r>
            <a:endParaRPr lang="en-US" altLang="zh-CN" sz="1000" b="1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pPr lvl="0">
              <a:buNone/>
            </a:pPr>
            <a:r>
              <a:rPr lang="en-US" altLang="zh-CN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宋体" panose="02010600030101010101" pitchFamily="2" charset="-122"/>
              </a:rPr>
              <a:t>HF170F/2A+1B</a:t>
            </a:r>
            <a:endParaRPr lang="en-US" altLang="zh-CN" sz="10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宋体" panose="02010600030101010101" pitchFamily="2" charset="-122"/>
            </a:endParaRPr>
          </a:p>
          <a:p>
            <a:pPr lvl="0">
              <a:buNone/>
            </a:pPr>
            <a:r>
              <a:rPr lang="en-US" altLang="zh-CN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宋体" panose="02010600030101010101" pitchFamily="2" charset="-122"/>
              </a:rPr>
              <a:t>with auxiliary contact</a:t>
            </a:r>
            <a:endParaRPr lang="en-US" altLang="zh-CN" sz="10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宋体" panose="02010600030101010101" pitchFamily="2" charset="-122"/>
            </a:endParaRPr>
          </a:p>
        </p:txBody>
      </p:sp>
      <p:sp>
        <p:nvSpPr>
          <p:cNvPr id="76" name="六边形 44"/>
          <p:cNvSpPr/>
          <p:nvPr/>
        </p:nvSpPr>
        <p:spPr>
          <a:xfrm>
            <a:off x="4655837" y="4529405"/>
            <a:ext cx="169272" cy="128215"/>
          </a:xfrm>
          <a:prstGeom prst="hexagon">
            <a:avLst>
              <a:gd name="adj" fmla="val 24999"/>
              <a:gd name="vf" fmla="val 115470"/>
            </a:avLst>
          </a:prstGeom>
          <a:solidFill>
            <a:schemeClr val="accent1"/>
          </a:solidFill>
          <a:ln w="25400">
            <a:noFill/>
          </a:ln>
        </p:spPr>
        <p:txBody>
          <a:bodyPr anchor="ctr"/>
          <a:lstStyle/>
          <a:p>
            <a:pPr lvl="0" algn="ctr" eaLnBrk="1" hangingPunct="1">
              <a:buNone/>
            </a:pPr>
            <a:endParaRPr lang="zh-CN" altLang="en-US" sz="1735" dirty="0">
              <a:solidFill>
                <a:srgbClr val="FFFFFF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77" name="六边形 44"/>
          <p:cNvSpPr/>
          <p:nvPr/>
        </p:nvSpPr>
        <p:spPr>
          <a:xfrm>
            <a:off x="4654302" y="1928649"/>
            <a:ext cx="170180" cy="127847"/>
          </a:xfrm>
          <a:prstGeom prst="hexagon">
            <a:avLst>
              <a:gd name="adj" fmla="val 25227"/>
              <a:gd name="vf" fmla="val 115470"/>
            </a:avLst>
          </a:prstGeom>
          <a:solidFill>
            <a:schemeClr val="accent1"/>
          </a:solidFill>
          <a:ln w="25400">
            <a:noFill/>
          </a:ln>
        </p:spPr>
        <p:txBody>
          <a:bodyPr anchor="ctr"/>
          <a:lstStyle/>
          <a:p>
            <a:pPr lvl="0" algn="ctr" eaLnBrk="1" hangingPunct="1">
              <a:buNone/>
            </a:pPr>
            <a:endParaRPr lang="zh-CN" altLang="en-US" sz="1735" dirty="0">
              <a:solidFill>
                <a:srgbClr val="FFFFFF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80" name="六边形 44"/>
          <p:cNvSpPr/>
          <p:nvPr/>
        </p:nvSpPr>
        <p:spPr>
          <a:xfrm>
            <a:off x="4030725" y="4524240"/>
            <a:ext cx="169272" cy="128215"/>
          </a:xfrm>
          <a:prstGeom prst="hexagon">
            <a:avLst>
              <a:gd name="adj" fmla="val 24999"/>
              <a:gd name="vf" fmla="val 115470"/>
            </a:avLst>
          </a:prstGeom>
          <a:solidFill>
            <a:schemeClr val="accent1"/>
          </a:solidFill>
          <a:ln w="25400">
            <a:noFill/>
          </a:ln>
        </p:spPr>
        <p:txBody>
          <a:bodyPr anchor="ctr"/>
          <a:lstStyle/>
          <a:p>
            <a:pPr lvl="0" algn="ctr" eaLnBrk="1" hangingPunct="1">
              <a:buNone/>
            </a:pPr>
            <a:endParaRPr lang="zh-CN" altLang="en-US" sz="1735" dirty="0">
              <a:solidFill>
                <a:srgbClr val="FFFFFF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pic>
        <p:nvPicPr>
          <p:cNvPr id="81" name="图片 8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40401" y="4103744"/>
            <a:ext cx="524115" cy="538115"/>
          </a:xfrm>
          <a:prstGeom prst="rect">
            <a:avLst/>
          </a:prstGeom>
        </p:spPr>
      </p:pic>
      <p:sp>
        <p:nvSpPr>
          <p:cNvPr id="83" name="文本框 39"/>
          <p:cNvSpPr/>
          <p:nvPr/>
        </p:nvSpPr>
        <p:spPr>
          <a:xfrm>
            <a:off x="7089454" y="1950241"/>
            <a:ext cx="1366871" cy="52197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fontAlgn="auto">
              <a:buNone/>
            </a:pPr>
            <a:r>
              <a:rPr lang="en-US" altLang="zh-CN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61F-40W, 2mm</a:t>
            </a:r>
            <a:endParaRPr lang="en-US" altLang="zh-CN" sz="1000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pPr lvl="0" fontAlgn="auto">
              <a:buNone/>
            </a:pPr>
            <a:r>
              <a:rPr lang="en-US" altLang="zh-CN" sz="900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STD:43A</a:t>
            </a:r>
            <a:endParaRPr lang="en-US" altLang="zh-CN" sz="900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pPr lvl="0" fontAlgn="auto">
              <a:buNone/>
            </a:pPr>
            <a:r>
              <a:rPr lang="en-US" altLang="zh-CN" sz="900" dirty="0">
                <a:solidFill>
                  <a:srgbClr val="FF0000"/>
                </a:solidFill>
                <a:uFillTx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A21:50A</a:t>
            </a:r>
            <a:endParaRPr lang="en-US" altLang="zh-CN" sz="900" dirty="0">
              <a:solidFill>
                <a:srgbClr val="FF0000"/>
              </a:solidFill>
              <a:uFillTx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84" name="六边形 44"/>
          <p:cNvSpPr/>
          <p:nvPr/>
        </p:nvSpPr>
        <p:spPr>
          <a:xfrm>
            <a:off x="6913262" y="1950035"/>
            <a:ext cx="169272" cy="128215"/>
          </a:xfrm>
          <a:prstGeom prst="hexagon">
            <a:avLst>
              <a:gd name="adj" fmla="val 24999"/>
              <a:gd name="vf" fmla="val 115470"/>
            </a:avLst>
          </a:prstGeom>
          <a:solidFill>
            <a:schemeClr val="accent1"/>
          </a:solidFill>
          <a:ln w="25400">
            <a:noFill/>
          </a:ln>
        </p:spPr>
        <p:txBody>
          <a:bodyPr anchor="ctr"/>
          <a:lstStyle/>
          <a:p>
            <a:pPr lvl="0" algn="ctr" eaLnBrk="1" hangingPunct="1">
              <a:buNone/>
            </a:pPr>
            <a:endParaRPr lang="zh-CN" altLang="en-US" sz="1735" dirty="0">
              <a:solidFill>
                <a:srgbClr val="FFFFFF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87" name="六边形 44"/>
          <p:cNvSpPr/>
          <p:nvPr/>
        </p:nvSpPr>
        <p:spPr>
          <a:xfrm>
            <a:off x="9999362" y="4510355"/>
            <a:ext cx="169272" cy="128215"/>
          </a:xfrm>
          <a:prstGeom prst="hexagon">
            <a:avLst>
              <a:gd name="adj" fmla="val 24999"/>
              <a:gd name="vf" fmla="val 115470"/>
            </a:avLst>
          </a:prstGeom>
          <a:solidFill>
            <a:schemeClr val="accent1"/>
          </a:solidFill>
          <a:ln w="25400">
            <a:noFill/>
          </a:ln>
        </p:spPr>
        <p:txBody>
          <a:bodyPr anchor="ctr"/>
          <a:lstStyle/>
          <a:p>
            <a:pPr lvl="0" algn="ctr" eaLnBrk="1" hangingPunct="1">
              <a:buNone/>
            </a:pPr>
            <a:endParaRPr lang="zh-CN" altLang="en-US" sz="1735" dirty="0">
              <a:solidFill>
                <a:srgbClr val="FFFFFF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90" name="六边形 44"/>
          <p:cNvSpPr/>
          <p:nvPr/>
        </p:nvSpPr>
        <p:spPr>
          <a:xfrm>
            <a:off x="9065912" y="1969085"/>
            <a:ext cx="169272" cy="128215"/>
          </a:xfrm>
          <a:prstGeom prst="hexagon">
            <a:avLst>
              <a:gd name="adj" fmla="val 24999"/>
              <a:gd name="vf" fmla="val 115470"/>
            </a:avLst>
          </a:prstGeom>
          <a:solidFill>
            <a:schemeClr val="accent1"/>
          </a:solidFill>
          <a:ln w="25400">
            <a:noFill/>
          </a:ln>
        </p:spPr>
        <p:txBody>
          <a:bodyPr anchor="ctr"/>
          <a:lstStyle/>
          <a:p>
            <a:pPr lvl="0" algn="ctr" eaLnBrk="1" hangingPunct="1">
              <a:buNone/>
            </a:pPr>
            <a:endParaRPr lang="zh-CN" altLang="en-US" sz="1735" dirty="0">
              <a:solidFill>
                <a:srgbClr val="FFFFFF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91" name="六边形 50"/>
          <p:cNvSpPr/>
          <p:nvPr/>
        </p:nvSpPr>
        <p:spPr>
          <a:xfrm>
            <a:off x="8612143" y="4514213"/>
            <a:ext cx="170180" cy="129540"/>
          </a:xfrm>
          <a:prstGeom prst="hexagon">
            <a:avLst>
              <a:gd name="adj" fmla="val 24937"/>
              <a:gd name="vf" fmla="val 115470"/>
            </a:avLst>
          </a:prstGeom>
          <a:solidFill>
            <a:srgbClr val="5B9BD5"/>
          </a:solidFill>
          <a:ln w="9525">
            <a:solidFill>
              <a:srgbClr val="5B9BD5"/>
            </a:solidFill>
          </a:ln>
        </p:spPr>
        <p:txBody>
          <a:bodyPr anchor="ctr"/>
          <a:lstStyle/>
          <a:p>
            <a:pPr lvl="0" algn="ctr" eaLnBrk="1" hangingPunct="1">
              <a:buNone/>
            </a:pPr>
            <a:endParaRPr lang="zh-CN" altLang="en-US" sz="1735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92" name="文本框 40"/>
          <p:cNvSpPr/>
          <p:nvPr/>
        </p:nvSpPr>
        <p:spPr>
          <a:xfrm>
            <a:off x="8230303" y="4994303"/>
            <a:ext cx="2081491" cy="39878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>
              <a:buNone/>
            </a:pPr>
            <a:r>
              <a:rPr lang="en-US" altLang="zh-CN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89F, 2.25mm</a:t>
            </a:r>
            <a:endParaRPr lang="en-US" altLang="zh-CN" sz="10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pPr lvl="0">
              <a:buNone/>
            </a:pPr>
            <a:r>
              <a:rPr lang="en-US" altLang="zh-CN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48A with</a:t>
            </a:r>
            <a:r>
              <a:rPr lang="en-US" altLang="zh-CN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宋体" panose="02010600030101010101" pitchFamily="2" charset="-122"/>
              </a:rPr>
              <a:t> auxiliary contact</a:t>
            </a:r>
            <a:endParaRPr lang="en-US" altLang="zh-CN" sz="10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宋体" panose="02010600030101010101" pitchFamily="2" charset="-122"/>
            </a:endParaRPr>
          </a:p>
        </p:txBody>
      </p:sp>
      <p:sp>
        <p:nvSpPr>
          <p:cNvPr id="95" name="文本框 40"/>
          <p:cNvSpPr/>
          <p:nvPr/>
        </p:nvSpPr>
        <p:spPr>
          <a:xfrm>
            <a:off x="3867150" y="5067300"/>
            <a:ext cx="1313815" cy="36830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fontAlgn="auto">
              <a:buNone/>
            </a:pPr>
            <a:r>
              <a:rPr lang="en-US" altLang="zh-CN" sz="1000" b="1" dirty="0">
                <a:solidFill>
                  <a:srgbClr val="FF0000"/>
                </a:solidFill>
                <a:uFillTx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90F, 2.25mm</a:t>
            </a:r>
            <a:endParaRPr lang="en-US" altLang="zh-CN" sz="1000" b="1" dirty="0">
              <a:solidFill>
                <a:srgbClr val="FF0000"/>
              </a:solidFill>
              <a:uFillTx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pPr lvl="0" fontAlgn="auto">
              <a:buNone/>
            </a:pPr>
            <a:r>
              <a:rPr lang="en-US" altLang="zh-CN" sz="800" dirty="0">
                <a:solidFill>
                  <a:srgbClr val="FF0000"/>
                </a:solidFill>
                <a:uFillTx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32A with</a:t>
            </a:r>
            <a:r>
              <a:rPr lang="en-US" altLang="zh-CN" sz="800" dirty="0">
                <a:solidFill>
                  <a:srgbClr val="FF0000"/>
                </a:solidFill>
                <a:uFillTx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宋体" panose="02010600030101010101" pitchFamily="2" charset="-122"/>
              </a:rPr>
              <a:t> auxiliary contact</a:t>
            </a:r>
            <a:endParaRPr lang="en-US" altLang="zh-CN" sz="800" dirty="0">
              <a:solidFill>
                <a:srgbClr val="FF0000"/>
              </a:solidFill>
              <a:uFillTx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宋体" panose="02010600030101010101" pitchFamily="2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55740" y="2610485"/>
            <a:ext cx="496570" cy="514350"/>
          </a:xfrm>
          <a:prstGeom prst="rect">
            <a:avLst/>
          </a:prstGeom>
        </p:spPr>
      </p:pic>
      <p:sp>
        <p:nvSpPr>
          <p:cNvPr id="12" name="文本框 40"/>
          <p:cNvSpPr/>
          <p:nvPr/>
        </p:nvSpPr>
        <p:spPr>
          <a:xfrm>
            <a:off x="7061200" y="2591435"/>
            <a:ext cx="1518285" cy="5530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lvl="0" fontAlgn="auto">
              <a:buNone/>
            </a:pPr>
            <a:r>
              <a:rPr lang="en-US" altLang="zh-CN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87F/4A+1B,3.9mm</a:t>
            </a:r>
            <a:endParaRPr lang="en-US" altLang="zh-CN" sz="10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宋体" panose="02010600030101010101" pitchFamily="2" charset="-122"/>
            </a:endParaRPr>
          </a:p>
          <a:p>
            <a:pPr lvl="0" fontAlgn="auto">
              <a:buNone/>
            </a:pPr>
            <a:r>
              <a:rPr lang="en-US" altLang="zh-CN" sz="1000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宋体" panose="02010600030101010101" pitchFamily="2" charset="-122"/>
              </a:rPr>
              <a:t>40A with auxiliary contact</a:t>
            </a:r>
            <a:endParaRPr lang="en-US" altLang="zh-CN" sz="1000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宋体" panose="02010600030101010101" pitchFamily="2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235440" y="1521460"/>
            <a:ext cx="374650" cy="46228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495030" y="4688205"/>
            <a:ext cx="403860" cy="37909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084955" y="4652645"/>
            <a:ext cx="402590" cy="441325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355455" y="4152900"/>
            <a:ext cx="393700" cy="387350"/>
          </a:xfrm>
          <a:prstGeom prst="rect">
            <a:avLst/>
          </a:prstGeom>
        </p:spPr>
      </p:pic>
      <p:sp>
        <p:nvSpPr>
          <p:cNvPr id="14" name="文本框 39"/>
          <p:cNvSpPr/>
          <p:nvPr/>
        </p:nvSpPr>
        <p:spPr>
          <a:xfrm>
            <a:off x="9223852" y="4593026"/>
            <a:ext cx="1366871" cy="39878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lvl="0">
              <a:buNone/>
            </a:pPr>
            <a:r>
              <a:rPr lang="en-US" altLang="zh-CN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85/2A, 3.0mm</a:t>
            </a:r>
            <a:endParaRPr lang="en-US" altLang="zh-CN" sz="10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pPr lvl="0">
              <a:buNone/>
            </a:pPr>
            <a:r>
              <a:rPr lang="en-US" altLang="zh-CN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+mn-ea"/>
              </a:rPr>
              <a:t>50A 277VAC</a:t>
            </a:r>
            <a:r>
              <a:rPr lang="pt-BR" altLang="zh-CN" sz="1000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 </a:t>
            </a:r>
            <a:r>
              <a:rPr lang="en-US" altLang="zh-CN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+mn-ea"/>
              </a:rPr>
              <a:t>85℃</a:t>
            </a:r>
            <a:endParaRPr lang="en-US" altLang="zh-CN" sz="10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15" name="六边形 44"/>
          <p:cNvSpPr/>
          <p:nvPr/>
        </p:nvSpPr>
        <p:spPr>
          <a:xfrm>
            <a:off x="9185927" y="4519880"/>
            <a:ext cx="169272" cy="128215"/>
          </a:xfrm>
          <a:prstGeom prst="hexagon">
            <a:avLst>
              <a:gd name="adj" fmla="val 24999"/>
              <a:gd name="vf" fmla="val 115470"/>
            </a:avLst>
          </a:prstGeom>
          <a:solidFill>
            <a:schemeClr val="accent1"/>
          </a:solidFill>
          <a:ln w="25400">
            <a:noFill/>
          </a:ln>
        </p:spPr>
        <p:txBody>
          <a:bodyPr anchor="ctr"/>
          <a:p>
            <a:pPr lvl="0" algn="ctr" eaLnBrk="1" hangingPunct="1">
              <a:buNone/>
            </a:pPr>
            <a:endParaRPr lang="zh-CN" altLang="en-US" sz="1735" dirty="0">
              <a:solidFill>
                <a:srgbClr val="FFFFFF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7082649" y="3124881"/>
            <a:ext cx="1496060" cy="398780"/>
          </a:xfrm>
          <a:prstGeom prst="rect">
            <a:avLst/>
          </a:prstGeom>
        </p:spPr>
        <p:txBody>
          <a:bodyPr wrap="none">
            <a:spAutoFit/>
          </a:bodyPr>
          <a:p>
            <a:r>
              <a:rPr lang="en-US" altLang="zh-CN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HF177F(954)/2A,2.3mm</a:t>
            </a:r>
            <a:endParaRPr lang="en-US" altLang="zh-CN" sz="10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微软雅黑" panose="020B0503020204020204" pitchFamily="34" charset="-122"/>
            </a:endParaRPr>
          </a:p>
          <a:p>
            <a:r>
              <a:rPr lang="en-US" altLang="zh-CN" sz="1000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40A/35A</a:t>
            </a:r>
            <a:endParaRPr lang="en-US" altLang="zh-CN" sz="1000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563995" y="3200400"/>
            <a:ext cx="474345" cy="38925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602730" y="3672840"/>
            <a:ext cx="413385" cy="505460"/>
          </a:xfrm>
          <a:prstGeom prst="rect">
            <a:avLst/>
          </a:prstGeom>
        </p:spPr>
      </p:pic>
      <p:sp>
        <p:nvSpPr>
          <p:cNvPr id="17" name="矩形 16"/>
          <p:cNvSpPr/>
          <p:nvPr/>
        </p:nvSpPr>
        <p:spPr>
          <a:xfrm>
            <a:off x="7061059" y="3523661"/>
            <a:ext cx="2061845" cy="398780"/>
          </a:xfrm>
          <a:prstGeom prst="rect">
            <a:avLst/>
          </a:prstGeom>
        </p:spPr>
        <p:txBody>
          <a:bodyPr wrap="none">
            <a:spAutoFit/>
          </a:bodyPr>
          <a:p>
            <a:pPr algn="l"/>
            <a:r>
              <a:rPr lang="en-US" altLang="zh-CN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HF198F/2A,3.6mm</a:t>
            </a:r>
            <a:r>
              <a:rPr lang="zh-CN" alt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【</a:t>
            </a:r>
            <a:r>
              <a:rPr lang="en-US" altLang="zh-CN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developing</a:t>
            </a:r>
            <a:r>
              <a:rPr lang="zh-CN" altLang="en-US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】</a:t>
            </a:r>
            <a:endParaRPr lang="en-US" altLang="zh-CN" sz="10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微软雅黑" panose="020B0503020204020204" pitchFamily="34" charset="-122"/>
            </a:endParaRPr>
          </a:p>
          <a:p>
            <a:pPr lvl="0" algn="l" fontAlgn="auto">
              <a:buNone/>
            </a:pPr>
            <a:r>
              <a:rPr lang="en-US" altLang="zh-CN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微软雅黑" panose="020B0503020204020204" pitchFamily="34" charset="-122"/>
              </a:rPr>
              <a:t>40A </a:t>
            </a:r>
            <a:r>
              <a:rPr lang="en-US" altLang="zh-CN" sz="1000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宋体" panose="02010600030101010101" pitchFamily="2" charset="-122"/>
              </a:rPr>
              <a:t>with auxiliary contact</a:t>
            </a:r>
            <a:endParaRPr lang="en-US" altLang="zh-CN" sz="10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微软雅黑" panose="020B0503020204020204" pitchFamily="34" charset="-122"/>
            </a:endParaRPr>
          </a:p>
        </p:txBody>
      </p:sp>
      <p:sp>
        <p:nvSpPr>
          <p:cNvPr id="89" name="文本框 39"/>
          <p:cNvSpPr/>
          <p:nvPr/>
        </p:nvSpPr>
        <p:spPr>
          <a:xfrm>
            <a:off x="9185752" y="1950156"/>
            <a:ext cx="1366871" cy="5530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>
              <a:buNone/>
            </a:pPr>
            <a:r>
              <a:rPr lang="en-US" altLang="zh-CN" sz="10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86, 3.0mm</a:t>
            </a:r>
            <a:endParaRPr lang="en-US" altLang="zh-CN" sz="10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pPr lvl="0">
              <a:buNone/>
            </a:pPr>
            <a:r>
              <a:rPr lang="en-US" altLang="zh-CN" sz="1000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55A 105</a:t>
            </a:r>
            <a:r>
              <a:rPr lang="zh-CN" altLang="en-US" sz="1000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℃</a:t>
            </a:r>
            <a:endParaRPr lang="en-US" altLang="zh-CN" sz="1000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pPr lvl="0">
              <a:buNone/>
            </a:pPr>
            <a:r>
              <a:rPr lang="en-US" altLang="zh-CN" sz="1000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66A 85</a:t>
            </a:r>
            <a:r>
              <a:rPr lang="zh-CN" altLang="en-US" sz="1000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℃</a:t>
            </a:r>
            <a:endParaRPr lang="zh-CN" altLang="en-US" sz="1000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  <p:sp>
        <p:nvSpPr>
          <p:cNvPr id="44071" name="文本框 40"/>
          <p:cNvSpPr/>
          <p:nvPr/>
        </p:nvSpPr>
        <p:spPr>
          <a:xfrm>
            <a:off x="8230235" y="3886200"/>
            <a:ext cx="1151255" cy="70675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>
              <a:buNone/>
            </a:pPr>
            <a:r>
              <a:rPr lang="en-US" altLang="zh-CN" sz="1000" b="1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HF165F, 43A</a:t>
            </a:r>
            <a:endParaRPr lang="en-US" altLang="zh-CN" sz="1000" b="1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pPr lvl="0">
              <a:buNone/>
            </a:pPr>
            <a:r>
              <a:rPr lang="en-US" altLang="zh-CN" sz="1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STD:1.8mm,43A</a:t>
            </a:r>
            <a:endParaRPr lang="en-US" altLang="zh-CN" sz="10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pPr lvl="0">
              <a:buNone/>
            </a:pPr>
            <a:r>
              <a:rPr lang="en-US" altLang="zh-CN" sz="1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797:2.0mm,43A</a:t>
            </a:r>
            <a:endParaRPr lang="en-US" altLang="zh-CN" sz="10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  <a:p>
            <a:pPr lvl="0">
              <a:buNone/>
            </a:pPr>
            <a:r>
              <a:rPr lang="en-US" altLang="zh-CN" sz="1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Calibri" panose="020F0502020204030204" charset="0"/>
              </a:rPr>
              <a:t>A21:2.0mm,60A</a:t>
            </a:r>
            <a:endParaRPr lang="en-US" altLang="zh-CN" sz="10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Calibri" panose="020F050202020403020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7" name="Text Box 3"/>
          <p:cNvSpPr txBox="1">
            <a:spLocks noChangeArrowheads="1"/>
          </p:cNvSpPr>
          <p:nvPr/>
        </p:nvSpPr>
        <p:spPr bwMode="auto">
          <a:xfrm>
            <a:off x="2219325" y="2274570"/>
            <a:ext cx="3920490" cy="3564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marL="285750" indent="-285750" eaLnBrk="1" hangingPunct="1">
              <a:lnSpc>
                <a:spcPct val="135000"/>
              </a:lnSpc>
              <a:buFont typeface="Wingdings" panose="05000000000000000000" charset="0"/>
              <a:buChar char="l"/>
              <a:defRPr/>
            </a:pPr>
            <a:r>
              <a:rPr lang="en-US" altLang="zh-CN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 rating</a:t>
            </a: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eaLnBrk="1" hangingPunct="1">
              <a:lnSpc>
                <a:spcPct val="135000"/>
              </a:lnSpc>
              <a:defRPr/>
            </a:pP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HF115F   8A/12/16A 250VAC  85℃</a:t>
            </a:r>
            <a:endParaRPr lang="zh-CN" altLang="en-US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eaLnBrk="1" hangingPunct="1">
              <a:lnSpc>
                <a:spcPct val="135000"/>
              </a:lnSpc>
              <a:defRPr/>
            </a:pP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HF115F-H  10A 250VAC  85℃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eaLnBrk="1" hangingPunct="1">
              <a:lnSpc>
                <a:spcPct val="135000"/>
              </a:lnSpc>
              <a:defRPr/>
            </a:pP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HF115F-Q  16A 250VAC 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　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125℃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endParaRPr lang="zh-CN" altLang="en-US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eaLnBrk="1" hangingPunct="1">
              <a:lnSpc>
                <a:spcPct val="135000"/>
              </a:lnSpc>
              <a:defRPr/>
            </a:pP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HF115F-T  16A 250VAC 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　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105℃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285750" indent="-285750" eaLnBrk="1" hangingPunct="1">
              <a:lnSpc>
                <a:spcPct val="135000"/>
              </a:lnSpc>
              <a:buFont typeface="Wingdings" panose="05000000000000000000" charset="0"/>
              <a:buChar char="l"/>
              <a:defRPr/>
            </a:pPr>
            <a:r>
              <a:rPr lang="en-US" altLang="zh-CN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Features</a:t>
            </a:r>
            <a:r>
              <a:rPr lang="zh-CN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eaLnBrk="1" hangingPunct="1">
              <a:lnSpc>
                <a:spcPct val="135000"/>
              </a:lnSpc>
              <a:defRPr/>
            </a:pP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1) 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reepage distance: 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≥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10mm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eaLnBrk="1" hangingPunct="1">
              <a:lnSpc>
                <a:spcPct val="135000"/>
              </a:lnSpc>
              <a:defRPr/>
            </a:pP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Dielectric strength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en-US" altLang="zh-CN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il-contacts): 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≥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5000VAC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eaLnBrk="1" hangingPunct="1">
              <a:lnSpc>
                <a:spcPct val="135000"/>
              </a:lnSpc>
              <a:defRPr/>
            </a:pP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eet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IEC60335-1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eaLnBrk="1" hangingPunct="1">
              <a:lnSpc>
                <a:spcPct val="135000"/>
              </a:lnSpc>
              <a:defRPr/>
            </a:pP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) Temp. 85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℃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/105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℃（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-T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/125℃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-Q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25000"/>
              </a:lnSpc>
              <a:buFont typeface="Wingdings" panose="05000000000000000000" charset="0"/>
              <a:buChar char="l"/>
              <a:defRPr/>
            </a:pPr>
            <a:r>
              <a:rPr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Productivity:</a:t>
            </a:r>
            <a:endParaRPr sz="1600" b="1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>
              <a:lnSpc>
                <a:spcPct val="125000"/>
              </a:lnSpc>
              <a:defRPr/>
            </a:pP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Automatic production, annual output &gt;100 million pcs.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eatured products</a:t>
            </a:r>
            <a:endParaRPr lang="en-US" altLang="zh-CN" dirty="0"/>
          </a:p>
        </p:txBody>
      </p:sp>
      <p:pic>
        <p:nvPicPr>
          <p:cNvPr id="55300" name="Picture 4" descr="3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68" t="10963" r="7517" b="4635"/>
          <a:stretch>
            <a:fillRect/>
          </a:stretch>
        </p:blipFill>
        <p:spPr bwMode="auto">
          <a:xfrm>
            <a:off x="669925" y="3826510"/>
            <a:ext cx="1443355" cy="1067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298" name="Rectangle 3"/>
          <p:cNvSpPr>
            <a:spLocks noChangeArrowheads="1"/>
          </p:cNvSpPr>
          <p:nvPr/>
        </p:nvSpPr>
        <p:spPr bwMode="auto">
          <a:xfrm>
            <a:off x="669925" y="1028700"/>
            <a:ext cx="5469890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0"/>
          <a:lstStyle>
            <a:lvl1pPr marL="190500" indent="-1905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None/>
            </a:pPr>
            <a:r>
              <a:rPr lang="en-US" altLang="zh-CN" sz="2400" b="1" dirty="0">
                <a:solidFill>
                  <a:srgbClr val="0070C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HF115F/HF115F-H/HF115F-I/</a:t>
            </a:r>
            <a:endParaRPr lang="en-US" altLang="zh-CN" sz="2400" b="1" dirty="0">
              <a:solidFill>
                <a:srgbClr val="0070C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None/>
            </a:pPr>
            <a:r>
              <a:rPr lang="en-US" altLang="zh-CN" sz="2400" b="1" dirty="0">
                <a:solidFill>
                  <a:srgbClr val="0070C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HF115F-Q/HF115F-T</a:t>
            </a:r>
            <a:endParaRPr lang="en-US" altLang="zh-CN" sz="2400" b="1" dirty="0">
              <a:solidFill>
                <a:srgbClr val="0070C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55301" name="Picture 13" descr="2"/>
          <p:cNvPicPr>
            <a:picLocks noChangeAspect="1" noChangeArrowheads="1"/>
          </p:cNvPicPr>
          <p:nvPr/>
        </p:nvPicPr>
        <p:blipFill>
          <a:blip r:embed="rId2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09" t="611" r="10319" b="4361"/>
          <a:stretch>
            <a:fillRect/>
          </a:stretch>
        </p:blipFill>
        <p:spPr bwMode="auto">
          <a:xfrm>
            <a:off x="669925" y="2339340"/>
            <a:ext cx="1395095" cy="1121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6120" y="2274743"/>
            <a:ext cx="1057941" cy="1299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7682230" y="1146810"/>
            <a:ext cx="3220720" cy="741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0"/>
          <a:lstStyle>
            <a:lvl1pPr marL="190500" indent="-1905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 defTabSz="91313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defTabSz="9131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fontAlgn="auto">
              <a:lnSpc>
                <a:spcPct val="15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None/>
            </a:pPr>
            <a:r>
              <a:rPr lang="en-US" altLang="zh-CN" sz="2400" b="1" dirty="0">
                <a:solidFill>
                  <a:srgbClr val="0070C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HF152F/HF152F-T</a:t>
            </a:r>
            <a:endParaRPr lang="en-US" altLang="zh-CN" sz="2400" b="1" dirty="0">
              <a:solidFill>
                <a:srgbClr val="0070C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598410" y="2274570"/>
            <a:ext cx="3922395" cy="2738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p>
            <a:pPr marL="285750" indent="-285750">
              <a:lnSpc>
                <a:spcPct val="135000"/>
              </a:lnSpc>
              <a:buFont typeface="Wingdings" panose="05000000000000000000" charset="0"/>
              <a:buChar char="l"/>
            </a:pPr>
            <a:r>
              <a:rPr lang="en-US" altLang="zh-CN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ntact rating: 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35000"/>
              </a:lnSpc>
            </a:pP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HF152F 1H: 20A 125VAC/17A 277VAC  </a:t>
            </a:r>
            <a:endParaRPr lang="zh-CN" altLang="en-US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35000"/>
              </a:lnSpc>
            </a:pP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               1Z: 16A 250VAC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35000"/>
              </a:lnSpc>
            </a:pP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  HF152F-T: 105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℃</a:t>
            </a:r>
            <a:endParaRPr lang="zh-CN" altLang="en-US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285750" indent="-285750">
              <a:lnSpc>
                <a:spcPct val="135000"/>
              </a:lnSpc>
              <a:buFont typeface="Wingdings" panose="05000000000000000000" charset="0"/>
              <a:buChar char="l"/>
            </a:pPr>
            <a:r>
              <a:rPr lang="en-US" altLang="zh-CN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Feathers:</a:t>
            </a:r>
            <a:endParaRPr lang="zh-CN" altLang="en-US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>
              <a:lnSpc>
                <a:spcPct val="135000"/>
              </a:lnSpc>
            </a:pP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) 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ze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: 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1×16×20.6 mm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35000"/>
              </a:lnSpc>
            </a:pP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) 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oil power: 360mW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35000"/>
              </a:lnSpc>
              <a:buFont typeface="Wingdings" panose="05000000000000000000" charset="0"/>
              <a:buChar char="l"/>
            </a:pPr>
            <a:r>
              <a:rPr lang="en-US" altLang="zh-CN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P</a:t>
            </a:r>
            <a:r>
              <a:rPr lang="zh-CN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roductivity</a:t>
            </a:r>
            <a:r>
              <a:rPr lang="en-US" altLang="zh-CN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: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35000"/>
              </a:lnSpc>
            </a:pP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Automatic production, annual output &gt;20 million pcs.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6" name="直接连接符 5"/>
          <p:cNvCxnSpPr/>
          <p:nvPr/>
        </p:nvCxnSpPr>
        <p:spPr>
          <a:xfrm>
            <a:off x="6278245" y="2006600"/>
            <a:ext cx="0" cy="383286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"/>
          <p:cNvSpPr txBox="1">
            <a:spLocks noChangeArrowheads="1"/>
          </p:cNvSpPr>
          <p:nvPr/>
        </p:nvSpPr>
        <p:spPr bwMode="auto">
          <a:xfrm>
            <a:off x="10558780" y="6492240"/>
            <a:ext cx="1151890" cy="39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ctr" anchorCtr="0" compatLnSpc="1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latin typeface="+mn-lt"/>
                <a:ea typeface="仿宋_GB2312" pitchFamily="49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en-US" altLang="zh-CN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en-US" sz="20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endParaRPr lang="en-US" sz="20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78ED"/>
      </a:accent1>
      <a:accent2>
        <a:srgbClr val="1B4C81"/>
      </a:accent2>
      <a:accent3>
        <a:srgbClr val="1C93CD"/>
      </a:accent3>
      <a:accent4>
        <a:srgbClr val="61C8CE"/>
      </a:accent4>
      <a:accent5>
        <a:srgbClr val="A5A5A5"/>
      </a:accent5>
      <a:accent6>
        <a:srgbClr val="C9C9C9"/>
      </a:accent6>
      <a:hlink>
        <a:srgbClr val="0078ED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78ED"/>
    </a:accent1>
    <a:accent2>
      <a:srgbClr val="1B4C81"/>
    </a:accent2>
    <a:accent3>
      <a:srgbClr val="1C93CD"/>
    </a:accent3>
    <a:accent4>
      <a:srgbClr val="61C8CE"/>
    </a:accent4>
    <a:accent5>
      <a:srgbClr val="A5A5A5"/>
    </a:accent5>
    <a:accent6>
      <a:srgbClr val="C9C9C9"/>
    </a:accent6>
    <a:hlink>
      <a:srgbClr val="0078ED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78ED"/>
    </a:accent1>
    <a:accent2>
      <a:srgbClr val="1B4C81"/>
    </a:accent2>
    <a:accent3>
      <a:srgbClr val="1C93CD"/>
    </a:accent3>
    <a:accent4>
      <a:srgbClr val="61C8CE"/>
    </a:accent4>
    <a:accent5>
      <a:srgbClr val="A5A5A5"/>
    </a:accent5>
    <a:accent6>
      <a:srgbClr val="C9C9C9"/>
    </a:accent6>
    <a:hlink>
      <a:srgbClr val="0078ED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78ED"/>
    </a:accent1>
    <a:accent2>
      <a:srgbClr val="1B4C81"/>
    </a:accent2>
    <a:accent3>
      <a:srgbClr val="1C93CD"/>
    </a:accent3>
    <a:accent4>
      <a:srgbClr val="61C8CE"/>
    </a:accent4>
    <a:accent5>
      <a:srgbClr val="A5A5A5"/>
    </a:accent5>
    <a:accent6>
      <a:srgbClr val="C9C9C9"/>
    </a:accent6>
    <a:hlink>
      <a:srgbClr val="0078ED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78ED"/>
    </a:accent1>
    <a:accent2>
      <a:srgbClr val="1B4C81"/>
    </a:accent2>
    <a:accent3>
      <a:srgbClr val="1C93CD"/>
    </a:accent3>
    <a:accent4>
      <a:srgbClr val="61C8CE"/>
    </a:accent4>
    <a:accent5>
      <a:srgbClr val="A5A5A5"/>
    </a:accent5>
    <a:accent6>
      <a:srgbClr val="C9C9C9"/>
    </a:accent6>
    <a:hlink>
      <a:srgbClr val="0078ED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78ED"/>
    </a:accent1>
    <a:accent2>
      <a:srgbClr val="1B4C81"/>
    </a:accent2>
    <a:accent3>
      <a:srgbClr val="1C93CD"/>
    </a:accent3>
    <a:accent4>
      <a:srgbClr val="61C8CE"/>
    </a:accent4>
    <a:accent5>
      <a:srgbClr val="A5A5A5"/>
    </a:accent5>
    <a:accent6>
      <a:srgbClr val="C9C9C9"/>
    </a:accent6>
    <a:hlink>
      <a:srgbClr val="0078ED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78ED"/>
    </a:accent1>
    <a:accent2>
      <a:srgbClr val="1B4C81"/>
    </a:accent2>
    <a:accent3>
      <a:srgbClr val="1C93CD"/>
    </a:accent3>
    <a:accent4>
      <a:srgbClr val="61C8CE"/>
    </a:accent4>
    <a:accent5>
      <a:srgbClr val="A5A5A5"/>
    </a:accent5>
    <a:accent6>
      <a:srgbClr val="C9C9C9"/>
    </a:accent6>
    <a:hlink>
      <a:srgbClr val="0078ED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78ED"/>
    </a:accent1>
    <a:accent2>
      <a:srgbClr val="1B4C81"/>
    </a:accent2>
    <a:accent3>
      <a:srgbClr val="1C93CD"/>
    </a:accent3>
    <a:accent4>
      <a:srgbClr val="61C8CE"/>
    </a:accent4>
    <a:accent5>
      <a:srgbClr val="A5A5A5"/>
    </a:accent5>
    <a:accent6>
      <a:srgbClr val="C9C9C9"/>
    </a:accent6>
    <a:hlink>
      <a:srgbClr val="0078ED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78ED"/>
    </a:accent1>
    <a:accent2>
      <a:srgbClr val="1B4C81"/>
    </a:accent2>
    <a:accent3>
      <a:srgbClr val="1C93CD"/>
    </a:accent3>
    <a:accent4>
      <a:srgbClr val="61C8CE"/>
    </a:accent4>
    <a:accent5>
      <a:srgbClr val="A5A5A5"/>
    </a:accent5>
    <a:accent6>
      <a:srgbClr val="C9C9C9"/>
    </a:accent6>
    <a:hlink>
      <a:srgbClr val="0078ED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78ED"/>
    </a:accent1>
    <a:accent2>
      <a:srgbClr val="1B4C81"/>
    </a:accent2>
    <a:accent3>
      <a:srgbClr val="1C93CD"/>
    </a:accent3>
    <a:accent4>
      <a:srgbClr val="61C8CE"/>
    </a:accent4>
    <a:accent5>
      <a:srgbClr val="A5A5A5"/>
    </a:accent5>
    <a:accent6>
      <a:srgbClr val="C9C9C9"/>
    </a:accent6>
    <a:hlink>
      <a:srgbClr val="0078ED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8127</Words>
  <Application>WPS 演示</Application>
  <PresentationFormat>宽屏</PresentationFormat>
  <Paragraphs>594</Paragraphs>
  <Slides>1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5</vt:i4>
      </vt:variant>
    </vt:vector>
  </HeadingPairs>
  <TitlesOfParts>
    <vt:vector size="30" baseType="lpstr">
      <vt:lpstr>Arial</vt:lpstr>
      <vt:lpstr>宋体</vt:lpstr>
      <vt:lpstr>Wingdings</vt:lpstr>
      <vt:lpstr>仿宋_GB2312</vt:lpstr>
      <vt:lpstr>仿宋</vt:lpstr>
      <vt:lpstr>微软雅黑</vt:lpstr>
      <vt:lpstr>Times New Roman</vt:lpstr>
      <vt:lpstr>黑体</vt:lpstr>
      <vt:lpstr>Calibri</vt:lpstr>
      <vt:lpstr>Wingdings</vt:lpstr>
      <vt:lpstr>Arial Black</vt:lpstr>
      <vt:lpstr>Arial Unicode MS</vt:lpstr>
      <vt:lpstr>主题5</vt:lpstr>
      <vt:lpstr>TCLayout.ActiveDocument.1</vt:lpstr>
      <vt:lpstr>TCLayout.ActiveDocument.1</vt:lpstr>
      <vt:lpstr>PowerPoint 演示文稿</vt:lpstr>
      <vt:lpstr>EV Systems</vt:lpstr>
      <vt:lpstr>OBC</vt:lpstr>
      <vt:lpstr>OBC</vt:lpstr>
      <vt:lpstr>Portable Charger for Mode 2</vt:lpstr>
      <vt:lpstr>AC/DC Charging Station for Mode 3/4</vt:lpstr>
      <vt:lpstr>Products in EV System</vt:lpstr>
      <vt:lpstr>Product Map for AC charger</vt:lpstr>
      <vt:lpstr>Featured products</vt:lpstr>
      <vt:lpstr>Featured products</vt:lpstr>
      <vt:lpstr>New products</vt:lpstr>
      <vt:lpstr>New products</vt:lpstr>
      <vt:lpstr>New products</vt:lpstr>
      <vt:lpstr>New products</vt:lpstr>
      <vt:lpstr>Thanks</vt:lpstr>
    </vt:vector>
  </TitlesOfParts>
  <Company>厦门宏发电声股份公司</Company>
  <LinksUpToDate>false</LinksUpToDate>
  <SharedDoc>false</SharedDoc>
  <HyperlinksChanged>false</HyperlinksChanged>
  <AppVersion>14.0000</AppVersion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继电器解决方案--大功率变频空调软启动应用</dc:title>
  <dc:creator>黄韦华</dc:creator>
  <cp:lastModifiedBy>黄韦华</cp:lastModifiedBy>
  <cp:revision>339</cp:revision>
  <cp:lastPrinted>2019-04-18T16:00:00Z</cp:lastPrinted>
  <dcterms:created xsi:type="dcterms:W3CDTF">2019-04-18T16:00:00Z</dcterms:created>
  <dcterms:modified xsi:type="dcterms:W3CDTF">2022-11-21T07:0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8.2.11542</vt:lpwstr>
  </property>
  <property fmtid="{D5CDD505-2E9C-101B-9397-08002B2CF9AE}" pid="4" name="ICV">
    <vt:lpwstr>34D4030D7BC44C9B882172903FE9881C</vt:lpwstr>
  </property>
</Properties>
</file>